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74"/>
  </p:notesMasterIdLst>
  <p:handoutMasterIdLst>
    <p:handoutMasterId r:id="rId75"/>
  </p:handoutMasterIdLst>
  <p:sldIdLst>
    <p:sldId id="4401" r:id="rId2"/>
    <p:sldId id="4700" r:id="rId3"/>
    <p:sldId id="4457" r:id="rId4"/>
    <p:sldId id="4402" r:id="rId5"/>
    <p:sldId id="4321" r:id="rId6"/>
    <p:sldId id="4739" r:id="rId7"/>
    <p:sldId id="4821" r:id="rId8"/>
    <p:sldId id="4740" r:id="rId9"/>
    <p:sldId id="4777" r:id="rId10"/>
    <p:sldId id="4776" r:id="rId11"/>
    <p:sldId id="4742" r:id="rId12"/>
    <p:sldId id="4507" r:id="rId13"/>
    <p:sldId id="4738" r:id="rId14"/>
    <p:sldId id="4435" r:id="rId15"/>
    <p:sldId id="4778" r:id="rId16"/>
    <p:sldId id="4779" r:id="rId17"/>
    <p:sldId id="4608" r:id="rId18"/>
    <p:sldId id="4743" r:id="rId19"/>
    <p:sldId id="4744" r:id="rId20"/>
    <p:sldId id="4736" r:id="rId21"/>
    <p:sldId id="4781" r:id="rId22"/>
    <p:sldId id="4780" r:id="rId23"/>
    <p:sldId id="4774" r:id="rId24"/>
    <p:sldId id="4519" r:id="rId25"/>
    <p:sldId id="4745" r:id="rId26"/>
    <p:sldId id="4782" r:id="rId27"/>
    <p:sldId id="4764" r:id="rId28"/>
    <p:sldId id="4783" r:id="rId29"/>
    <p:sldId id="4455" r:id="rId30"/>
    <p:sldId id="4785" r:id="rId31"/>
    <p:sldId id="4609" r:id="rId32"/>
    <p:sldId id="4784" r:id="rId33"/>
    <p:sldId id="4322" r:id="rId34"/>
    <p:sldId id="4465" r:id="rId35"/>
    <p:sldId id="4330" r:id="rId36"/>
    <p:sldId id="4786" r:id="rId37"/>
    <p:sldId id="4430" r:id="rId38"/>
    <p:sldId id="4762" r:id="rId39"/>
    <p:sldId id="4332" r:id="rId40"/>
    <p:sldId id="4791" r:id="rId41"/>
    <p:sldId id="4792" r:id="rId42"/>
    <p:sldId id="4793" r:id="rId43"/>
    <p:sldId id="4795" r:id="rId44"/>
    <p:sldId id="4801" r:id="rId45"/>
    <p:sldId id="4794" r:id="rId46"/>
    <p:sldId id="4796" r:id="rId47"/>
    <p:sldId id="4797" r:id="rId48"/>
    <p:sldId id="4798" r:id="rId49"/>
    <p:sldId id="4799" r:id="rId50"/>
    <p:sldId id="4692" r:id="rId51"/>
    <p:sldId id="4805" r:id="rId52"/>
    <p:sldId id="4803" r:id="rId53"/>
    <p:sldId id="4804" r:id="rId54"/>
    <p:sldId id="4802" r:id="rId55"/>
    <p:sldId id="4760" r:id="rId56"/>
    <p:sldId id="4808" r:id="rId57"/>
    <p:sldId id="4809" r:id="rId58"/>
    <p:sldId id="4814" r:id="rId59"/>
    <p:sldId id="4815" r:id="rId60"/>
    <p:sldId id="4816" r:id="rId61"/>
    <p:sldId id="4822" r:id="rId62"/>
    <p:sldId id="4758" r:id="rId63"/>
    <p:sldId id="4817" r:id="rId64"/>
    <p:sldId id="4818" r:id="rId65"/>
    <p:sldId id="4813" r:id="rId66"/>
    <p:sldId id="4819" r:id="rId67"/>
    <p:sldId id="4820" r:id="rId68"/>
    <p:sldId id="4789" r:id="rId69"/>
    <p:sldId id="4790" r:id="rId70"/>
    <p:sldId id="4787" r:id="rId71"/>
    <p:sldId id="4788" r:id="rId72"/>
    <p:sldId id="4404" r:id="rId7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16924"/>
    <a:srgbClr val="EDA13E"/>
    <a:srgbClr val="B41F7A"/>
    <a:srgbClr val="122E45"/>
    <a:srgbClr val="7F1C58"/>
    <a:srgbClr val="083553"/>
    <a:srgbClr val="571D58"/>
    <a:srgbClr val="660066"/>
    <a:srgbClr val="C44F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674"/>
    <p:restoredTop sz="94501"/>
  </p:normalViewPr>
  <p:slideViewPr>
    <p:cSldViewPr snapToGrid="0" snapToObjects="1">
      <p:cViewPr varScale="1">
        <p:scale>
          <a:sx n="113" d="100"/>
          <a:sy n="113" d="100"/>
        </p:scale>
        <p:origin x="642" y="114"/>
      </p:cViewPr>
      <p:guideLst/>
    </p:cSldViewPr>
  </p:slideViewPr>
  <p:notesTextViewPr>
    <p:cViewPr>
      <p:scale>
        <a:sx n="1" d="1"/>
        <a:sy n="1" d="1"/>
      </p:scale>
      <p:origin x="0" y="0"/>
    </p:cViewPr>
  </p:notesTextViewPr>
  <p:sorterViewPr>
    <p:cViewPr>
      <p:scale>
        <a:sx n="1" d="1"/>
        <a:sy n="1" d="1"/>
      </p:scale>
      <p:origin x="0" y="0"/>
    </p:cViewPr>
  </p:sorterViewPr>
  <p:notesViewPr>
    <p:cSldViewPr snapToGrid="0" snapToObjects="1">
      <p:cViewPr varScale="1">
        <p:scale>
          <a:sx n="71" d="100"/>
          <a:sy n="71" d="100"/>
        </p:scale>
        <p:origin x="3592" y="1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notesMaster" Target="notesMasters/notesMaster1.xml"/><Relationship Id="rId79"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18C6BFC-6876-4345-21B6-F9401FB7C32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BB8981F-2E3B-82CA-69A2-9DE961C3651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54ACEC3-6A0C-5D44-A16F-BE02D84CF8D9}" type="datetimeFigureOut">
              <a:rPr lang="en-US" smtClean="0"/>
              <a:t>11/7/2022</a:t>
            </a:fld>
            <a:endParaRPr lang="en-US"/>
          </a:p>
        </p:txBody>
      </p:sp>
      <p:sp>
        <p:nvSpPr>
          <p:cNvPr id="4" name="Footer Placeholder 3">
            <a:extLst>
              <a:ext uri="{FF2B5EF4-FFF2-40B4-BE49-F238E27FC236}">
                <a16:creationId xmlns:a16="http://schemas.microsoft.com/office/drawing/2014/main" id="{41D98457-16F5-C6E7-18CF-6B073A97B3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34B7BD5-69BD-7726-5BD6-2FA194E3366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74CF4F2-2F27-7842-9C8E-754958999F4D}" type="slidenum">
              <a:rPr lang="en-US" smtClean="0"/>
              <a:t>‹Nº›</a:t>
            </a:fld>
            <a:endParaRPr lang="en-US"/>
          </a:p>
        </p:txBody>
      </p:sp>
    </p:spTree>
    <p:extLst>
      <p:ext uri="{BB962C8B-B14F-4D97-AF65-F5344CB8AC3E}">
        <p14:creationId xmlns:p14="http://schemas.microsoft.com/office/powerpoint/2010/main" val="35278096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859788-52C2-4B8F-BBBD-8B962046C54E}" type="datetimeFigureOut">
              <a:rPr lang="en-IE" smtClean="0"/>
              <a:t>07/11/2022</a:t>
            </a:fld>
            <a:endParaRPr lang="en-I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CA971F-9F71-45AC-B80A-D85269BAA52C}" type="slidenum">
              <a:rPr lang="en-IE" smtClean="0"/>
              <a:t>‹Nº›</a:t>
            </a:fld>
            <a:endParaRPr lang="en-IE"/>
          </a:p>
        </p:txBody>
      </p:sp>
    </p:spTree>
    <p:extLst>
      <p:ext uri="{BB962C8B-B14F-4D97-AF65-F5344CB8AC3E}">
        <p14:creationId xmlns:p14="http://schemas.microsoft.com/office/powerpoint/2010/main" val="2160700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6</a:t>
            </a:fld>
            <a:endParaRPr lang="en-GB" dirty="0"/>
          </a:p>
        </p:txBody>
      </p:sp>
    </p:spTree>
    <p:extLst>
      <p:ext uri="{BB962C8B-B14F-4D97-AF65-F5344CB8AC3E}">
        <p14:creationId xmlns:p14="http://schemas.microsoft.com/office/powerpoint/2010/main" val="3126998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19</a:t>
            </a:fld>
            <a:endParaRPr lang="en-GB" dirty="0"/>
          </a:p>
        </p:txBody>
      </p:sp>
    </p:spTree>
    <p:extLst>
      <p:ext uri="{BB962C8B-B14F-4D97-AF65-F5344CB8AC3E}">
        <p14:creationId xmlns:p14="http://schemas.microsoft.com/office/powerpoint/2010/main" val="30219019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20</a:t>
            </a:fld>
            <a:endParaRPr lang="en-GB" dirty="0"/>
          </a:p>
        </p:txBody>
      </p:sp>
    </p:spTree>
    <p:extLst>
      <p:ext uri="{BB962C8B-B14F-4D97-AF65-F5344CB8AC3E}">
        <p14:creationId xmlns:p14="http://schemas.microsoft.com/office/powerpoint/2010/main" val="99167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21</a:t>
            </a:fld>
            <a:endParaRPr lang="en-GB" dirty="0"/>
          </a:p>
        </p:txBody>
      </p:sp>
    </p:spTree>
    <p:extLst>
      <p:ext uri="{BB962C8B-B14F-4D97-AF65-F5344CB8AC3E}">
        <p14:creationId xmlns:p14="http://schemas.microsoft.com/office/powerpoint/2010/main" val="18498743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24</a:t>
            </a:fld>
            <a:endParaRPr lang="en-GB" dirty="0"/>
          </a:p>
        </p:txBody>
      </p:sp>
    </p:spTree>
    <p:extLst>
      <p:ext uri="{BB962C8B-B14F-4D97-AF65-F5344CB8AC3E}">
        <p14:creationId xmlns:p14="http://schemas.microsoft.com/office/powerpoint/2010/main" val="4453695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25</a:t>
            </a:fld>
            <a:endParaRPr lang="en-GB" dirty="0"/>
          </a:p>
        </p:txBody>
      </p:sp>
    </p:spTree>
    <p:extLst>
      <p:ext uri="{BB962C8B-B14F-4D97-AF65-F5344CB8AC3E}">
        <p14:creationId xmlns:p14="http://schemas.microsoft.com/office/powerpoint/2010/main" val="6732408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endParaRPr lang="en-US" dirty="0"/>
          </a:p>
        </p:txBody>
      </p:sp>
      <p:sp>
        <p:nvSpPr>
          <p:cNvPr id="4" name="Slide Number Placeholder 3"/>
          <p:cNvSpPr>
            <a:spLocks noGrp="1"/>
          </p:cNvSpPr>
          <p:nvPr>
            <p:ph type="sldNum" sz="quarter" idx="5"/>
          </p:nvPr>
        </p:nvSpPr>
        <p:spPr/>
        <p:txBody>
          <a:bodyPr/>
          <a:lstStyle/>
          <a:p>
            <a:pPr algn="l" rtl="0"/>
            <a:fld id="{EECA971F-9F71-45AC-B80A-D85269BAA52C}" type="slidenum">
              <a:rPr lang="en-IE" smtClean="0"/>
              <a:t>28</a:t>
            </a:fld>
            <a:endParaRPr lang="en-IE"/>
          </a:p>
        </p:txBody>
      </p:sp>
    </p:spTree>
    <p:extLst>
      <p:ext uri="{BB962C8B-B14F-4D97-AF65-F5344CB8AC3E}">
        <p14:creationId xmlns:p14="http://schemas.microsoft.com/office/powerpoint/2010/main" val="23140356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18995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09409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endParaRPr lang="en-US" dirty="0"/>
          </a:p>
        </p:txBody>
      </p:sp>
      <p:sp>
        <p:nvSpPr>
          <p:cNvPr id="4" name="Slide Number Placeholder 3"/>
          <p:cNvSpPr>
            <a:spLocks noGrp="1"/>
          </p:cNvSpPr>
          <p:nvPr>
            <p:ph type="sldNum" sz="quarter" idx="5"/>
          </p:nvPr>
        </p:nvSpPr>
        <p:spPr/>
        <p:txBody>
          <a:bodyPr/>
          <a:lstStyle/>
          <a:p>
            <a:pPr algn="l" rtl="0"/>
            <a:fld id="{EECA971F-9F71-45AC-B80A-D85269BAA52C}" type="slidenum">
              <a:rPr lang="en-IE" smtClean="0"/>
              <a:t>32</a:t>
            </a:fld>
            <a:endParaRPr lang="en-IE"/>
          </a:p>
        </p:txBody>
      </p:sp>
    </p:spTree>
    <p:extLst>
      <p:ext uri="{BB962C8B-B14F-4D97-AF65-F5344CB8AC3E}">
        <p14:creationId xmlns:p14="http://schemas.microsoft.com/office/powerpoint/2010/main" val="20234466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78699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7</a:t>
            </a:fld>
            <a:endParaRPr lang="en-GB" dirty="0"/>
          </a:p>
        </p:txBody>
      </p:sp>
    </p:spTree>
    <p:extLst>
      <p:ext uri="{BB962C8B-B14F-4D97-AF65-F5344CB8AC3E}">
        <p14:creationId xmlns:p14="http://schemas.microsoft.com/office/powerpoint/2010/main" val="40109232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781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01423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5842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8</a:t>
            </a:fld>
            <a:endParaRPr lang="en-GB" dirty="0"/>
          </a:p>
        </p:txBody>
      </p:sp>
    </p:spTree>
    <p:extLst>
      <p:ext uri="{BB962C8B-B14F-4D97-AF65-F5344CB8AC3E}">
        <p14:creationId xmlns:p14="http://schemas.microsoft.com/office/powerpoint/2010/main" val="35922213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9</a:t>
            </a:fld>
            <a:endParaRPr lang="en-GB" dirty="0"/>
          </a:p>
        </p:txBody>
      </p:sp>
    </p:spTree>
    <p:extLst>
      <p:ext uri="{BB962C8B-B14F-4D97-AF65-F5344CB8AC3E}">
        <p14:creationId xmlns:p14="http://schemas.microsoft.com/office/powerpoint/2010/main" val="41912018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10</a:t>
            </a:fld>
            <a:endParaRPr lang="en-GB" dirty="0"/>
          </a:p>
        </p:txBody>
      </p:sp>
    </p:spTree>
    <p:extLst>
      <p:ext uri="{BB962C8B-B14F-4D97-AF65-F5344CB8AC3E}">
        <p14:creationId xmlns:p14="http://schemas.microsoft.com/office/powerpoint/2010/main" val="13975679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11</a:t>
            </a:fld>
            <a:endParaRPr lang="en-GB" dirty="0"/>
          </a:p>
        </p:txBody>
      </p:sp>
    </p:spTree>
    <p:extLst>
      <p:ext uri="{BB962C8B-B14F-4D97-AF65-F5344CB8AC3E}">
        <p14:creationId xmlns:p14="http://schemas.microsoft.com/office/powerpoint/2010/main" val="34442060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12</a:t>
            </a:fld>
            <a:endParaRPr lang="en-GB" dirty="0"/>
          </a:p>
        </p:txBody>
      </p:sp>
    </p:spTree>
    <p:extLst>
      <p:ext uri="{BB962C8B-B14F-4D97-AF65-F5344CB8AC3E}">
        <p14:creationId xmlns:p14="http://schemas.microsoft.com/office/powerpoint/2010/main" val="32971156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13</a:t>
            </a:fld>
            <a:endParaRPr lang="en-GB" dirty="0"/>
          </a:p>
        </p:txBody>
      </p:sp>
    </p:spTree>
    <p:extLst>
      <p:ext uri="{BB962C8B-B14F-4D97-AF65-F5344CB8AC3E}">
        <p14:creationId xmlns:p14="http://schemas.microsoft.com/office/powerpoint/2010/main" val="34369705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a:endParaRPr lang="en-GB" dirty="0"/>
          </a:p>
        </p:txBody>
      </p:sp>
      <p:sp>
        <p:nvSpPr>
          <p:cNvPr id="4" name="Foliennummernplatzhalter 3"/>
          <p:cNvSpPr>
            <a:spLocks noGrp="1"/>
          </p:cNvSpPr>
          <p:nvPr>
            <p:ph type="sldNum" sz="quarter" idx="5"/>
          </p:nvPr>
        </p:nvSpPr>
        <p:spPr/>
        <p:txBody>
          <a:bodyPr/>
          <a:lstStyle/>
          <a:p>
            <a:pPr algn="l" rtl="0"/>
            <a:fld id="{334AC054-D004-974A-8D8E-E228282ED491}" type="slidenum">
              <a:rPr lang="en-GB" smtClean="0"/>
              <a:t>18</a:t>
            </a:fld>
            <a:endParaRPr lang="en-GB" dirty="0"/>
          </a:p>
        </p:txBody>
      </p:sp>
    </p:spTree>
    <p:extLst>
      <p:ext uri="{BB962C8B-B14F-4D97-AF65-F5344CB8AC3E}">
        <p14:creationId xmlns:p14="http://schemas.microsoft.com/office/powerpoint/2010/main" val="25787729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1446550"/>
          </a:xfrm>
          <a:prstGeom prst="rect">
            <a:avLst/>
          </a:prstGeom>
        </p:spPr>
        <p:txBody>
          <a:bodyPr wrap="square">
            <a:spAutoFit/>
          </a:bodyPr>
          <a:lstStyle/>
          <a:p>
            <a:pPr fontAlgn="base"/>
            <a:r>
              <a:rPr lang="en-IE" sz="4400" b="1" i="0" u="none" strike="noStrike" kern="1200" baseline="0" dirty="0">
                <a:solidFill>
                  <a:schemeClr val="bg1"/>
                </a:solidFill>
                <a:effectLst/>
                <a:latin typeface="+mn-lt"/>
                <a:ea typeface="+mn-ea"/>
                <a:cs typeface="+mn-cs"/>
                <a:sym typeface="Quattrocento Sans"/>
              </a:rPr>
              <a:t>SECURE BLOCKCHAIN</a:t>
            </a:r>
          </a:p>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4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8" y="2883583"/>
            <a:ext cx="5845501" cy="2123658"/>
          </a:xfrm>
          <a:prstGeom prst="rect">
            <a:avLst/>
          </a:prstGeom>
        </p:spPr>
        <p:txBody>
          <a:bodyPr wrap="square">
            <a:spAutoFit/>
          </a:bodyPr>
          <a:lstStyle/>
          <a:p>
            <a:pPr fontAlgn="base"/>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SECURE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2503620"/>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with Photo - Pi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9C3F487-F604-4546-B7CE-1F7FE26D0DFD}"/>
              </a:ext>
            </a:extLst>
          </p:cNvPr>
          <p:cNvSpPr/>
          <p:nvPr userDrawn="1"/>
        </p:nvSpPr>
        <p:spPr>
          <a:xfrm flipV="1">
            <a:off x="1115878" y="-4"/>
            <a:ext cx="5736184" cy="6858003"/>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 name="Rectangle 2">
            <a:extLst>
              <a:ext uri="{FF2B5EF4-FFF2-40B4-BE49-F238E27FC236}">
                <a16:creationId xmlns:a16="http://schemas.microsoft.com/office/drawing/2014/main" id="{3DEFE2F3-1083-6042-8E1A-CF09DF7F7B14}"/>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 name="Picture Placeholder 17">
            <a:extLst>
              <a:ext uri="{FF2B5EF4-FFF2-40B4-BE49-F238E27FC236}">
                <a16:creationId xmlns:a16="http://schemas.microsoft.com/office/drawing/2014/main" id="{8105646A-9E0C-4145-97C2-3734A31A2B2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5" name="Text Placeholder 17">
            <a:extLst>
              <a:ext uri="{FF2B5EF4-FFF2-40B4-BE49-F238E27FC236}">
                <a16:creationId xmlns:a16="http://schemas.microsoft.com/office/drawing/2014/main" id="{327CD189-A588-D340-AEE6-ABA0AF7E6B0D}"/>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7" name="Text Placeholder 23">
            <a:extLst>
              <a:ext uri="{FF2B5EF4-FFF2-40B4-BE49-F238E27FC236}">
                <a16:creationId xmlns:a16="http://schemas.microsoft.com/office/drawing/2014/main" id="{1C4A4EBF-8A47-914B-A531-A68FE8F2B616}"/>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pic>
        <p:nvPicPr>
          <p:cNvPr id="11" name="Picture 10" descr="Logo&#10;&#10;Description automatically generated">
            <a:extLst>
              <a:ext uri="{FF2B5EF4-FFF2-40B4-BE49-F238E27FC236}">
                <a16:creationId xmlns:a16="http://schemas.microsoft.com/office/drawing/2014/main" id="{EE8DA8D2-4676-2040-818E-4838677D4471}"/>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1447053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with Photo - Orang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910D071-4356-2D46-B791-8EBEB450F3C7}"/>
              </a:ext>
            </a:extLst>
          </p:cNvPr>
          <p:cNvSpPr/>
          <p:nvPr userDrawn="1"/>
        </p:nvSpPr>
        <p:spPr>
          <a:xfrm flipV="1">
            <a:off x="1115878" y="-3"/>
            <a:ext cx="5736184" cy="6892757"/>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4" name="Rectangle 13">
            <a:extLst>
              <a:ext uri="{FF2B5EF4-FFF2-40B4-BE49-F238E27FC236}">
                <a16:creationId xmlns:a16="http://schemas.microsoft.com/office/drawing/2014/main" id="{69A8DAD9-271A-B649-A3C8-65149F616022}"/>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8" name="Picture Placeholder 17">
            <a:extLst>
              <a:ext uri="{FF2B5EF4-FFF2-40B4-BE49-F238E27FC236}">
                <a16:creationId xmlns:a16="http://schemas.microsoft.com/office/drawing/2014/main" id="{9BCF657B-2521-9848-AF64-509B4171F96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C19CD423-B11E-D74D-8B58-62A243837FDA}"/>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0" name="Text Placeholder 23">
            <a:extLst>
              <a:ext uri="{FF2B5EF4-FFF2-40B4-BE49-F238E27FC236}">
                <a16:creationId xmlns:a16="http://schemas.microsoft.com/office/drawing/2014/main" id="{41D8DDE8-E549-3B4C-867F-F463309162A3}"/>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21" name="Rectangle 20">
            <a:extLst>
              <a:ext uri="{FF2B5EF4-FFF2-40B4-BE49-F238E27FC236}">
                <a16:creationId xmlns:a16="http://schemas.microsoft.com/office/drawing/2014/main" id="{6D1C72D2-6F43-5B47-861B-840EBB300E28}"/>
              </a:ext>
            </a:extLst>
          </p:cNvPr>
          <p:cNvSpPr/>
          <p:nvPr userDrawn="1"/>
        </p:nvSpPr>
        <p:spPr>
          <a:xfrm>
            <a:off x="1400660" y="1458295"/>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BDBD618-9343-6A4D-ABE7-49A5393A3B7C}"/>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31354268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AAA5544-825C-D843-82F7-011BA29F10B1}"/>
              </a:ext>
            </a:extLst>
          </p:cNvPr>
          <p:cNvSpPr>
            <a:spLocks noGrp="1"/>
          </p:cNvSpPr>
          <p:nvPr>
            <p:ph type="pic" sz="quarter" idx="10"/>
          </p:nvPr>
        </p:nvSpPr>
        <p:spPr>
          <a:xfrm>
            <a:off x="247650" y="1587500"/>
            <a:ext cx="11696699" cy="4699000"/>
          </a:xfrm>
          <a:custGeom>
            <a:avLst/>
            <a:gdLst>
              <a:gd name="connsiteX0" fmla="*/ 0 w 11696699"/>
              <a:gd name="connsiteY0" fmla="*/ 0 h 4699000"/>
              <a:gd name="connsiteX1" fmla="*/ 11696699 w 11696699"/>
              <a:gd name="connsiteY1" fmla="*/ 0 h 4699000"/>
              <a:gd name="connsiteX2" fmla="*/ 11696699 w 11696699"/>
              <a:gd name="connsiteY2" fmla="*/ 1498601 h 4699000"/>
              <a:gd name="connsiteX3" fmla="*/ 7029451 w 11696699"/>
              <a:gd name="connsiteY3" fmla="*/ 1498601 h 4699000"/>
              <a:gd name="connsiteX4" fmla="*/ 7029451 w 11696699"/>
              <a:gd name="connsiteY4" fmla="*/ 2971529 h 4699000"/>
              <a:gd name="connsiteX5" fmla="*/ 11696699 w 11696699"/>
              <a:gd name="connsiteY5" fmla="*/ 2971529 h 4699000"/>
              <a:gd name="connsiteX6" fmla="*/ 11696699 w 11696699"/>
              <a:gd name="connsiteY6" fmla="*/ 4699000 h 4699000"/>
              <a:gd name="connsiteX7" fmla="*/ 536121 w 11696699"/>
              <a:gd name="connsiteY7" fmla="*/ 4699000 h 4699000"/>
              <a:gd name="connsiteX8" fmla="*/ 216546 w 11696699"/>
              <a:gd name="connsiteY8" fmla="*/ 4699000 h 4699000"/>
              <a:gd name="connsiteX9" fmla="*/ 180546 w 11696699"/>
              <a:gd name="connsiteY9" fmla="*/ 4699000 h 4699000"/>
              <a:gd name="connsiteX10" fmla="*/ 0 w 11696699"/>
              <a:gd name="connsiteY10" fmla="*/ 4699000 h 4699000"/>
              <a:gd name="connsiteX11" fmla="*/ 0 w 11696699"/>
              <a:gd name="connsiteY11" fmla="*/ 4278910 h 469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6699" h="4699000">
                <a:moveTo>
                  <a:pt x="0" y="0"/>
                </a:moveTo>
                <a:lnTo>
                  <a:pt x="11696699" y="0"/>
                </a:lnTo>
                <a:lnTo>
                  <a:pt x="11696699" y="1498601"/>
                </a:lnTo>
                <a:lnTo>
                  <a:pt x="7029451" y="1498601"/>
                </a:lnTo>
                <a:lnTo>
                  <a:pt x="7029451" y="2971529"/>
                </a:lnTo>
                <a:lnTo>
                  <a:pt x="11696699" y="2971529"/>
                </a:lnTo>
                <a:lnTo>
                  <a:pt x="11696699" y="4699000"/>
                </a:lnTo>
                <a:lnTo>
                  <a:pt x="536121" y="4699000"/>
                </a:lnTo>
                <a:lnTo>
                  <a:pt x="216546" y="4699000"/>
                </a:lnTo>
                <a:lnTo>
                  <a:pt x="180546" y="4699000"/>
                </a:lnTo>
                <a:lnTo>
                  <a:pt x="0" y="4699000"/>
                </a:lnTo>
                <a:lnTo>
                  <a:pt x="0" y="4278910"/>
                </a:lnTo>
                <a:close/>
              </a:path>
            </a:pathLst>
          </a:custGeom>
          <a:solidFill>
            <a:schemeClr val="bg1"/>
          </a:solidFill>
        </p:spPr>
        <p:txBody>
          <a:bodyPr wrap="square">
            <a:noAutofit/>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4" name="Subtitle 2">
            <a:extLst>
              <a:ext uri="{FF2B5EF4-FFF2-40B4-BE49-F238E27FC236}">
                <a16:creationId xmlns:a16="http://schemas.microsoft.com/office/drawing/2014/main" id="{33A59673-F743-3548-A224-DA318708FD70}"/>
              </a:ext>
            </a:extLst>
          </p:cNvPr>
          <p:cNvSpPr txBox="1">
            <a:spLocks/>
          </p:cNvSpPr>
          <p:nvPr userDrawn="1"/>
        </p:nvSpPr>
        <p:spPr>
          <a:xfrm>
            <a:off x="7619999" y="3435786"/>
            <a:ext cx="4019670" cy="773557"/>
          </a:xfrm>
          <a:prstGeom prst="rect">
            <a:avLst/>
          </a:prstGeom>
        </p:spPr>
        <p:txBody>
          <a:bodyPr vert="horz" wrap="square" lIns="217433" tIns="108718" rIns="217433" bIns="108718"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800" dirty="0">
                <a:solidFill>
                  <a:schemeClr val="bg1"/>
                </a:solidFill>
                <a:latin typeface="Montserrat Light" charset="0"/>
                <a:ea typeface="Montserrat Light" charset="0"/>
                <a:cs typeface="Montserrat Light" charset="0"/>
              </a:rPr>
              <a:t>Refers to a good or service being offered by a company.</a:t>
            </a:r>
          </a:p>
        </p:txBody>
      </p:sp>
      <p:sp>
        <p:nvSpPr>
          <p:cNvPr id="16" name="Rectangle 15">
            <a:extLst>
              <a:ext uri="{FF2B5EF4-FFF2-40B4-BE49-F238E27FC236}">
                <a16:creationId xmlns:a16="http://schemas.microsoft.com/office/drawing/2014/main" id="{99BB73D2-4537-B849-87DD-438424FEBE62}"/>
              </a:ext>
            </a:extLst>
          </p:cNvPr>
          <p:cNvSpPr/>
          <p:nvPr userDrawn="1"/>
        </p:nvSpPr>
        <p:spPr>
          <a:xfrm rot="10800000" flipV="1">
            <a:off x="7277100" y="3086101"/>
            <a:ext cx="4914900" cy="1472928"/>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22" name="Text Placeholder 17">
            <a:extLst>
              <a:ext uri="{FF2B5EF4-FFF2-40B4-BE49-F238E27FC236}">
                <a16:creationId xmlns:a16="http://schemas.microsoft.com/office/drawing/2014/main" id="{76282472-56C2-8A48-86C5-1BC4F9E9B07B}"/>
              </a:ext>
            </a:extLst>
          </p:cNvPr>
          <p:cNvSpPr>
            <a:spLocks noGrp="1"/>
          </p:cNvSpPr>
          <p:nvPr>
            <p:ph type="body" sz="quarter" idx="18" hasCustomPrompt="1"/>
          </p:nvPr>
        </p:nvSpPr>
        <p:spPr>
          <a:xfrm>
            <a:off x="7277100" y="3092586"/>
            <a:ext cx="4667249" cy="1466443"/>
          </a:xfrm>
        </p:spPr>
        <p:txBody>
          <a:bodyPr anchor="ct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4" name="Text Placeholder 23">
            <a:extLst>
              <a:ext uri="{FF2B5EF4-FFF2-40B4-BE49-F238E27FC236}">
                <a16:creationId xmlns:a16="http://schemas.microsoft.com/office/drawing/2014/main" id="{507B26C4-2A6B-404D-B6DF-133DAE89023E}"/>
              </a:ext>
            </a:extLst>
          </p:cNvPr>
          <p:cNvSpPr>
            <a:spLocks noGrp="1"/>
          </p:cNvSpPr>
          <p:nvPr>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10" name="Rectangle 9">
            <a:extLst>
              <a:ext uri="{FF2B5EF4-FFF2-40B4-BE49-F238E27FC236}">
                <a16:creationId xmlns:a16="http://schemas.microsoft.com/office/drawing/2014/main" id="{447A66AA-4479-1F4F-A1EC-0FF5590C23F4}"/>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E49ABDE0-3A95-EA48-A6FF-D7A2F4032D0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6605677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Slide 3">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E062918E-84FF-9547-A16A-383E59F88B13}"/>
              </a:ext>
            </a:extLst>
          </p:cNvPr>
          <p:cNvSpPr>
            <a:spLocks noGrp="1"/>
          </p:cNvSpPr>
          <p:nvPr>
            <p:ph type="pic" sz="quarter" idx="10" hasCustomPrompt="1"/>
          </p:nvPr>
        </p:nvSpPr>
        <p:spPr>
          <a:xfrm>
            <a:off x="241300" y="228600"/>
            <a:ext cx="11696700" cy="5946816"/>
          </a:xfrm>
          <a:custGeom>
            <a:avLst/>
            <a:gdLst>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26308 w 11696700"/>
              <a:gd name="connsiteY8" fmla="*/ 5837400 h 5943600"/>
              <a:gd name="connsiteX9" fmla="*/ 190308 w 11696700"/>
              <a:gd name="connsiteY9" fmla="*/ 5837400 h 5943600"/>
              <a:gd name="connsiteX10" fmla="*/ 190308 w 11696700"/>
              <a:gd name="connsiteY10" fmla="*/ 5943600 h 5943600"/>
              <a:gd name="connsiteX11" fmla="*/ 0 w 11696700"/>
              <a:gd name="connsiteY11" fmla="*/ 5943600 h 5943600"/>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19585 w 11696700"/>
              <a:gd name="connsiteY8" fmla="*/ 5938253 h 5943600"/>
              <a:gd name="connsiteX9" fmla="*/ 190308 w 11696700"/>
              <a:gd name="connsiteY9" fmla="*/ 5837400 h 5943600"/>
              <a:gd name="connsiteX10" fmla="*/ 190308 w 11696700"/>
              <a:gd name="connsiteY10" fmla="*/ 5943600 h 5943600"/>
              <a:gd name="connsiteX11" fmla="*/ 0 w 11696700"/>
              <a:gd name="connsiteY11" fmla="*/ 5943600 h 5943600"/>
              <a:gd name="connsiteX12" fmla="*/ 0 w 11696700"/>
              <a:gd name="connsiteY12" fmla="*/ 0 h 5943600"/>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19585 w 11696700"/>
              <a:gd name="connsiteY8" fmla="*/ 5938253 h 5943600"/>
              <a:gd name="connsiteX9" fmla="*/ 221569 w 11696700"/>
              <a:gd name="connsiteY9" fmla="*/ 5935093 h 5943600"/>
              <a:gd name="connsiteX10" fmla="*/ 190308 w 11696700"/>
              <a:gd name="connsiteY10" fmla="*/ 5943600 h 5943600"/>
              <a:gd name="connsiteX11" fmla="*/ 0 w 11696700"/>
              <a:gd name="connsiteY11" fmla="*/ 5943600 h 5943600"/>
              <a:gd name="connsiteX12" fmla="*/ 0 w 11696700"/>
              <a:gd name="connsiteY12" fmla="*/ 0 h 5943600"/>
              <a:gd name="connsiteX0" fmla="*/ 0 w 11696700"/>
              <a:gd name="connsiteY0" fmla="*/ 0 h 5946816"/>
              <a:gd name="connsiteX1" fmla="*/ 11696700 w 11696700"/>
              <a:gd name="connsiteY1" fmla="*/ 0 h 5946816"/>
              <a:gd name="connsiteX2" fmla="*/ 11696700 w 11696700"/>
              <a:gd name="connsiteY2" fmla="*/ 757264 h 5946816"/>
              <a:gd name="connsiteX3" fmla="*/ 5956300 w 11696700"/>
              <a:gd name="connsiteY3" fmla="*/ 757264 h 5946816"/>
              <a:gd name="connsiteX4" fmla="*/ 5956300 w 11696700"/>
              <a:gd name="connsiteY4" fmla="*/ 3182964 h 5946816"/>
              <a:gd name="connsiteX5" fmla="*/ 11696700 w 11696700"/>
              <a:gd name="connsiteY5" fmla="*/ 3182964 h 5946816"/>
              <a:gd name="connsiteX6" fmla="*/ 11696700 w 11696700"/>
              <a:gd name="connsiteY6" fmla="*/ 5943600 h 5946816"/>
              <a:gd name="connsiteX7" fmla="*/ 226308 w 11696700"/>
              <a:gd name="connsiteY7" fmla="*/ 5943600 h 5946816"/>
              <a:gd name="connsiteX8" fmla="*/ 219585 w 11696700"/>
              <a:gd name="connsiteY8" fmla="*/ 5938253 h 5946816"/>
              <a:gd name="connsiteX9" fmla="*/ 350523 w 11696700"/>
              <a:gd name="connsiteY9" fmla="*/ 5946816 h 5946816"/>
              <a:gd name="connsiteX10" fmla="*/ 190308 w 11696700"/>
              <a:gd name="connsiteY10" fmla="*/ 5943600 h 5946816"/>
              <a:gd name="connsiteX11" fmla="*/ 0 w 11696700"/>
              <a:gd name="connsiteY11" fmla="*/ 5943600 h 5946816"/>
              <a:gd name="connsiteX12" fmla="*/ 0 w 11696700"/>
              <a:gd name="connsiteY12" fmla="*/ 0 h 594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96700" h="5946816">
                <a:moveTo>
                  <a:pt x="0" y="0"/>
                </a:moveTo>
                <a:lnTo>
                  <a:pt x="11696700" y="0"/>
                </a:lnTo>
                <a:lnTo>
                  <a:pt x="11696700" y="757264"/>
                </a:lnTo>
                <a:lnTo>
                  <a:pt x="5956300" y="757264"/>
                </a:lnTo>
                <a:lnTo>
                  <a:pt x="5956300" y="3182964"/>
                </a:lnTo>
                <a:lnTo>
                  <a:pt x="11696700" y="3182964"/>
                </a:lnTo>
                <a:lnTo>
                  <a:pt x="11696700" y="5943600"/>
                </a:lnTo>
                <a:lnTo>
                  <a:pt x="226308" y="5943600"/>
                </a:lnTo>
                <a:lnTo>
                  <a:pt x="219585" y="5938253"/>
                </a:lnTo>
                <a:lnTo>
                  <a:pt x="350523" y="5946816"/>
                </a:lnTo>
                <a:lnTo>
                  <a:pt x="190308" y="5943600"/>
                </a:lnTo>
                <a:lnTo>
                  <a:pt x="0" y="5943600"/>
                </a:lnTo>
                <a:lnTo>
                  <a:pt x="0" y="0"/>
                </a:lnTo>
                <a:close/>
              </a:path>
            </a:pathLst>
          </a:custGeom>
        </p:spPr>
        <p:txBody>
          <a:bodyPr wrap="square">
            <a:noAutofit/>
          </a:bodyPr>
          <a:lstStyle>
            <a:lvl1pPr>
              <a:buNone/>
              <a:defRPr sz="1800">
                <a:solidFill>
                  <a:srgbClr val="7F7F7F"/>
                </a:solidFill>
              </a:defRPr>
            </a:lvl1pPr>
          </a:lstStyle>
          <a:p>
            <a:r>
              <a:rPr lang="en-US" dirty="0"/>
              <a:t>     </a:t>
            </a:r>
          </a:p>
          <a:p>
            <a:endParaRPr lang="en-US" dirty="0"/>
          </a:p>
          <a:p>
            <a:endParaRPr lang="en-US" dirty="0"/>
          </a:p>
          <a:p>
            <a:endParaRPr lang="en-US" dirty="0"/>
          </a:p>
          <a:p>
            <a:endParaRPr lang="en-US" dirty="0"/>
          </a:p>
          <a:p>
            <a:r>
              <a:rPr lang="en-US" dirty="0"/>
              <a:t>         </a:t>
            </a:r>
          </a:p>
          <a:p>
            <a:endParaRPr lang="en-US" dirty="0"/>
          </a:p>
          <a:p>
            <a:r>
              <a:rPr lang="en-US" dirty="0"/>
              <a:t>                             Click to add photo</a:t>
            </a:r>
          </a:p>
        </p:txBody>
      </p:sp>
      <p:sp>
        <p:nvSpPr>
          <p:cNvPr id="8" name="Rectangle 7">
            <a:extLst>
              <a:ext uri="{FF2B5EF4-FFF2-40B4-BE49-F238E27FC236}">
                <a16:creationId xmlns:a16="http://schemas.microsoft.com/office/drawing/2014/main" id="{CAE72C2A-8F5D-5741-9D36-B642CB2931C5}"/>
              </a:ext>
            </a:extLst>
          </p:cNvPr>
          <p:cNvSpPr/>
          <p:nvPr userDrawn="1"/>
        </p:nvSpPr>
        <p:spPr>
          <a:xfrm>
            <a:off x="6197600" y="985864"/>
            <a:ext cx="5994400" cy="24257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A6686CA7-9F9D-8D44-B94F-5A2669C8F7B2}"/>
              </a:ext>
            </a:extLst>
          </p:cNvPr>
          <p:cNvSpPr txBox="1"/>
          <p:nvPr userDrawn="1"/>
        </p:nvSpPr>
        <p:spPr>
          <a:xfrm>
            <a:off x="6637283" y="-804041"/>
            <a:ext cx="184731" cy="369332"/>
          </a:xfrm>
          <a:prstGeom prst="rect">
            <a:avLst/>
          </a:prstGeom>
          <a:noFill/>
        </p:spPr>
        <p:txBody>
          <a:bodyPr wrap="none" rtlCol="0">
            <a:spAutoFit/>
          </a:bodyPr>
          <a:lstStyle/>
          <a:p>
            <a:endParaRPr lang="en-US" dirty="0"/>
          </a:p>
        </p:txBody>
      </p:sp>
      <p:sp>
        <p:nvSpPr>
          <p:cNvPr id="33" name="Rectangle 32">
            <a:extLst>
              <a:ext uri="{FF2B5EF4-FFF2-40B4-BE49-F238E27FC236}">
                <a16:creationId xmlns:a16="http://schemas.microsoft.com/office/drawing/2014/main" id="{6D0117BF-7B8F-804D-9B62-BFDC2DE5B730}"/>
              </a:ext>
            </a:extLst>
          </p:cNvPr>
          <p:cNvSpPr/>
          <p:nvPr userDrawn="1"/>
        </p:nvSpPr>
        <p:spPr>
          <a:xfrm>
            <a:off x="6504644" y="202608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4" name="Text Placeholder 23">
            <a:extLst>
              <a:ext uri="{FF2B5EF4-FFF2-40B4-BE49-F238E27FC236}">
                <a16:creationId xmlns:a16="http://schemas.microsoft.com/office/drawing/2014/main" id="{89FD262A-DB5E-AA46-B482-A1055545E6FC}"/>
              </a:ext>
            </a:extLst>
          </p:cNvPr>
          <p:cNvSpPr>
            <a:spLocks noGrp="1"/>
          </p:cNvSpPr>
          <p:nvPr>
            <p:ph type="body" sz="quarter" idx="16" hasCustomPrompt="1"/>
          </p:nvPr>
        </p:nvSpPr>
        <p:spPr>
          <a:xfrm>
            <a:off x="6420495" y="1328734"/>
            <a:ext cx="5113283"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35" name="Text Placeholder 17">
            <a:extLst>
              <a:ext uri="{FF2B5EF4-FFF2-40B4-BE49-F238E27FC236}">
                <a16:creationId xmlns:a16="http://schemas.microsoft.com/office/drawing/2014/main" id="{11F92C0B-314B-1D4F-96FF-2837F718CF3C}"/>
              </a:ext>
            </a:extLst>
          </p:cNvPr>
          <p:cNvSpPr>
            <a:spLocks noGrp="1"/>
          </p:cNvSpPr>
          <p:nvPr>
            <p:ph type="body" sz="quarter" idx="18" hasCustomPrompt="1"/>
          </p:nvPr>
        </p:nvSpPr>
        <p:spPr>
          <a:xfrm>
            <a:off x="6420495" y="2346524"/>
            <a:ext cx="5029134" cy="851567"/>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2" name="Rectangle 11">
            <a:extLst>
              <a:ext uri="{FF2B5EF4-FFF2-40B4-BE49-F238E27FC236}">
                <a16:creationId xmlns:a16="http://schemas.microsoft.com/office/drawing/2014/main" id="{67398235-C6AD-0044-962D-4008089BE2E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3" name="Picture 12" descr="Logo&#10;&#10;Description automatically generated">
            <a:extLst>
              <a:ext uri="{FF2B5EF4-FFF2-40B4-BE49-F238E27FC236}">
                <a16:creationId xmlns:a16="http://schemas.microsoft.com/office/drawing/2014/main" id="{9BCE51B4-5C11-8648-BE30-F5B130E4941C}"/>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5630638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Photo Slide - Pur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9224B230-825F-464D-818B-C48C81BE9E2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C0E45D6A-D725-0E40-8A9C-04FD779E67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9004665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Photo Slide - Oran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670CC3DF-08FC-104A-96EE-39401CA6BF0E}"/>
              </a:ext>
            </a:extLst>
          </p:cNvPr>
          <p:cNvSpPr/>
          <p:nvPr userDrawn="1"/>
        </p:nvSpPr>
        <p:spPr>
          <a:xfrm>
            <a:off x="676972" y="141915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74F5F8AB-170A-B44D-BD0D-27DD2A5A9D9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C0C7C7A-DB95-734B-98BC-92FBFE838E0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9207915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eet Our Team">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56B2A56-2BBE-C646-BE66-B40552392DDE}"/>
              </a:ext>
            </a:extLst>
          </p:cNvPr>
          <p:cNvSpPr/>
          <p:nvPr userDrawn="1"/>
        </p:nvSpPr>
        <p:spPr>
          <a:xfrm>
            <a:off x="241300" y="228600"/>
            <a:ext cx="11696700" cy="27178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80054DF-81C6-D345-BE64-D6FEB13B6C91}"/>
              </a:ext>
            </a:extLst>
          </p:cNvPr>
          <p:cNvSpPr/>
          <p:nvPr userDrawn="1"/>
        </p:nvSpPr>
        <p:spPr>
          <a:xfrm>
            <a:off x="5571778" y="131445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0" name="Picture Placeholder 23">
            <a:extLst>
              <a:ext uri="{FF2B5EF4-FFF2-40B4-BE49-F238E27FC236}">
                <a16:creationId xmlns:a16="http://schemas.microsoft.com/office/drawing/2014/main" id="{F70575B2-ECB2-3B4B-8C90-3CB13894D8CB}"/>
              </a:ext>
            </a:extLst>
          </p:cNvPr>
          <p:cNvSpPr>
            <a:spLocks noGrp="1"/>
          </p:cNvSpPr>
          <p:nvPr>
            <p:ph type="pic" sz="quarter" idx="10"/>
          </p:nvPr>
        </p:nvSpPr>
        <p:spPr>
          <a:xfrm>
            <a:off x="1179684" y="2043172"/>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1" name="Picture Placeholder 23">
            <a:extLst>
              <a:ext uri="{FF2B5EF4-FFF2-40B4-BE49-F238E27FC236}">
                <a16:creationId xmlns:a16="http://schemas.microsoft.com/office/drawing/2014/main" id="{597B8BAB-AD5C-574C-8BBB-7F077692D340}"/>
              </a:ext>
            </a:extLst>
          </p:cNvPr>
          <p:cNvSpPr>
            <a:spLocks noGrp="1"/>
          </p:cNvSpPr>
          <p:nvPr>
            <p:ph type="pic" sz="quarter" idx="11"/>
          </p:nvPr>
        </p:nvSpPr>
        <p:spPr>
          <a:xfrm>
            <a:off x="3867471" y="2052565"/>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2" name="Picture Placeholder 23">
            <a:extLst>
              <a:ext uri="{FF2B5EF4-FFF2-40B4-BE49-F238E27FC236}">
                <a16:creationId xmlns:a16="http://schemas.microsoft.com/office/drawing/2014/main" id="{8CBF548A-8484-5248-B085-F53D405FB036}"/>
              </a:ext>
            </a:extLst>
          </p:cNvPr>
          <p:cNvSpPr>
            <a:spLocks noGrp="1"/>
          </p:cNvSpPr>
          <p:nvPr>
            <p:ph type="pic" sz="quarter" idx="12"/>
          </p:nvPr>
        </p:nvSpPr>
        <p:spPr>
          <a:xfrm>
            <a:off x="6543647" y="2048263"/>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3" name="Picture Placeholder 23">
            <a:extLst>
              <a:ext uri="{FF2B5EF4-FFF2-40B4-BE49-F238E27FC236}">
                <a16:creationId xmlns:a16="http://schemas.microsoft.com/office/drawing/2014/main" id="{39A13ABC-6CD4-9246-A71F-B0D3E19169DA}"/>
              </a:ext>
            </a:extLst>
          </p:cNvPr>
          <p:cNvSpPr>
            <a:spLocks noGrp="1"/>
          </p:cNvSpPr>
          <p:nvPr>
            <p:ph type="pic" sz="quarter" idx="13"/>
          </p:nvPr>
        </p:nvSpPr>
        <p:spPr>
          <a:xfrm>
            <a:off x="9231434" y="2057654"/>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42" name="Text Placeholder 17">
            <a:extLst>
              <a:ext uri="{FF2B5EF4-FFF2-40B4-BE49-F238E27FC236}">
                <a16:creationId xmlns:a16="http://schemas.microsoft.com/office/drawing/2014/main" id="{87A5D6E2-FCB8-A749-81EA-BC7F9A176ABB}"/>
              </a:ext>
            </a:extLst>
          </p:cNvPr>
          <p:cNvSpPr>
            <a:spLocks noGrp="1"/>
          </p:cNvSpPr>
          <p:nvPr>
            <p:ph type="body" sz="quarter" idx="18" hasCustomPrompt="1"/>
          </p:nvPr>
        </p:nvSpPr>
        <p:spPr>
          <a:xfrm>
            <a:off x="864405" y="4462702"/>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3" name="Text Placeholder 23">
            <a:extLst>
              <a:ext uri="{FF2B5EF4-FFF2-40B4-BE49-F238E27FC236}">
                <a16:creationId xmlns:a16="http://schemas.microsoft.com/office/drawing/2014/main" id="{AB58A5CB-AB27-844F-B28D-2E3D2232E353}"/>
              </a:ext>
            </a:extLst>
          </p:cNvPr>
          <p:cNvSpPr>
            <a:spLocks noGrp="1"/>
          </p:cNvSpPr>
          <p:nvPr>
            <p:ph type="body" sz="quarter" idx="16" hasCustomPrompt="1"/>
          </p:nvPr>
        </p:nvSpPr>
        <p:spPr>
          <a:xfrm>
            <a:off x="864404" y="3931189"/>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4" name="Text Placeholder 17">
            <a:extLst>
              <a:ext uri="{FF2B5EF4-FFF2-40B4-BE49-F238E27FC236}">
                <a16:creationId xmlns:a16="http://schemas.microsoft.com/office/drawing/2014/main" id="{4B2C2646-153F-D446-A6C4-E96058A5C0FE}"/>
              </a:ext>
            </a:extLst>
          </p:cNvPr>
          <p:cNvSpPr>
            <a:spLocks noGrp="1"/>
          </p:cNvSpPr>
          <p:nvPr>
            <p:ph type="body" sz="quarter" idx="19" hasCustomPrompt="1"/>
          </p:nvPr>
        </p:nvSpPr>
        <p:spPr>
          <a:xfrm>
            <a:off x="3603613" y="4480397"/>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5" name="Text Placeholder 23">
            <a:extLst>
              <a:ext uri="{FF2B5EF4-FFF2-40B4-BE49-F238E27FC236}">
                <a16:creationId xmlns:a16="http://schemas.microsoft.com/office/drawing/2014/main" id="{35687AA8-029A-4A4F-B7FF-65AD20471261}"/>
              </a:ext>
            </a:extLst>
          </p:cNvPr>
          <p:cNvSpPr>
            <a:spLocks noGrp="1"/>
          </p:cNvSpPr>
          <p:nvPr>
            <p:ph type="body" sz="quarter" idx="20" hasCustomPrompt="1"/>
          </p:nvPr>
        </p:nvSpPr>
        <p:spPr>
          <a:xfrm>
            <a:off x="3603612" y="3948884"/>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6" name="Text Placeholder 17">
            <a:extLst>
              <a:ext uri="{FF2B5EF4-FFF2-40B4-BE49-F238E27FC236}">
                <a16:creationId xmlns:a16="http://schemas.microsoft.com/office/drawing/2014/main" id="{60085004-ECA1-184B-A4C3-081718D98C21}"/>
              </a:ext>
            </a:extLst>
          </p:cNvPr>
          <p:cNvSpPr>
            <a:spLocks noGrp="1"/>
          </p:cNvSpPr>
          <p:nvPr>
            <p:ph type="body" sz="quarter" idx="21" hasCustomPrompt="1"/>
          </p:nvPr>
        </p:nvSpPr>
        <p:spPr>
          <a:xfrm>
            <a:off x="6298550" y="4450949"/>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7" name="Text Placeholder 23">
            <a:extLst>
              <a:ext uri="{FF2B5EF4-FFF2-40B4-BE49-F238E27FC236}">
                <a16:creationId xmlns:a16="http://schemas.microsoft.com/office/drawing/2014/main" id="{8A39FB91-3EAB-8D46-823F-121EE6218956}"/>
              </a:ext>
            </a:extLst>
          </p:cNvPr>
          <p:cNvSpPr>
            <a:spLocks noGrp="1"/>
          </p:cNvSpPr>
          <p:nvPr>
            <p:ph type="body" sz="quarter" idx="22" hasCustomPrompt="1"/>
          </p:nvPr>
        </p:nvSpPr>
        <p:spPr>
          <a:xfrm>
            <a:off x="6298549" y="3919436"/>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8" name="Text Placeholder 17">
            <a:extLst>
              <a:ext uri="{FF2B5EF4-FFF2-40B4-BE49-F238E27FC236}">
                <a16:creationId xmlns:a16="http://schemas.microsoft.com/office/drawing/2014/main" id="{732096D6-82F4-EF4D-B0DE-F90EE786C97A}"/>
              </a:ext>
            </a:extLst>
          </p:cNvPr>
          <p:cNvSpPr>
            <a:spLocks noGrp="1"/>
          </p:cNvSpPr>
          <p:nvPr>
            <p:ph type="body" sz="quarter" idx="23" hasCustomPrompt="1"/>
          </p:nvPr>
        </p:nvSpPr>
        <p:spPr>
          <a:xfrm>
            <a:off x="9037758" y="4468644"/>
            <a:ext cx="2289837" cy="1237497"/>
          </a:xfrm>
        </p:spPr>
        <p:txBody>
          <a:bodyP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dirty="0"/>
              <a:t>Title</a:t>
            </a:r>
            <a:endParaRPr lang="en-US" dirty="0"/>
          </a:p>
          <a:p>
            <a:pPr lvl="0"/>
            <a:endParaRPr lang="en-US" dirty="0"/>
          </a:p>
        </p:txBody>
      </p:sp>
      <p:sp>
        <p:nvSpPr>
          <p:cNvPr id="49" name="Text Placeholder 23">
            <a:extLst>
              <a:ext uri="{FF2B5EF4-FFF2-40B4-BE49-F238E27FC236}">
                <a16:creationId xmlns:a16="http://schemas.microsoft.com/office/drawing/2014/main" id="{1159E417-4740-EB49-8F54-BE28E9673052}"/>
              </a:ext>
            </a:extLst>
          </p:cNvPr>
          <p:cNvSpPr>
            <a:spLocks noGrp="1"/>
          </p:cNvSpPr>
          <p:nvPr>
            <p:ph type="body" sz="quarter" idx="24" hasCustomPrompt="1"/>
          </p:nvPr>
        </p:nvSpPr>
        <p:spPr>
          <a:xfrm>
            <a:off x="9037757" y="3937131"/>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51" name="Text Placeholder 23">
            <a:extLst>
              <a:ext uri="{FF2B5EF4-FFF2-40B4-BE49-F238E27FC236}">
                <a16:creationId xmlns:a16="http://schemas.microsoft.com/office/drawing/2014/main" id="{34C31F06-6858-834A-95DF-B38410393984}"/>
              </a:ext>
            </a:extLst>
          </p:cNvPr>
          <p:cNvSpPr>
            <a:spLocks noGrp="1"/>
          </p:cNvSpPr>
          <p:nvPr>
            <p:ph type="body" sz="quarter" idx="25" hasCustomPrompt="1"/>
          </p:nvPr>
        </p:nvSpPr>
        <p:spPr>
          <a:xfrm>
            <a:off x="254000" y="590455"/>
            <a:ext cx="11696700" cy="582221"/>
          </a:xfrm>
        </p:spPr>
        <p:txBody>
          <a:bodyPr>
            <a:normAutofit/>
          </a:bodyPr>
          <a:lstStyle>
            <a:lvl1pPr marL="0" indent="0" algn="ctr">
              <a:buNone/>
              <a:defRPr sz="3600" b="0" i="0">
                <a:solidFill>
                  <a:schemeClr val="bg1"/>
                </a:solidFill>
                <a:latin typeface="Calibri" panose="020F0502020204030204" pitchFamily="34" charset="0"/>
                <a:cs typeface="Calibri" panose="020F0502020204030204" pitchFamily="34" charset="0"/>
              </a:defRPr>
            </a:lvl1pPr>
          </a:lstStyle>
          <a:p>
            <a:pPr lvl="0"/>
            <a:r>
              <a:rPr lang="en-US" dirty="0"/>
              <a:t>Meet Our Team</a:t>
            </a:r>
          </a:p>
        </p:txBody>
      </p:sp>
      <p:sp>
        <p:nvSpPr>
          <p:cNvPr id="21" name="Rectangle 20">
            <a:extLst>
              <a:ext uri="{FF2B5EF4-FFF2-40B4-BE49-F238E27FC236}">
                <a16:creationId xmlns:a16="http://schemas.microsoft.com/office/drawing/2014/main" id="{8A84E1C7-820C-6B4C-90A3-B85E568D2AF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13DAD951-7FBC-0B47-A686-42F1981A7AC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9964810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box - Solid Nav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E96EDAD-C319-D548-A979-49E81343F7F8}"/>
              </a:ext>
            </a:extLst>
          </p:cNvPr>
          <p:cNvSpPr/>
          <p:nvPr userDrawn="1"/>
        </p:nvSpPr>
        <p:spPr>
          <a:xfrm>
            <a:off x="241300" y="228600"/>
            <a:ext cx="11696700" cy="56953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6BFFD43-F8F2-A442-AD13-9D6BE5006D5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000DD97F-55CE-F046-AE6A-2ED9AA91C563}"/>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2847015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box - Solid Light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B62BE5A-66C1-434D-9B56-58E19E52B6F3}"/>
              </a:ext>
            </a:extLst>
          </p:cNvPr>
          <p:cNvSpPr/>
          <p:nvPr userDrawn="1"/>
        </p:nvSpPr>
        <p:spPr>
          <a:xfrm>
            <a:off x="241300" y="228600"/>
            <a:ext cx="11696700" cy="56953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0D06C5BC-7DA1-284B-92AA-35E0A7B11036}"/>
              </a:ext>
            </a:extLst>
          </p:cNvPr>
          <p:cNvSpPr/>
          <p:nvPr userDrawn="1"/>
        </p:nvSpPr>
        <p:spPr>
          <a:xfrm>
            <a:off x="818862" y="134032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BEF564C0-0C80-AF4F-AACE-A9610384834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C960BDC8-E155-A147-AB2E-7170DDF4F116}"/>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0929352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only MASTER slide">
    <p:spTree>
      <p:nvGrpSpPr>
        <p:cNvPr id="1" name=""/>
        <p:cNvGrpSpPr/>
        <p:nvPr/>
      </p:nvGrpSpPr>
      <p:grpSpPr>
        <a:xfrm>
          <a:off x="0" y="0"/>
          <a:ext cx="0" cy="0"/>
          <a:chOff x="0" y="0"/>
          <a:chExt cx="0" cy="0"/>
        </a:xfrm>
      </p:grpSpPr>
      <p:sp>
        <p:nvSpPr>
          <p:cNvPr id="15" name="Text Placeholder 17">
            <a:extLst>
              <a:ext uri="{FF2B5EF4-FFF2-40B4-BE49-F238E27FC236}">
                <a16:creationId xmlns:a16="http://schemas.microsoft.com/office/drawing/2014/main" id="{F65C73A9-FE78-B440-AFB3-1081F93D7B79}"/>
              </a:ext>
            </a:extLst>
          </p:cNvPr>
          <p:cNvSpPr>
            <a:spLocks noGrp="1"/>
          </p:cNvSpPr>
          <p:nvPr>
            <p:ph type="body" sz="quarter" idx="18" hasCustomPrompt="1"/>
          </p:nvPr>
        </p:nvSpPr>
        <p:spPr>
          <a:xfrm>
            <a:off x="529759" y="1757011"/>
            <a:ext cx="11073662" cy="386770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6" name="Text Placeholder 23">
            <a:extLst>
              <a:ext uri="{FF2B5EF4-FFF2-40B4-BE49-F238E27FC236}">
                <a16:creationId xmlns:a16="http://schemas.microsoft.com/office/drawing/2014/main" id="{F1A9A1BB-6827-E947-B0CD-732DD5E35F37}"/>
              </a:ext>
            </a:extLst>
          </p:cNvPr>
          <p:cNvSpPr>
            <a:spLocks noGrp="1"/>
          </p:cNvSpPr>
          <p:nvPr>
            <p:ph type="body" sz="quarter" idx="16" hasCustomPrompt="1"/>
          </p:nvPr>
        </p:nvSpPr>
        <p:spPr>
          <a:xfrm>
            <a:off x="529758" y="642972"/>
            <a:ext cx="11073661"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995E0C5B-A0BB-1F4A-9CE1-5EBE027AF22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6ED607DE-E931-A941-A8E1-5409FA6218E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9837206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
        <p:nvSpPr>
          <p:cNvPr id="5" name="Rectangle 4"/>
          <p:cNvSpPr/>
          <p:nvPr userDrawn="1"/>
        </p:nvSpPr>
        <p:spPr>
          <a:xfrm>
            <a:off x="0" y="0"/>
            <a:ext cx="12192000" cy="685800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userDrawn="1"/>
        </p:nvSpPr>
        <p:spPr>
          <a:xfrm>
            <a:off x="586901" y="491138"/>
            <a:ext cx="4309564" cy="4708981"/>
          </a:xfrm>
          <a:prstGeom prst="rect">
            <a:avLst/>
          </a:prstGeom>
        </p:spPr>
        <p:txBody>
          <a:bodyPr wrap="square">
            <a:spAutoFit/>
          </a:bodyPr>
          <a:lstStyle/>
          <a:p>
            <a:pPr marL="0" lvl="0" indent="0" algn="l" rtl="0">
              <a:spcBef>
                <a:spcPts val="0"/>
              </a:spcBef>
              <a:spcAft>
                <a:spcPts val="0"/>
              </a:spcAft>
              <a:buClr>
                <a:schemeClr val="dk1"/>
              </a:buClr>
              <a:buSzPts val="1100"/>
              <a:buFont typeface="Arial"/>
              <a:buNone/>
            </a:pPr>
            <a:r>
              <a:rPr lang="en-IE" sz="3600" dirty="0">
                <a:solidFill>
                  <a:schemeClr val="bg1"/>
                </a:solidFill>
                <a:latin typeface="+mn-lt"/>
                <a:ea typeface="Quattrocento Sans"/>
                <a:cs typeface="Quattrocento Sans"/>
                <a:sym typeface="Quattrocento Sans"/>
              </a:rPr>
              <a:t>ICONS</a:t>
            </a:r>
            <a:r>
              <a:rPr lang="en-IE" sz="3600" baseline="0" dirty="0">
                <a:solidFill>
                  <a:schemeClr val="bg1"/>
                </a:solidFill>
                <a:latin typeface="+mn-lt"/>
                <a:ea typeface="Quattrocento Sans"/>
                <a:cs typeface="Quattrocento Sans"/>
                <a:sym typeface="Quattrocento Sans"/>
              </a:rPr>
              <a:t> WHICH CAN BE USED WITHIN THE </a:t>
            </a:r>
            <a:r>
              <a:rPr lang="en-IE" sz="3600" b="1" baseline="0" dirty="0">
                <a:solidFill>
                  <a:schemeClr val="bg1"/>
                </a:solidFill>
                <a:latin typeface="+mn-lt"/>
                <a:ea typeface="Quattrocento Sans"/>
                <a:cs typeface="Quattrocento Sans"/>
                <a:sym typeface="Quattrocento Sans"/>
              </a:rPr>
              <a:t>SECURE</a:t>
            </a:r>
          </a:p>
          <a:p>
            <a:pPr marL="0" lvl="0" indent="0" algn="l" rtl="0">
              <a:spcBef>
                <a:spcPts val="0"/>
              </a:spcBef>
              <a:spcAft>
                <a:spcPts val="0"/>
              </a:spcAft>
              <a:buClr>
                <a:schemeClr val="dk1"/>
              </a:buClr>
              <a:buSzPts val="1100"/>
              <a:buFont typeface="Arial"/>
              <a:buNone/>
            </a:pPr>
            <a:r>
              <a:rPr lang="en-IE" sz="3600" baseline="0" dirty="0">
                <a:solidFill>
                  <a:schemeClr val="bg1"/>
                </a:solidFill>
                <a:latin typeface="+mn-lt"/>
                <a:ea typeface="Quattrocento Sans"/>
                <a:cs typeface="Quattrocento Sans"/>
                <a:sym typeface="Quattrocento Sans"/>
              </a:rPr>
              <a:t>POWERPOINT</a:t>
            </a:r>
          </a:p>
          <a:p>
            <a:pPr marL="0" lvl="0" indent="0" algn="l" rtl="0">
              <a:spcBef>
                <a:spcPts val="0"/>
              </a:spcBef>
              <a:spcAft>
                <a:spcPts val="0"/>
              </a:spcAft>
              <a:buClr>
                <a:schemeClr val="dk1"/>
              </a:buClr>
              <a:buSzPts val="1100"/>
              <a:buFont typeface="Arial"/>
              <a:buNone/>
            </a:pPr>
            <a:endParaRPr lang="en-IE" sz="360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IE" sz="2400" i="1" dirty="0">
                <a:solidFill>
                  <a:schemeClr val="bg1"/>
                </a:solidFill>
                <a:latin typeface="+mn-lt"/>
                <a:ea typeface="Quattrocento Sans"/>
                <a:cs typeface="Quattrocento Sans"/>
                <a:sym typeface="Quattrocento Sans"/>
              </a:rPr>
              <a:t>Resize them without losing quality.</a:t>
            </a:r>
            <a:r>
              <a:rPr lang="en-IE" sz="2400" i="1" baseline="0" dirty="0">
                <a:solidFill>
                  <a:schemeClr val="bg1"/>
                </a:solidFill>
                <a:latin typeface="+mn-lt"/>
                <a:ea typeface="Quattrocento Sans"/>
                <a:cs typeface="Quattrocento Sans"/>
                <a:sym typeface="Quattrocento Sans"/>
              </a:rPr>
              <a:t> </a:t>
            </a:r>
            <a:r>
              <a:rPr lang="en-IE" sz="2400" i="1" dirty="0">
                <a:solidFill>
                  <a:schemeClr val="bg1"/>
                </a:solidFill>
                <a:latin typeface="+mn-lt"/>
                <a:ea typeface="Quattrocento Sans"/>
                <a:cs typeface="Quattrocento Sans"/>
                <a:sym typeface="Quattrocento Sans"/>
              </a:rPr>
              <a:t> Change line colour, width and style.</a:t>
            </a:r>
            <a:r>
              <a:rPr lang="en-IE" sz="2400" i="1" baseline="0" dirty="0">
                <a:solidFill>
                  <a:schemeClr val="bg1"/>
                </a:solidFill>
                <a:latin typeface="+mn-lt"/>
                <a:ea typeface="Quattrocento Sans"/>
                <a:cs typeface="Quattrocento Sans"/>
                <a:sym typeface="Quattrocento Sans"/>
              </a:rPr>
              <a:t>  </a:t>
            </a:r>
          </a:p>
          <a:p>
            <a:pPr marL="52388" lvl="0" indent="0" algn="l" rtl="0">
              <a:spcBef>
                <a:spcPts val="0"/>
              </a:spcBef>
              <a:spcAft>
                <a:spcPts val="0"/>
              </a:spcAft>
              <a:buClr>
                <a:schemeClr val="dk1"/>
              </a:buClr>
              <a:buSzPts val="900"/>
              <a:buFont typeface="Quattrocento Sans"/>
              <a:buNone/>
              <a:tabLst/>
            </a:pPr>
            <a:endParaRPr lang="en-IE" sz="2400" i="1" baseline="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 sz="2400" dirty="0">
                <a:solidFill>
                  <a:schemeClr val="bg1"/>
                </a:solidFill>
                <a:latin typeface="+mn-lt"/>
                <a:ea typeface="Quattrocento Sans"/>
                <a:cs typeface="Quattrocento Sans"/>
                <a:sym typeface="Quattrocento Sans"/>
              </a:rPr>
              <a:t>Isn’t that nice? :)</a:t>
            </a:r>
          </a:p>
        </p:txBody>
      </p:sp>
      <p:sp>
        <p:nvSpPr>
          <p:cNvPr id="7" name="Rectangle 6"/>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8" name="Straight Connector 7"/>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5145818" y="0"/>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34388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5AC7CE8-B51E-C249-946E-538B6C26A0B6}"/>
              </a:ext>
            </a:extLst>
          </p:cNvPr>
          <p:cNvSpPr/>
          <p:nvPr userDrawn="1"/>
        </p:nvSpPr>
        <p:spPr>
          <a:xfrm>
            <a:off x="241300" y="228600"/>
            <a:ext cx="11696700" cy="30353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C3C33563-74D4-9C45-B16E-EE9771603C88}"/>
              </a:ext>
            </a:extLst>
          </p:cNvPr>
          <p:cNvPicPr>
            <a:picLocks noChangeAspect="1"/>
          </p:cNvPicPr>
          <p:nvPr userDrawn="1"/>
        </p:nvPicPr>
        <p:blipFill rotWithShape="1">
          <a:blip r:embed="rId2"/>
          <a:srcRect l="-18315" t="15976" r="29196" b="11083"/>
          <a:stretch/>
        </p:blipFill>
        <p:spPr>
          <a:xfrm>
            <a:off x="3752900" y="1030385"/>
            <a:ext cx="8439100" cy="5375657"/>
          </a:xfrm>
          <a:prstGeom prst="rect">
            <a:avLst/>
          </a:prstGeom>
        </p:spPr>
      </p:pic>
      <p:sp>
        <p:nvSpPr>
          <p:cNvPr id="18" name="Picture Placeholder 17">
            <a:extLst>
              <a:ext uri="{FF2B5EF4-FFF2-40B4-BE49-F238E27FC236}">
                <a16:creationId xmlns:a16="http://schemas.microsoft.com/office/drawing/2014/main" id="{9B270587-869E-A549-98E4-0E2F24D7CBA4}"/>
              </a:ext>
            </a:extLst>
          </p:cNvPr>
          <p:cNvSpPr>
            <a:spLocks noGrp="1"/>
          </p:cNvSpPr>
          <p:nvPr>
            <p:ph type="pic" sz="quarter" idx="10"/>
          </p:nvPr>
        </p:nvSpPr>
        <p:spPr>
          <a:xfrm>
            <a:off x="7061200" y="1203325"/>
            <a:ext cx="5130800" cy="391318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21" name="Text Placeholder 17">
            <a:extLst>
              <a:ext uri="{FF2B5EF4-FFF2-40B4-BE49-F238E27FC236}">
                <a16:creationId xmlns:a16="http://schemas.microsoft.com/office/drawing/2014/main" id="{B1FBF693-83D1-B940-B0C1-1DEE220BC285}"/>
              </a:ext>
            </a:extLst>
          </p:cNvPr>
          <p:cNvSpPr>
            <a:spLocks noGrp="1"/>
          </p:cNvSpPr>
          <p:nvPr>
            <p:ph type="body" sz="quarter" idx="18" hasCustomPrompt="1"/>
          </p:nvPr>
        </p:nvSpPr>
        <p:spPr>
          <a:xfrm>
            <a:off x="831350" y="3594101"/>
            <a:ext cx="5029134" cy="22335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FA890FD1-5248-1542-8F2A-D91A6994E3B9}"/>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Laptop Preview</a:t>
            </a:r>
          </a:p>
        </p:txBody>
      </p:sp>
      <p:sp>
        <p:nvSpPr>
          <p:cNvPr id="15" name="Rectangle 14">
            <a:extLst>
              <a:ext uri="{FF2B5EF4-FFF2-40B4-BE49-F238E27FC236}">
                <a16:creationId xmlns:a16="http://schemas.microsoft.com/office/drawing/2014/main" id="{284D84F5-99A4-8040-A2A1-2682C599AD1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62025217-4795-9249-9C37-88CEEEDE536E}"/>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9566428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45F4BB7-6E94-9947-9F14-4DCA46C6E427}"/>
              </a:ext>
            </a:extLst>
          </p:cNvPr>
          <p:cNvSpPr/>
          <p:nvPr userDrawn="1"/>
        </p:nvSpPr>
        <p:spPr>
          <a:xfrm>
            <a:off x="241300" y="228600"/>
            <a:ext cx="11696700" cy="30353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3B98100-E25F-DD4B-AB20-A31F0F0B548B}"/>
              </a:ext>
            </a:extLst>
          </p:cNvPr>
          <p:cNvSpPr/>
          <p:nvPr userDrawn="1"/>
        </p:nvSpPr>
        <p:spPr>
          <a:xfrm>
            <a:off x="831350" y="1502804"/>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3" name="Group 2">
            <a:extLst>
              <a:ext uri="{FF2B5EF4-FFF2-40B4-BE49-F238E27FC236}">
                <a16:creationId xmlns:a16="http://schemas.microsoft.com/office/drawing/2014/main" id="{78B2A2B2-F2DF-8F49-B350-611FE13388E1}"/>
              </a:ext>
            </a:extLst>
          </p:cNvPr>
          <p:cNvGrpSpPr/>
          <p:nvPr userDrawn="1"/>
        </p:nvGrpSpPr>
        <p:grpSpPr>
          <a:xfrm>
            <a:off x="2530564" y="336687"/>
            <a:ext cx="9078210" cy="5854425"/>
            <a:chOff x="3152299" y="635855"/>
            <a:chExt cx="19296834" cy="12444290"/>
          </a:xfrm>
        </p:grpSpPr>
        <p:pic>
          <p:nvPicPr>
            <p:cNvPr id="4" name="Picture 3" descr="iPhone6_mockup_front_white.png">
              <a:extLst>
                <a:ext uri="{FF2B5EF4-FFF2-40B4-BE49-F238E27FC236}">
                  <a16:creationId xmlns:a16="http://schemas.microsoft.com/office/drawing/2014/main" id="{190C133D-22F4-4847-8C19-ACF8FBE171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93359" y="635855"/>
              <a:ext cx="7955774" cy="12444290"/>
            </a:xfrm>
            <a:prstGeom prst="rect">
              <a:avLst/>
            </a:prstGeom>
          </p:spPr>
        </p:pic>
        <p:sp>
          <p:nvSpPr>
            <p:cNvPr id="5" name="TextBox 4">
              <a:extLst>
                <a:ext uri="{FF2B5EF4-FFF2-40B4-BE49-F238E27FC236}">
                  <a16:creationId xmlns:a16="http://schemas.microsoft.com/office/drawing/2014/main" id="{D21E791A-E387-3F4F-AFE7-F887E52C4AFD}"/>
                </a:ext>
              </a:extLst>
            </p:cNvPr>
            <p:cNvSpPr txBox="1"/>
            <p:nvPr/>
          </p:nvSpPr>
          <p:spPr>
            <a:xfrm>
              <a:off x="3152299" y="9384825"/>
              <a:ext cx="2262158"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One</a:t>
              </a:r>
            </a:p>
          </p:txBody>
        </p:sp>
        <p:sp>
          <p:nvSpPr>
            <p:cNvPr id="6" name="TextBox 5">
              <a:extLst>
                <a:ext uri="{FF2B5EF4-FFF2-40B4-BE49-F238E27FC236}">
                  <a16:creationId xmlns:a16="http://schemas.microsoft.com/office/drawing/2014/main" id="{E7E49ED8-2282-8C44-B0B1-7EA16E4F64F7}"/>
                </a:ext>
              </a:extLst>
            </p:cNvPr>
            <p:cNvSpPr txBox="1"/>
            <p:nvPr/>
          </p:nvSpPr>
          <p:spPr>
            <a:xfrm>
              <a:off x="9842014" y="9384825"/>
              <a:ext cx="2242922"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Two</a:t>
              </a:r>
            </a:p>
          </p:txBody>
        </p:sp>
      </p:grpSp>
      <p:sp>
        <p:nvSpPr>
          <p:cNvPr id="12" name="Picture Placeholder 17">
            <a:extLst>
              <a:ext uri="{FF2B5EF4-FFF2-40B4-BE49-F238E27FC236}">
                <a16:creationId xmlns:a16="http://schemas.microsoft.com/office/drawing/2014/main" id="{DDF094EB-EB5D-7A4F-9743-1045AC7D2DDE}"/>
              </a:ext>
            </a:extLst>
          </p:cNvPr>
          <p:cNvSpPr>
            <a:spLocks noGrp="1"/>
          </p:cNvSpPr>
          <p:nvPr>
            <p:ph type="pic" sz="quarter" idx="10"/>
          </p:nvPr>
        </p:nvSpPr>
        <p:spPr>
          <a:xfrm>
            <a:off x="8602116" y="1265033"/>
            <a:ext cx="2266512" cy="397829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3" name="Text Placeholder 17">
            <a:extLst>
              <a:ext uri="{FF2B5EF4-FFF2-40B4-BE49-F238E27FC236}">
                <a16:creationId xmlns:a16="http://schemas.microsoft.com/office/drawing/2014/main" id="{44BBFAB6-D383-334C-9E99-388F133C90DA}"/>
              </a:ext>
            </a:extLst>
          </p:cNvPr>
          <p:cNvSpPr>
            <a:spLocks noGrp="1"/>
          </p:cNvSpPr>
          <p:nvPr>
            <p:ph type="body" sz="quarter" idx="18" hasCustomPrompt="1"/>
          </p:nvPr>
        </p:nvSpPr>
        <p:spPr>
          <a:xfrm>
            <a:off x="734715" y="3594101"/>
            <a:ext cx="4983180" cy="20306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5" name="Text Placeholder 23">
            <a:extLst>
              <a:ext uri="{FF2B5EF4-FFF2-40B4-BE49-F238E27FC236}">
                <a16:creationId xmlns:a16="http://schemas.microsoft.com/office/drawing/2014/main" id="{47C562BD-9CD8-BD45-8B53-0DEC698873B7}"/>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Phone Preview</a:t>
            </a:r>
          </a:p>
        </p:txBody>
      </p:sp>
      <p:sp>
        <p:nvSpPr>
          <p:cNvPr id="14" name="Rectangle 13">
            <a:extLst>
              <a:ext uri="{FF2B5EF4-FFF2-40B4-BE49-F238E27FC236}">
                <a16:creationId xmlns:a16="http://schemas.microsoft.com/office/drawing/2014/main" id="{E9B11E87-4EE4-EF4D-9822-A3CCA8B2DDFF}"/>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E94FB9E-3664-8A4B-8CCA-49CA75C5BA58}"/>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41087756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 Slide - Purpl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B41F7A"/>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B41F7A"/>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3947335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 Slide - Orang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F16924"/>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F16924"/>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19961460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ur Journey 1">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DFEFB84-F567-D648-B64F-EE8CC90AA5FD}"/>
              </a:ext>
            </a:extLst>
          </p:cNvPr>
          <p:cNvSpPr txBox="1"/>
          <p:nvPr userDrawn="1"/>
        </p:nvSpPr>
        <p:spPr>
          <a:xfrm>
            <a:off x="4396800" y="809464"/>
            <a:ext cx="3398400" cy="507831"/>
          </a:xfrm>
          <a:prstGeom prst="rect">
            <a:avLst/>
          </a:prstGeom>
          <a:noFill/>
          <a:ln>
            <a:noFill/>
          </a:ln>
        </p:spPr>
        <p:txBody>
          <a:bodyPr wrap="square" rtlCol="0">
            <a:spAutoFit/>
          </a:bodyPr>
          <a:lstStyle/>
          <a:p>
            <a:pPr algn="ctr"/>
            <a:r>
              <a:rPr lang="en-US" sz="2700" spc="150" dirty="0">
                <a:solidFill>
                  <a:schemeClr val="tx2"/>
                </a:solidFill>
                <a:latin typeface="Montserrat Medium" pitchFamily="2" charset="77"/>
                <a:ea typeface="Roboto" panose="02000000000000000000" pitchFamily="2" charset="0"/>
                <a:cs typeface="Poppins Medium" pitchFamily="2" charset="77"/>
              </a:rPr>
              <a:t>OUR TIMELINE</a:t>
            </a:r>
          </a:p>
        </p:txBody>
      </p:sp>
      <p:cxnSp>
        <p:nvCxnSpPr>
          <p:cNvPr id="10" name="Straight Connector 9">
            <a:extLst>
              <a:ext uri="{FF2B5EF4-FFF2-40B4-BE49-F238E27FC236}">
                <a16:creationId xmlns:a16="http://schemas.microsoft.com/office/drawing/2014/main" id="{4C620474-398A-C642-97C5-6FFB0DF43052}"/>
              </a:ext>
            </a:extLst>
          </p:cNvPr>
          <p:cNvCxnSpPr>
            <a:cxnSpLocks/>
          </p:cNvCxnSpPr>
          <p:nvPr/>
        </p:nvCxnSpPr>
        <p:spPr>
          <a:xfrm>
            <a:off x="2718910" y="3448776"/>
            <a:ext cx="947150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6E4A766-FED1-894B-A889-823A4FF75411}"/>
              </a:ext>
            </a:extLst>
          </p:cNvPr>
          <p:cNvSpPr/>
          <p:nvPr/>
        </p:nvSpPr>
        <p:spPr>
          <a:xfrm>
            <a:off x="2102383" y="2832249"/>
            <a:ext cx="1233055" cy="123305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Oval 11">
            <a:extLst>
              <a:ext uri="{FF2B5EF4-FFF2-40B4-BE49-F238E27FC236}">
                <a16:creationId xmlns:a16="http://schemas.microsoft.com/office/drawing/2014/main" id="{C08C6878-4402-894E-8E64-73E151411DC6}"/>
              </a:ext>
            </a:extLst>
          </p:cNvPr>
          <p:cNvSpPr/>
          <p:nvPr/>
        </p:nvSpPr>
        <p:spPr>
          <a:xfrm>
            <a:off x="5969765" y="3362570"/>
            <a:ext cx="172412" cy="17241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Oval 12">
            <a:extLst>
              <a:ext uri="{FF2B5EF4-FFF2-40B4-BE49-F238E27FC236}">
                <a16:creationId xmlns:a16="http://schemas.microsoft.com/office/drawing/2014/main" id="{BBB83E75-E0C9-714E-9E45-509D3F33090F}"/>
              </a:ext>
            </a:extLst>
          </p:cNvPr>
          <p:cNvSpPr/>
          <p:nvPr/>
        </p:nvSpPr>
        <p:spPr>
          <a:xfrm>
            <a:off x="9383674" y="3362570"/>
            <a:ext cx="172412" cy="17241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Rectangle 20">
            <a:extLst>
              <a:ext uri="{FF2B5EF4-FFF2-40B4-BE49-F238E27FC236}">
                <a16:creationId xmlns:a16="http://schemas.microsoft.com/office/drawing/2014/main" id="{BE62D4D3-21EB-0349-B504-782647ECA544}"/>
              </a:ext>
            </a:extLst>
          </p:cNvPr>
          <p:cNvSpPr/>
          <p:nvPr/>
        </p:nvSpPr>
        <p:spPr>
          <a:xfrm>
            <a:off x="4956904" y="3803693"/>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19" name="Rectangle 18">
            <a:extLst>
              <a:ext uri="{FF2B5EF4-FFF2-40B4-BE49-F238E27FC236}">
                <a16:creationId xmlns:a16="http://schemas.microsoft.com/office/drawing/2014/main" id="{2E52E7C6-64EF-FA4A-987B-05E44539FB1E}"/>
              </a:ext>
            </a:extLst>
          </p:cNvPr>
          <p:cNvSpPr/>
          <p:nvPr/>
        </p:nvSpPr>
        <p:spPr>
          <a:xfrm>
            <a:off x="8370812"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7" name="Rectangle 26">
            <a:extLst>
              <a:ext uri="{FF2B5EF4-FFF2-40B4-BE49-F238E27FC236}">
                <a16:creationId xmlns:a16="http://schemas.microsoft.com/office/drawing/2014/main" id="{526AA091-4676-F84E-93FF-824FF1A4B10B}"/>
              </a:ext>
            </a:extLst>
          </p:cNvPr>
          <p:cNvSpPr/>
          <p:nvPr userDrawn="1"/>
        </p:nvSpPr>
        <p:spPr>
          <a:xfrm>
            <a:off x="548344" y="114165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8" name="Text Placeholder 23">
            <a:extLst>
              <a:ext uri="{FF2B5EF4-FFF2-40B4-BE49-F238E27FC236}">
                <a16:creationId xmlns:a16="http://schemas.microsoft.com/office/drawing/2014/main" id="{E74BB04E-437D-4E46-9A57-B72EEF075E66}"/>
              </a:ext>
            </a:extLst>
          </p:cNvPr>
          <p:cNvSpPr>
            <a:spLocks noGrp="1"/>
          </p:cNvSpPr>
          <p:nvPr userDrawn="1">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dirty="0"/>
              <a:t>Our Journey</a:t>
            </a:r>
          </a:p>
        </p:txBody>
      </p:sp>
      <p:sp>
        <p:nvSpPr>
          <p:cNvPr id="31" name="Text Placeholder 17">
            <a:extLst>
              <a:ext uri="{FF2B5EF4-FFF2-40B4-BE49-F238E27FC236}">
                <a16:creationId xmlns:a16="http://schemas.microsoft.com/office/drawing/2014/main" id="{CCD767BA-B79C-2543-AA9A-86E634722F0F}"/>
              </a:ext>
            </a:extLst>
          </p:cNvPr>
          <p:cNvSpPr>
            <a:spLocks noGrp="1"/>
          </p:cNvSpPr>
          <p:nvPr userDrawn="1">
            <p:ph type="body" sz="quarter" idx="19" hasCustomPrompt="1"/>
          </p:nvPr>
        </p:nvSpPr>
        <p:spPr>
          <a:xfrm>
            <a:off x="4785825" y="422073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2" name="Text Placeholder 17">
            <a:extLst>
              <a:ext uri="{FF2B5EF4-FFF2-40B4-BE49-F238E27FC236}">
                <a16:creationId xmlns:a16="http://schemas.microsoft.com/office/drawing/2014/main" id="{3BC6FB8B-D15D-3340-8F2D-D5BC2FD4D66F}"/>
              </a:ext>
            </a:extLst>
          </p:cNvPr>
          <p:cNvSpPr>
            <a:spLocks noGrp="1"/>
          </p:cNvSpPr>
          <p:nvPr userDrawn="1">
            <p:ph type="body" sz="quarter" idx="20" hasCustomPrompt="1"/>
          </p:nvPr>
        </p:nvSpPr>
        <p:spPr>
          <a:xfrm>
            <a:off x="8216766" y="1608539"/>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19348E07-20A7-F740-8715-43EB023172A2}"/>
              </a:ext>
            </a:extLst>
          </p:cNvPr>
          <p:cNvSpPr>
            <a:spLocks noGrp="1"/>
          </p:cNvSpPr>
          <p:nvPr userDrawn="1">
            <p:ph type="body" sz="quarter" idx="21" hasCustomPrompt="1"/>
          </p:nvPr>
        </p:nvSpPr>
        <p:spPr>
          <a:xfrm>
            <a:off x="2102383"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TART</a:t>
            </a:r>
            <a:endParaRPr lang="en-US" dirty="0"/>
          </a:p>
        </p:txBody>
      </p:sp>
      <p:sp>
        <p:nvSpPr>
          <p:cNvPr id="36" name="Text Placeholder 17">
            <a:extLst>
              <a:ext uri="{FF2B5EF4-FFF2-40B4-BE49-F238E27FC236}">
                <a16:creationId xmlns:a16="http://schemas.microsoft.com/office/drawing/2014/main" id="{BD72605F-29B1-4242-93F3-3F37AA42DC99}"/>
              </a:ext>
            </a:extLst>
          </p:cNvPr>
          <p:cNvSpPr>
            <a:spLocks noGrp="1"/>
          </p:cNvSpPr>
          <p:nvPr>
            <p:ph type="body" sz="quarter" idx="22" hasCustomPrompt="1"/>
          </p:nvPr>
        </p:nvSpPr>
        <p:spPr>
          <a:xfrm>
            <a:off x="4785825" y="2823339"/>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6</a:t>
            </a:r>
            <a:endParaRPr lang="en-US" dirty="0"/>
          </a:p>
        </p:txBody>
      </p:sp>
      <p:sp>
        <p:nvSpPr>
          <p:cNvPr id="37" name="Text Placeholder 17">
            <a:extLst>
              <a:ext uri="{FF2B5EF4-FFF2-40B4-BE49-F238E27FC236}">
                <a16:creationId xmlns:a16="http://schemas.microsoft.com/office/drawing/2014/main" id="{A04A4060-643D-BB44-93F7-B288E252205D}"/>
              </a:ext>
            </a:extLst>
          </p:cNvPr>
          <p:cNvSpPr>
            <a:spLocks noGrp="1"/>
          </p:cNvSpPr>
          <p:nvPr>
            <p:ph type="body" sz="quarter" idx="23" hasCustomPrompt="1"/>
          </p:nvPr>
        </p:nvSpPr>
        <p:spPr>
          <a:xfrm>
            <a:off x="8216766" y="3843245"/>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7</a:t>
            </a:r>
            <a:endParaRPr lang="en-US" dirty="0"/>
          </a:p>
        </p:txBody>
      </p:sp>
      <p:sp>
        <p:nvSpPr>
          <p:cNvPr id="22" name="Rectangle 21">
            <a:extLst>
              <a:ext uri="{FF2B5EF4-FFF2-40B4-BE49-F238E27FC236}">
                <a16:creationId xmlns:a16="http://schemas.microsoft.com/office/drawing/2014/main" id="{79A3CA77-1A80-6E43-B90B-87E0E18C59AC}"/>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EAA072AB-64A8-7446-AA36-36B06BE22F1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5871000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ur Journey 2">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159BEB2-8918-8740-99A7-553D0D414983}"/>
              </a:ext>
            </a:extLst>
          </p:cNvPr>
          <p:cNvCxnSpPr>
            <a:cxnSpLocks/>
          </p:cNvCxnSpPr>
          <p:nvPr userDrawn="1"/>
        </p:nvCxnSpPr>
        <p:spPr>
          <a:xfrm>
            <a:off x="1588" y="3448776"/>
            <a:ext cx="1218882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7D4A19C4-1947-4349-9457-0ACFFBA4FC07}"/>
              </a:ext>
            </a:extLst>
          </p:cNvPr>
          <p:cNvSpPr/>
          <p:nvPr/>
        </p:nvSpPr>
        <p:spPr>
          <a:xfrm>
            <a:off x="6040275" y="3362570"/>
            <a:ext cx="172412" cy="17241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29C2F2"/>
              </a:solidFill>
            </a:endParaRPr>
          </a:p>
        </p:txBody>
      </p:sp>
      <p:sp>
        <p:nvSpPr>
          <p:cNvPr id="9" name="Oval 8">
            <a:extLst>
              <a:ext uri="{FF2B5EF4-FFF2-40B4-BE49-F238E27FC236}">
                <a16:creationId xmlns:a16="http://schemas.microsoft.com/office/drawing/2014/main" id="{187DE787-8DE7-3C4E-8EB8-423F070D8AFF}"/>
              </a:ext>
            </a:extLst>
          </p:cNvPr>
          <p:cNvSpPr/>
          <p:nvPr/>
        </p:nvSpPr>
        <p:spPr>
          <a:xfrm>
            <a:off x="2626366" y="3362571"/>
            <a:ext cx="172412" cy="17241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83553"/>
              </a:solidFill>
            </a:endParaRPr>
          </a:p>
        </p:txBody>
      </p:sp>
      <p:sp>
        <p:nvSpPr>
          <p:cNvPr id="19" name="Rectangle 18">
            <a:extLst>
              <a:ext uri="{FF2B5EF4-FFF2-40B4-BE49-F238E27FC236}">
                <a16:creationId xmlns:a16="http://schemas.microsoft.com/office/drawing/2014/main" id="{1B55B83A-4FE7-254B-BB23-DA5834F3C561}"/>
              </a:ext>
            </a:extLst>
          </p:cNvPr>
          <p:cNvSpPr/>
          <p:nvPr userDrawn="1"/>
        </p:nvSpPr>
        <p:spPr>
          <a:xfrm>
            <a:off x="5027413"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1" name="Oval 20">
            <a:extLst>
              <a:ext uri="{FF2B5EF4-FFF2-40B4-BE49-F238E27FC236}">
                <a16:creationId xmlns:a16="http://schemas.microsoft.com/office/drawing/2014/main" id="{C249088C-C99A-C54C-8067-8456BF21657E}"/>
              </a:ext>
            </a:extLst>
          </p:cNvPr>
          <p:cNvSpPr/>
          <p:nvPr/>
        </p:nvSpPr>
        <p:spPr>
          <a:xfrm>
            <a:off x="9393224" y="3362571"/>
            <a:ext cx="172412" cy="172412"/>
          </a:xfrm>
          <a:prstGeom prst="ellipse">
            <a:avLst/>
          </a:prstGeom>
          <a:solidFill>
            <a:srgbClr val="B41F7A">
              <a:alpha val="8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2" name="Text Placeholder 17">
            <a:extLst>
              <a:ext uri="{FF2B5EF4-FFF2-40B4-BE49-F238E27FC236}">
                <a16:creationId xmlns:a16="http://schemas.microsoft.com/office/drawing/2014/main" id="{FF92472D-9633-1B41-8BB1-3CE8FDF598FC}"/>
              </a:ext>
            </a:extLst>
          </p:cNvPr>
          <p:cNvSpPr>
            <a:spLocks noGrp="1"/>
          </p:cNvSpPr>
          <p:nvPr userDrawn="1">
            <p:ph type="body" sz="quarter" idx="19" hasCustomPrompt="1"/>
          </p:nvPr>
        </p:nvSpPr>
        <p:spPr>
          <a:xfrm>
            <a:off x="1459184" y="4206951"/>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4FA104B9-3949-7046-BD33-D672B1459790}"/>
              </a:ext>
            </a:extLst>
          </p:cNvPr>
          <p:cNvSpPr>
            <a:spLocks noGrp="1"/>
          </p:cNvSpPr>
          <p:nvPr userDrawn="1">
            <p:ph type="body" sz="quarter" idx="20" hasCustomPrompt="1"/>
          </p:nvPr>
        </p:nvSpPr>
        <p:spPr>
          <a:xfrm>
            <a:off x="4890125" y="1594752"/>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4" name="Text Placeholder 17">
            <a:extLst>
              <a:ext uri="{FF2B5EF4-FFF2-40B4-BE49-F238E27FC236}">
                <a16:creationId xmlns:a16="http://schemas.microsoft.com/office/drawing/2014/main" id="{4170B2DE-1D76-D746-B4E0-1DF37E4C7538}"/>
              </a:ext>
            </a:extLst>
          </p:cNvPr>
          <p:cNvSpPr>
            <a:spLocks noGrp="1"/>
          </p:cNvSpPr>
          <p:nvPr userDrawn="1">
            <p:ph type="body" sz="quarter" idx="21" hasCustomPrompt="1"/>
          </p:nvPr>
        </p:nvSpPr>
        <p:spPr>
          <a:xfrm>
            <a:off x="8223426" y="4210067"/>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9" name="Text Placeholder 17">
            <a:extLst>
              <a:ext uri="{FF2B5EF4-FFF2-40B4-BE49-F238E27FC236}">
                <a16:creationId xmlns:a16="http://schemas.microsoft.com/office/drawing/2014/main" id="{00BAA056-DFBD-584F-9273-7D940103359C}"/>
              </a:ext>
            </a:extLst>
          </p:cNvPr>
          <p:cNvSpPr>
            <a:spLocks noGrp="1"/>
          </p:cNvSpPr>
          <p:nvPr>
            <p:ph type="body" sz="quarter" idx="22" hasCustomPrompt="1"/>
          </p:nvPr>
        </p:nvSpPr>
        <p:spPr>
          <a:xfrm>
            <a:off x="1459184" y="2837148"/>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8</a:t>
            </a:r>
            <a:endParaRPr lang="en-US" dirty="0"/>
          </a:p>
        </p:txBody>
      </p:sp>
      <p:sp>
        <p:nvSpPr>
          <p:cNvPr id="40" name="Text Placeholder 17">
            <a:extLst>
              <a:ext uri="{FF2B5EF4-FFF2-40B4-BE49-F238E27FC236}">
                <a16:creationId xmlns:a16="http://schemas.microsoft.com/office/drawing/2014/main" id="{6BF9179A-0AB3-E042-BD2E-A24FBC624C6C}"/>
              </a:ext>
            </a:extLst>
          </p:cNvPr>
          <p:cNvSpPr>
            <a:spLocks noGrp="1"/>
          </p:cNvSpPr>
          <p:nvPr>
            <p:ph type="body" sz="quarter" idx="23" hasCustomPrompt="1"/>
          </p:nvPr>
        </p:nvSpPr>
        <p:spPr>
          <a:xfrm>
            <a:off x="4890125" y="3857054"/>
            <a:ext cx="2506226" cy="335052"/>
          </a:xfrm>
        </p:spPr>
        <p:txBody>
          <a:bodyPr/>
          <a:lstStyle>
            <a:lvl1pPr algn="ctr">
              <a:buNone/>
              <a:defRPr sz="2000" b="0" i="0" spc="30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9</a:t>
            </a:r>
            <a:endParaRPr lang="en-US" dirty="0"/>
          </a:p>
        </p:txBody>
      </p:sp>
      <p:sp>
        <p:nvSpPr>
          <p:cNvPr id="41" name="Text Placeholder 17">
            <a:extLst>
              <a:ext uri="{FF2B5EF4-FFF2-40B4-BE49-F238E27FC236}">
                <a16:creationId xmlns:a16="http://schemas.microsoft.com/office/drawing/2014/main" id="{5D05B818-03D6-0C48-A4A4-879D1B8573FA}"/>
              </a:ext>
            </a:extLst>
          </p:cNvPr>
          <p:cNvSpPr>
            <a:spLocks noGrp="1"/>
          </p:cNvSpPr>
          <p:nvPr>
            <p:ph type="body" sz="quarter" idx="24" hasCustomPrompt="1"/>
          </p:nvPr>
        </p:nvSpPr>
        <p:spPr>
          <a:xfrm>
            <a:off x="8223426" y="2825658"/>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0</a:t>
            </a:r>
            <a:endParaRPr lang="en-US" dirty="0"/>
          </a:p>
        </p:txBody>
      </p:sp>
      <p:sp>
        <p:nvSpPr>
          <p:cNvPr id="18" name="Rectangle 17">
            <a:extLst>
              <a:ext uri="{FF2B5EF4-FFF2-40B4-BE49-F238E27FC236}">
                <a16:creationId xmlns:a16="http://schemas.microsoft.com/office/drawing/2014/main" id="{A223AA5B-A80A-654B-9751-AC9D525DBF0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0" name="Picture 19" descr="Logo&#10;&#10;Description automatically generated">
            <a:extLst>
              <a:ext uri="{FF2B5EF4-FFF2-40B4-BE49-F238E27FC236}">
                <a16:creationId xmlns:a16="http://schemas.microsoft.com/office/drawing/2014/main" id="{DBDF5EC7-0B96-6349-A28B-8F9083C47147}"/>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39415678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ur Journey 3">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D99EA92-8C6E-B84F-B459-728079F0C1CC}"/>
              </a:ext>
            </a:extLst>
          </p:cNvPr>
          <p:cNvGrpSpPr/>
          <p:nvPr userDrawn="1"/>
        </p:nvGrpSpPr>
        <p:grpSpPr>
          <a:xfrm flipH="1">
            <a:off x="-87112" y="2832249"/>
            <a:ext cx="10088030" cy="1233055"/>
            <a:chOff x="4201590" y="5664497"/>
            <a:chExt cx="20176060" cy="2466109"/>
          </a:xfrm>
        </p:grpSpPr>
        <p:cxnSp>
          <p:nvCxnSpPr>
            <p:cNvPr id="3" name="Straight Connector 2">
              <a:extLst>
                <a:ext uri="{FF2B5EF4-FFF2-40B4-BE49-F238E27FC236}">
                  <a16:creationId xmlns:a16="http://schemas.microsoft.com/office/drawing/2014/main" id="{E7ED26DD-7AEB-9E44-8FF6-C477D8C00C2B}"/>
                </a:ext>
              </a:extLst>
            </p:cNvPr>
            <p:cNvCxnSpPr>
              <a:cxnSpLocks/>
            </p:cNvCxnSpPr>
            <p:nvPr/>
          </p:nvCxnSpPr>
          <p:spPr>
            <a:xfrm>
              <a:off x="5434644" y="6897551"/>
              <a:ext cx="1894300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40BA1181-B947-D246-AEDB-8D5690586889}"/>
                </a:ext>
              </a:extLst>
            </p:cNvPr>
            <p:cNvSpPr/>
            <p:nvPr/>
          </p:nvSpPr>
          <p:spPr>
            <a:xfrm>
              <a:off x="4201590" y="5664497"/>
              <a:ext cx="2466109" cy="2466109"/>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 name="Oval 4">
              <a:extLst>
                <a:ext uri="{FF2B5EF4-FFF2-40B4-BE49-F238E27FC236}">
                  <a16:creationId xmlns:a16="http://schemas.microsoft.com/office/drawing/2014/main" id="{93279403-2DD6-294E-8653-2A42ED9EBD96}"/>
                </a:ext>
              </a:extLst>
            </p:cNvPr>
            <p:cNvSpPr/>
            <p:nvPr/>
          </p:nvSpPr>
          <p:spPr>
            <a:xfrm>
              <a:off x="11936354" y="6725140"/>
              <a:ext cx="344824" cy="344824"/>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 name="Oval 5">
              <a:extLst>
                <a:ext uri="{FF2B5EF4-FFF2-40B4-BE49-F238E27FC236}">
                  <a16:creationId xmlns:a16="http://schemas.microsoft.com/office/drawing/2014/main" id="{B1A0B9AD-E1B8-4A47-B627-580D076FD190}"/>
                </a:ext>
              </a:extLst>
            </p:cNvPr>
            <p:cNvSpPr/>
            <p:nvPr/>
          </p:nvSpPr>
          <p:spPr>
            <a:xfrm>
              <a:off x="18764171" y="6725140"/>
              <a:ext cx="344824" cy="344824"/>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sp>
        <p:nvSpPr>
          <p:cNvPr id="20" name="Text Placeholder 17">
            <a:extLst>
              <a:ext uri="{FF2B5EF4-FFF2-40B4-BE49-F238E27FC236}">
                <a16:creationId xmlns:a16="http://schemas.microsoft.com/office/drawing/2014/main" id="{EE27F43F-5131-7247-81C7-14B1147E8D74}"/>
              </a:ext>
            </a:extLst>
          </p:cNvPr>
          <p:cNvSpPr>
            <a:spLocks noGrp="1"/>
          </p:cNvSpPr>
          <p:nvPr>
            <p:ph type="body" sz="quarter" idx="20" hasCustomPrompt="1"/>
          </p:nvPr>
        </p:nvSpPr>
        <p:spPr>
          <a:xfrm>
            <a:off x="1474900" y="161754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1" name="Text Placeholder 17">
            <a:extLst>
              <a:ext uri="{FF2B5EF4-FFF2-40B4-BE49-F238E27FC236}">
                <a16:creationId xmlns:a16="http://schemas.microsoft.com/office/drawing/2014/main" id="{FA701368-7F3A-D942-9086-74C5BC9A1AD6}"/>
              </a:ext>
            </a:extLst>
          </p:cNvPr>
          <p:cNvSpPr>
            <a:spLocks noGrp="1"/>
          </p:cNvSpPr>
          <p:nvPr>
            <p:ph type="body" sz="quarter" idx="21" hasCustomPrompt="1"/>
          </p:nvPr>
        </p:nvSpPr>
        <p:spPr>
          <a:xfrm>
            <a:off x="4808201" y="4232863"/>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2" name="Text Placeholder 17">
            <a:extLst>
              <a:ext uri="{FF2B5EF4-FFF2-40B4-BE49-F238E27FC236}">
                <a16:creationId xmlns:a16="http://schemas.microsoft.com/office/drawing/2014/main" id="{19E93A3E-D93B-6746-924C-B809E688CD72}"/>
              </a:ext>
            </a:extLst>
          </p:cNvPr>
          <p:cNvSpPr>
            <a:spLocks noGrp="1"/>
          </p:cNvSpPr>
          <p:nvPr>
            <p:ph type="body" sz="quarter" idx="22" hasCustomPrompt="1"/>
          </p:nvPr>
        </p:nvSpPr>
        <p:spPr>
          <a:xfrm>
            <a:off x="8767864"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END</a:t>
            </a:r>
            <a:endParaRPr lang="en-US" dirty="0"/>
          </a:p>
        </p:txBody>
      </p:sp>
      <p:sp>
        <p:nvSpPr>
          <p:cNvPr id="26" name="Text Placeholder 17">
            <a:extLst>
              <a:ext uri="{FF2B5EF4-FFF2-40B4-BE49-F238E27FC236}">
                <a16:creationId xmlns:a16="http://schemas.microsoft.com/office/drawing/2014/main" id="{14EC00ED-B9B5-564F-A2BD-E9361B35ED61}"/>
              </a:ext>
            </a:extLst>
          </p:cNvPr>
          <p:cNvSpPr>
            <a:spLocks noGrp="1"/>
          </p:cNvSpPr>
          <p:nvPr>
            <p:ph type="body" sz="quarter" idx="24" hasCustomPrompt="1"/>
          </p:nvPr>
        </p:nvSpPr>
        <p:spPr>
          <a:xfrm>
            <a:off x="1466515" y="3842694"/>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1</a:t>
            </a:r>
            <a:endParaRPr lang="en-US" dirty="0"/>
          </a:p>
        </p:txBody>
      </p:sp>
      <p:sp>
        <p:nvSpPr>
          <p:cNvPr id="27" name="Text Placeholder 17">
            <a:extLst>
              <a:ext uri="{FF2B5EF4-FFF2-40B4-BE49-F238E27FC236}">
                <a16:creationId xmlns:a16="http://schemas.microsoft.com/office/drawing/2014/main" id="{3BB708B1-BD9F-3D4B-A3F2-DAAACD7B96FF}"/>
              </a:ext>
            </a:extLst>
          </p:cNvPr>
          <p:cNvSpPr>
            <a:spLocks noGrp="1"/>
          </p:cNvSpPr>
          <p:nvPr>
            <p:ph type="body" sz="quarter" idx="25" hasCustomPrompt="1"/>
          </p:nvPr>
        </p:nvSpPr>
        <p:spPr>
          <a:xfrm>
            <a:off x="4808201" y="2797420"/>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2</a:t>
            </a:r>
            <a:endParaRPr lang="en-US" dirty="0"/>
          </a:p>
        </p:txBody>
      </p:sp>
      <p:sp>
        <p:nvSpPr>
          <p:cNvPr id="14" name="Rectangle 13">
            <a:extLst>
              <a:ext uri="{FF2B5EF4-FFF2-40B4-BE49-F238E27FC236}">
                <a16:creationId xmlns:a16="http://schemas.microsoft.com/office/drawing/2014/main" id="{6E835CC0-40A7-4A49-AF3E-F242A0786E2B}"/>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D63E1F91-21AD-C348-B622-646EB3561A07}"/>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41334337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text bo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2A7EC3A-FA50-904B-839F-2B92D5166DD5}"/>
              </a:ext>
            </a:extLst>
          </p:cNvPr>
          <p:cNvSpPr/>
          <p:nvPr userDrawn="1"/>
        </p:nvSpPr>
        <p:spPr>
          <a:xfrm>
            <a:off x="0" y="482371"/>
            <a:ext cx="6113604" cy="285559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946976CB-0B76-DD49-AA4D-4F230C256467}"/>
              </a:ext>
            </a:extLst>
          </p:cNvPr>
          <p:cNvSpPr/>
          <p:nvPr userDrawn="1"/>
        </p:nvSpPr>
        <p:spPr>
          <a:xfrm>
            <a:off x="6113604" y="482371"/>
            <a:ext cx="6113604" cy="285559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17">
            <a:extLst>
              <a:ext uri="{FF2B5EF4-FFF2-40B4-BE49-F238E27FC236}">
                <a16:creationId xmlns:a16="http://schemas.microsoft.com/office/drawing/2014/main" id="{A80F2D74-8F18-9F49-A166-16ACDC1D1115}"/>
              </a:ext>
            </a:extLst>
          </p:cNvPr>
          <p:cNvSpPr>
            <a:spLocks noGrp="1"/>
          </p:cNvSpPr>
          <p:nvPr>
            <p:ph type="body" sz="quarter" idx="18" hasCustomPrompt="1"/>
          </p:nvPr>
        </p:nvSpPr>
        <p:spPr>
          <a:xfrm>
            <a:off x="633715" y="3843119"/>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7" name="Text Placeholder 23">
            <a:extLst>
              <a:ext uri="{FF2B5EF4-FFF2-40B4-BE49-F238E27FC236}">
                <a16:creationId xmlns:a16="http://schemas.microsoft.com/office/drawing/2014/main" id="{8C1B99A3-E2FF-264E-947B-7183A27F95CD}"/>
              </a:ext>
            </a:extLst>
          </p:cNvPr>
          <p:cNvSpPr>
            <a:spLocks noGrp="1"/>
          </p:cNvSpPr>
          <p:nvPr>
            <p:ph type="body" sz="quarter" idx="16" hasCustomPrompt="1"/>
          </p:nvPr>
        </p:nvSpPr>
        <p:spPr>
          <a:xfrm>
            <a:off x="633715" y="2505507"/>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8" name="Text Placeholder 17">
            <a:extLst>
              <a:ext uri="{FF2B5EF4-FFF2-40B4-BE49-F238E27FC236}">
                <a16:creationId xmlns:a16="http://schemas.microsoft.com/office/drawing/2014/main" id="{02E7D4CC-063A-6D45-92B2-EC8AC4E32AAF}"/>
              </a:ext>
            </a:extLst>
          </p:cNvPr>
          <p:cNvSpPr>
            <a:spLocks noGrp="1"/>
          </p:cNvSpPr>
          <p:nvPr>
            <p:ph type="body" sz="quarter" idx="19" hasCustomPrompt="1"/>
          </p:nvPr>
        </p:nvSpPr>
        <p:spPr>
          <a:xfrm>
            <a:off x="6420771" y="3880875"/>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9" name="Text Placeholder 23">
            <a:extLst>
              <a:ext uri="{FF2B5EF4-FFF2-40B4-BE49-F238E27FC236}">
                <a16:creationId xmlns:a16="http://schemas.microsoft.com/office/drawing/2014/main" id="{A04C066A-035C-0341-9527-E538DEB47886}"/>
              </a:ext>
            </a:extLst>
          </p:cNvPr>
          <p:cNvSpPr>
            <a:spLocks noGrp="1"/>
          </p:cNvSpPr>
          <p:nvPr>
            <p:ph type="body" sz="quarter" idx="20" hasCustomPrompt="1"/>
          </p:nvPr>
        </p:nvSpPr>
        <p:spPr>
          <a:xfrm>
            <a:off x="6420771" y="2543263"/>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0" name="Rectangle 9">
            <a:extLst>
              <a:ext uri="{FF2B5EF4-FFF2-40B4-BE49-F238E27FC236}">
                <a16:creationId xmlns:a16="http://schemas.microsoft.com/office/drawing/2014/main" id="{562EC76A-58DF-4A4B-874F-8A626D9CF740}"/>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7C1F8DF1-3432-074B-BA29-C157EF147929}"/>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387720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lendar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295640-5B5F-6E47-808F-2F2FB8B377B6}"/>
              </a:ext>
            </a:extLst>
          </p:cNvPr>
          <p:cNvGrpSpPr/>
          <p:nvPr userDrawn="1"/>
        </p:nvGrpSpPr>
        <p:grpSpPr>
          <a:xfrm>
            <a:off x="13492" y="1875084"/>
            <a:ext cx="12165015" cy="3041254"/>
            <a:chOff x="0" y="4738255"/>
            <a:chExt cx="21169744" cy="5292436"/>
          </a:xfrm>
        </p:grpSpPr>
        <p:sp>
          <p:nvSpPr>
            <p:cNvPr id="3" name="Rectangle 2">
              <a:extLst>
                <a:ext uri="{FF2B5EF4-FFF2-40B4-BE49-F238E27FC236}">
                  <a16:creationId xmlns:a16="http://schemas.microsoft.com/office/drawing/2014/main" id="{2C287D99-39F7-274E-881D-B1205E86882D}"/>
                </a:ext>
              </a:extLst>
            </p:cNvPr>
            <p:cNvSpPr/>
            <p:nvPr/>
          </p:nvSpPr>
          <p:spPr>
            <a:xfrm>
              <a:off x="0" y="4738255"/>
              <a:ext cx="5292436" cy="5292436"/>
            </a:xfrm>
            <a:prstGeom prst="rect">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A7255414-C2BD-294E-A843-C1E85CBB702D}"/>
                </a:ext>
              </a:extLst>
            </p:cNvPr>
            <p:cNvSpPr/>
            <p:nvPr/>
          </p:nvSpPr>
          <p:spPr>
            <a:xfrm>
              <a:off x="5292436" y="4738255"/>
              <a:ext cx="5292436" cy="529243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C2AF4D0D-CD86-1943-BD02-89B10E71AB04}"/>
                </a:ext>
              </a:extLst>
            </p:cNvPr>
            <p:cNvSpPr/>
            <p:nvPr/>
          </p:nvSpPr>
          <p:spPr>
            <a:xfrm>
              <a:off x="10584872" y="4738255"/>
              <a:ext cx="5292436" cy="529243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AB3D836D-4100-D44A-83B0-51B97203CAA2}"/>
                </a:ext>
              </a:extLst>
            </p:cNvPr>
            <p:cNvSpPr/>
            <p:nvPr/>
          </p:nvSpPr>
          <p:spPr>
            <a:xfrm>
              <a:off x="15877308" y="4738255"/>
              <a:ext cx="5292436" cy="5292436"/>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Text Placeholder 17">
            <a:extLst>
              <a:ext uri="{FF2B5EF4-FFF2-40B4-BE49-F238E27FC236}">
                <a16:creationId xmlns:a16="http://schemas.microsoft.com/office/drawing/2014/main" id="{40B2C6C4-135F-5946-B876-EA9B72EF097A}"/>
              </a:ext>
            </a:extLst>
          </p:cNvPr>
          <p:cNvSpPr>
            <a:spLocks noGrp="1"/>
          </p:cNvSpPr>
          <p:nvPr>
            <p:ph type="body" sz="quarter" idx="18" hasCustomPrompt="1"/>
          </p:nvPr>
        </p:nvSpPr>
        <p:spPr>
          <a:xfrm>
            <a:off x="3054743" y="2963737"/>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February</a:t>
            </a:r>
            <a:endParaRPr lang="en-US" dirty="0"/>
          </a:p>
        </p:txBody>
      </p:sp>
      <p:sp>
        <p:nvSpPr>
          <p:cNvPr id="36" name="Text Placeholder 23">
            <a:extLst>
              <a:ext uri="{FF2B5EF4-FFF2-40B4-BE49-F238E27FC236}">
                <a16:creationId xmlns:a16="http://schemas.microsoft.com/office/drawing/2014/main" id="{BDA90A0E-F434-DE4E-802E-4F8D96708411}"/>
              </a:ext>
            </a:extLst>
          </p:cNvPr>
          <p:cNvSpPr>
            <a:spLocks noGrp="1"/>
          </p:cNvSpPr>
          <p:nvPr>
            <p:ph type="body" sz="quarter" idx="16" hasCustomPrompt="1"/>
          </p:nvPr>
        </p:nvSpPr>
        <p:spPr>
          <a:xfrm>
            <a:off x="3059026" y="2332384"/>
            <a:ext cx="3049353" cy="582221"/>
          </a:xfrm>
        </p:spPr>
        <p:txBody>
          <a:bodyPr>
            <a:normAutofit/>
          </a:bodyPr>
          <a:lstStyle>
            <a:lvl1pPr marL="0" indent="0" algn="ctr">
              <a:buNone/>
              <a:defRPr sz="4000" b="1" i="0">
                <a:solidFill>
                  <a:schemeClr val="bg1"/>
                </a:solidFill>
                <a:latin typeface="+mn-lt"/>
              </a:defRPr>
            </a:lvl1pPr>
          </a:lstStyle>
          <a:p>
            <a:pPr lvl="0"/>
            <a:r>
              <a:rPr lang="en-US" dirty="0"/>
              <a:t>4</a:t>
            </a:r>
          </a:p>
        </p:txBody>
      </p:sp>
      <p:sp>
        <p:nvSpPr>
          <p:cNvPr id="37" name="Text Placeholder 17">
            <a:extLst>
              <a:ext uri="{FF2B5EF4-FFF2-40B4-BE49-F238E27FC236}">
                <a16:creationId xmlns:a16="http://schemas.microsoft.com/office/drawing/2014/main" id="{E4E3947D-3C0D-864E-A378-E86B96AB3AB7}"/>
              </a:ext>
            </a:extLst>
          </p:cNvPr>
          <p:cNvSpPr>
            <a:spLocks noGrp="1"/>
          </p:cNvSpPr>
          <p:nvPr>
            <p:ph type="body" sz="quarter" idx="19" hasCustomPrompt="1"/>
          </p:nvPr>
        </p:nvSpPr>
        <p:spPr>
          <a:xfrm>
            <a:off x="3069574" y="3694013"/>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8" name="Text Placeholder 17">
            <a:extLst>
              <a:ext uri="{FF2B5EF4-FFF2-40B4-BE49-F238E27FC236}">
                <a16:creationId xmlns:a16="http://schemas.microsoft.com/office/drawing/2014/main" id="{7A61D601-8E58-BD42-BBBF-581E5B432135}"/>
              </a:ext>
            </a:extLst>
          </p:cNvPr>
          <p:cNvSpPr>
            <a:spLocks noGrp="1"/>
          </p:cNvSpPr>
          <p:nvPr>
            <p:ph type="body" sz="quarter" idx="20" hasCustomPrompt="1"/>
          </p:nvPr>
        </p:nvSpPr>
        <p:spPr>
          <a:xfrm>
            <a:off x="-979" y="2966833"/>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January</a:t>
            </a:r>
            <a:endParaRPr lang="en-US" dirty="0"/>
          </a:p>
        </p:txBody>
      </p:sp>
      <p:sp>
        <p:nvSpPr>
          <p:cNvPr id="39" name="Text Placeholder 23">
            <a:extLst>
              <a:ext uri="{FF2B5EF4-FFF2-40B4-BE49-F238E27FC236}">
                <a16:creationId xmlns:a16="http://schemas.microsoft.com/office/drawing/2014/main" id="{FBF15F1B-8908-F446-91BA-B6025A5D96A4}"/>
              </a:ext>
            </a:extLst>
          </p:cNvPr>
          <p:cNvSpPr>
            <a:spLocks noGrp="1"/>
          </p:cNvSpPr>
          <p:nvPr>
            <p:ph type="body" sz="quarter" idx="21" hasCustomPrompt="1"/>
          </p:nvPr>
        </p:nvSpPr>
        <p:spPr>
          <a:xfrm>
            <a:off x="3304" y="2335480"/>
            <a:ext cx="3049353" cy="582221"/>
          </a:xfrm>
        </p:spPr>
        <p:txBody>
          <a:bodyPr>
            <a:normAutofit/>
          </a:bodyPr>
          <a:lstStyle>
            <a:lvl1pPr marL="0" indent="0" algn="ctr">
              <a:buNone/>
              <a:defRPr sz="4000" b="1" i="0">
                <a:solidFill>
                  <a:schemeClr val="bg1"/>
                </a:solidFill>
                <a:latin typeface="+mn-lt"/>
              </a:defRPr>
            </a:lvl1pPr>
          </a:lstStyle>
          <a:p>
            <a:pPr lvl="0"/>
            <a:r>
              <a:rPr lang="en-US" dirty="0"/>
              <a:t>20</a:t>
            </a:r>
          </a:p>
        </p:txBody>
      </p:sp>
      <p:sp>
        <p:nvSpPr>
          <p:cNvPr id="40" name="Text Placeholder 17">
            <a:extLst>
              <a:ext uri="{FF2B5EF4-FFF2-40B4-BE49-F238E27FC236}">
                <a16:creationId xmlns:a16="http://schemas.microsoft.com/office/drawing/2014/main" id="{8DA24536-E652-E647-BC3C-200CC5578281}"/>
              </a:ext>
            </a:extLst>
          </p:cNvPr>
          <p:cNvSpPr>
            <a:spLocks noGrp="1"/>
          </p:cNvSpPr>
          <p:nvPr>
            <p:ph type="body" sz="quarter" idx="22" hasCustomPrompt="1"/>
          </p:nvPr>
        </p:nvSpPr>
        <p:spPr>
          <a:xfrm>
            <a:off x="13852" y="3697109"/>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1" name="Text Placeholder 17">
            <a:extLst>
              <a:ext uri="{FF2B5EF4-FFF2-40B4-BE49-F238E27FC236}">
                <a16:creationId xmlns:a16="http://schemas.microsoft.com/office/drawing/2014/main" id="{87F5E8E1-032A-ED43-93E9-DB20B4563FF8}"/>
              </a:ext>
            </a:extLst>
          </p:cNvPr>
          <p:cNvSpPr>
            <a:spLocks noGrp="1"/>
          </p:cNvSpPr>
          <p:nvPr>
            <p:ph type="body" sz="quarter" idx="23" hasCustomPrompt="1"/>
          </p:nvPr>
        </p:nvSpPr>
        <p:spPr>
          <a:xfrm>
            <a:off x="9124512" y="2950422"/>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April</a:t>
            </a:r>
            <a:endParaRPr lang="en-US" dirty="0"/>
          </a:p>
        </p:txBody>
      </p:sp>
      <p:sp>
        <p:nvSpPr>
          <p:cNvPr id="42" name="Text Placeholder 23">
            <a:extLst>
              <a:ext uri="{FF2B5EF4-FFF2-40B4-BE49-F238E27FC236}">
                <a16:creationId xmlns:a16="http://schemas.microsoft.com/office/drawing/2014/main" id="{76204B1D-FD93-534C-86DB-6D09C9545691}"/>
              </a:ext>
            </a:extLst>
          </p:cNvPr>
          <p:cNvSpPr>
            <a:spLocks noGrp="1"/>
          </p:cNvSpPr>
          <p:nvPr>
            <p:ph type="body" sz="quarter" idx="24" hasCustomPrompt="1"/>
          </p:nvPr>
        </p:nvSpPr>
        <p:spPr>
          <a:xfrm>
            <a:off x="9128795" y="2319069"/>
            <a:ext cx="3049353" cy="582221"/>
          </a:xfrm>
        </p:spPr>
        <p:txBody>
          <a:bodyPr>
            <a:normAutofit/>
          </a:bodyPr>
          <a:lstStyle>
            <a:lvl1pPr marL="0" indent="0" algn="ctr">
              <a:buNone/>
              <a:defRPr sz="4000" b="1" i="0">
                <a:solidFill>
                  <a:schemeClr val="bg1"/>
                </a:solidFill>
                <a:latin typeface="+mn-lt"/>
              </a:defRPr>
            </a:lvl1pPr>
          </a:lstStyle>
          <a:p>
            <a:pPr lvl="0"/>
            <a:r>
              <a:rPr lang="en-US" dirty="0"/>
              <a:t>2</a:t>
            </a:r>
          </a:p>
        </p:txBody>
      </p:sp>
      <p:sp>
        <p:nvSpPr>
          <p:cNvPr id="43" name="Text Placeholder 17">
            <a:extLst>
              <a:ext uri="{FF2B5EF4-FFF2-40B4-BE49-F238E27FC236}">
                <a16:creationId xmlns:a16="http://schemas.microsoft.com/office/drawing/2014/main" id="{F4D63AE9-5CEC-9F4B-96A5-3F0DB00BF3E5}"/>
              </a:ext>
            </a:extLst>
          </p:cNvPr>
          <p:cNvSpPr>
            <a:spLocks noGrp="1"/>
          </p:cNvSpPr>
          <p:nvPr>
            <p:ph type="body" sz="quarter" idx="25" hasCustomPrompt="1"/>
          </p:nvPr>
        </p:nvSpPr>
        <p:spPr>
          <a:xfrm>
            <a:off x="9139343" y="3680698"/>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4" name="Text Placeholder 17">
            <a:extLst>
              <a:ext uri="{FF2B5EF4-FFF2-40B4-BE49-F238E27FC236}">
                <a16:creationId xmlns:a16="http://schemas.microsoft.com/office/drawing/2014/main" id="{18449C84-980B-324B-B217-BB2EDFA5B227}"/>
              </a:ext>
            </a:extLst>
          </p:cNvPr>
          <p:cNvSpPr>
            <a:spLocks noGrp="1"/>
          </p:cNvSpPr>
          <p:nvPr>
            <p:ph type="body" sz="quarter" idx="26" hasCustomPrompt="1"/>
          </p:nvPr>
        </p:nvSpPr>
        <p:spPr>
          <a:xfrm>
            <a:off x="6068790" y="2953518"/>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March</a:t>
            </a:r>
            <a:endParaRPr lang="en-US" dirty="0"/>
          </a:p>
        </p:txBody>
      </p:sp>
      <p:sp>
        <p:nvSpPr>
          <p:cNvPr id="45" name="Text Placeholder 23">
            <a:extLst>
              <a:ext uri="{FF2B5EF4-FFF2-40B4-BE49-F238E27FC236}">
                <a16:creationId xmlns:a16="http://schemas.microsoft.com/office/drawing/2014/main" id="{DB432D93-6FEA-AC42-83B9-779DFF3A77AA}"/>
              </a:ext>
            </a:extLst>
          </p:cNvPr>
          <p:cNvSpPr>
            <a:spLocks noGrp="1"/>
          </p:cNvSpPr>
          <p:nvPr>
            <p:ph type="body" sz="quarter" idx="27" hasCustomPrompt="1"/>
          </p:nvPr>
        </p:nvSpPr>
        <p:spPr>
          <a:xfrm>
            <a:off x="6073073" y="2322165"/>
            <a:ext cx="3049353" cy="582221"/>
          </a:xfrm>
        </p:spPr>
        <p:txBody>
          <a:bodyPr>
            <a:normAutofit/>
          </a:bodyPr>
          <a:lstStyle>
            <a:lvl1pPr marL="0" indent="0" algn="ctr">
              <a:buNone/>
              <a:defRPr sz="4000" b="1" i="0">
                <a:solidFill>
                  <a:schemeClr val="bg1"/>
                </a:solidFill>
                <a:latin typeface="+mn-lt"/>
              </a:defRPr>
            </a:lvl1pPr>
          </a:lstStyle>
          <a:p>
            <a:pPr lvl="0"/>
            <a:r>
              <a:rPr lang="en-US" dirty="0"/>
              <a:t>17</a:t>
            </a:r>
          </a:p>
        </p:txBody>
      </p:sp>
      <p:sp>
        <p:nvSpPr>
          <p:cNvPr id="46" name="Text Placeholder 17">
            <a:extLst>
              <a:ext uri="{FF2B5EF4-FFF2-40B4-BE49-F238E27FC236}">
                <a16:creationId xmlns:a16="http://schemas.microsoft.com/office/drawing/2014/main" id="{23980425-5596-AE4F-A5E0-1E8D36188DD0}"/>
              </a:ext>
            </a:extLst>
          </p:cNvPr>
          <p:cNvSpPr>
            <a:spLocks noGrp="1"/>
          </p:cNvSpPr>
          <p:nvPr>
            <p:ph type="body" sz="quarter" idx="28" hasCustomPrompt="1"/>
          </p:nvPr>
        </p:nvSpPr>
        <p:spPr>
          <a:xfrm>
            <a:off x="6083621" y="3683794"/>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5" name="Text Placeholder 23">
            <a:extLst>
              <a:ext uri="{FF2B5EF4-FFF2-40B4-BE49-F238E27FC236}">
                <a16:creationId xmlns:a16="http://schemas.microsoft.com/office/drawing/2014/main" id="{931F17A9-1990-CB4F-B6F6-4BB13F4AD5DC}"/>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4" name="Rectangle 23">
            <a:extLst>
              <a:ext uri="{FF2B5EF4-FFF2-40B4-BE49-F238E27FC236}">
                <a16:creationId xmlns:a16="http://schemas.microsoft.com/office/drawing/2014/main" id="{185E8BBF-5FD9-B642-A379-CD86A20DF681}"/>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6" name="Picture 25" descr="Logo&#10;&#10;Description automatically generated">
            <a:extLst>
              <a:ext uri="{FF2B5EF4-FFF2-40B4-BE49-F238E27FC236}">
                <a16:creationId xmlns:a16="http://schemas.microsoft.com/office/drawing/2014/main" id="{B15D1A75-4AD0-BD4B-AE7B-155F54D68B04}"/>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5040658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point icon graph">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3624610" y="1350061"/>
            <a:ext cx="1346332" cy="1966190"/>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3667709" y="1391496"/>
            <a:ext cx="1268578" cy="1272728"/>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6747637" y="1396361"/>
            <a:ext cx="1344857" cy="1966190"/>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6789070" y="1437796"/>
            <a:ext cx="1268578" cy="1272728"/>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10144628" y="1402611"/>
            <a:ext cx="1346332" cy="1966190"/>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10191746" y="1444046"/>
            <a:ext cx="1265890" cy="1272728"/>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3283353" y="3496906"/>
            <a:ext cx="2061046" cy="335052"/>
          </a:xfrm>
        </p:spPr>
        <p:txBody>
          <a:bodyPr/>
          <a:lstStyle>
            <a:lvl1pPr algn="ctr">
              <a:buNone/>
              <a:defRPr sz="2000" b="0" i="0" spc="0">
                <a:solidFill>
                  <a:srgbClr val="7F1C58"/>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6405815" y="3534752"/>
            <a:ext cx="2061046" cy="335052"/>
          </a:xfrm>
        </p:spPr>
        <p:txBody>
          <a:bodyPr/>
          <a:lstStyle>
            <a:lvl1pPr algn="ctr">
              <a:buNone/>
              <a:defRPr sz="2000" b="0" i="0" spc="0">
                <a:solidFill>
                  <a:srgbClr val="B41F7A"/>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9806173" y="3534752"/>
            <a:ext cx="2061046" cy="335052"/>
          </a:xfrm>
        </p:spPr>
        <p:txBody>
          <a:bodyPr/>
          <a:lstStyle>
            <a:lvl1pPr algn="ctr">
              <a:buNone/>
              <a:defRPr sz="2000" b="0" i="0" spc="0">
                <a:solidFill>
                  <a:srgbClr val="F16924"/>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21" name="Text Placeholder 23">
            <a:extLst>
              <a:ext uri="{FF2B5EF4-FFF2-40B4-BE49-F238E27FC236}">
                <a16:creationId xmlns:a16="http://schemas.microsoft.com/office/drawing/2014/main" id="{C979FF8E-2FF0-A342-B688-0AFAC421133E}"/>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16" name="Rectangle 15">
            <a:extLst>
              <a:ext uri="{FF2B5EF4-FFF2-40B4-BE49-F238E27FC236}">
                <a16:creationId xmlns:a16="http://schemas.microsoft.com/office/drawing/2014/main" id="{60FDA0A4-DB97-CD4B-B9D8-DC06DE270F32}"/>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C7F54070-225E-B842-A162-3F4AFB4216B6}"/>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40682548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618C35C-D4A5-DB4C-8758-82503619524A}"/>
              </a:ext>
            </a:extLst>
          </p:cNvPr>
          <p:cNvSpPr/>
          <p:nvPr userDrawn="1"/>
        </p:nvSpPr>
        <p:spPr>
          <a:xfrm>
            <a:off x="4123" y="2220685"/>
            <a:ext cx="12187877" cy="326632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pic>
        <p:nvPicPr>
          <p:cNvPr id="12" name="Picture 11" descr="Icon&#10;&#10;Description automatically generated">
            <a:extLst>
              <a:ext uri="{FF2B5EF4-FFF2-40B4-BE49-F238E27FC236}">
                <a16:creationId xmlns:a16="http://schemas.microsoft.com/office/drawing/2014/main" id="{44EA975A-0BA2-014C-B774-ACD0EF3B8935}"/>
              </a:ext>
            </a:extLst>
          </p:cNvPr>
          <p:cNvPicPr/>
          <p:nvPr userDrawn="1"/>
        </p:nvPicPr>
        <p:blipFill rotWithShape="1">
          <a:blip r:embed="rId2" cstate="screen">
            <a:extLst>
              <a:ext uri="{28A0092B-C50C-407E-A947-70E740481C1C}">
                <a14:useLocalDpi xmlns:a14="http://schemas.microsoft.com/office/drawing/2010/main"/>
              </a:ext>
            </a:extLst>
          </a:blip>
          <a:srcRect l="-1240" t="12374" r="4352" b="40059"/>
          <a:stretch/>
        </p:blipFill>
        <p:spPr>
          <a:xfrm>
            <a:off x="-1" y="2220684"/>
            <a:ext cx="7232073" cy="3266329"/>
          </a:xfrm>
          <a:prstGeom prst="rect">
            <a:avLst/>
          </a:prstGeom>
        </p:spPr>
      </p:pic>
      <p:pic>
        <p:nvPicPr>
          <p:cNvPr id="14" name="Picture 13" descr="Logo&#10;&#10;Description automatically generated">
            <a:extLst>
              <a:ext uri="{FF2B5EF4-FFF2-40B4-BE49-F238E27FC236}">
                <a16:creationId xmlns:a16="http://schemas.microsoft.com/office/drawing/2014/main" id="{0B8885B7-5648-6D4A-9693-F82DCAF3358B}"/>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899711" y="313686"/>
            <a:ext cx="3343990" cy="1711988"/>
          </a:xfrm>
          <a:prstGeom prst="rect">
            <a:avLst/>
          </a:prstGeom>
        </p:spPr>
      </p:pic>
      <p:sp>
        <p:nvSpPr>
          <p:cNvPr id="19" name="Rectangle 18">
            <a:extLst>
              <a:ext uri="{FF2B5EF4-FFF2-40B4-BE49-F238E27FC236}">
                <a16:creationId xmlns:a16="http://schemas.microsoft.com/office/drawing/2014/main" id="{39FC1785-CA5D-A14B-B8A2-69C6D4CD6485}"/>
              </a:ext>
            </a:extLst>
          </p:cNvPr>
          <p:cNvSpPr/>
          <p:nvPr userDrawn="1"/>
        </p:nvSpPr>
        <p:spPr>
          <a:xfrm>
            <a:off x="5241899" y="3051958"/>
            <a:ext cx="6576787" cy="281301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20" name="Text Placeholder 23">
            <a:extLst>
              <a:ext uri="{FF2B5EF4-FFF2-40B4-BE49-F238E27FC236}">
                <a16:creationId xmlns:a16="http://schemas.microsoft.com/office/drawing/2014/main" id="{E13282FF-87C4-A745-8927-12E55E48A750}"/>
              </a:ext>
            </a:extLst>
          </p:cNvPr>
          <p:cNvSpPr>
            <a:spLocks noGrp="1"/>
          </p:cNvSpPr>
          <p:nvPr>
            <p:ph type="body" sz="quarter" idx="15" hasCustomPrompt="1"/>
          </p:nvPr>
        </p:nvSpPr>
        <p:spPr>
          <a:xfrm>
            <a:off x="5885208" y="4514100"/>
            <a:ext cx="5278651" cy="697353"/>
          </a:xfrm>
        </p:spPr>
        <p:txBody>
          <a:bodyPr anchor="b">
            <a:noAutofit/>
          </a:bodyPr>
          <a:lstStyle>
            <a:lvl1pPr marL="0" indent="0" algn="l">
              <a:buNone/>
              <a:defRPr sz="5400" b="1" baseline="0">
                <a:solidFill>
                  <a:schemeClr val="bg1"/>
                </a:solidFill>
                <a:latin typeface="+mn-lt"/>
              </a:defRPr>
            </a:lvl1pPr>
          </a:lstStyle>
          <a:p>
            <a:pPr lvl="0"/>
            <a:r>
              <a:rPr lang="en-US" dirty="0"/>
              <a:t>POWERPIONT</a:t>
            </a:r>
          </a:p>
        </p:txBody>
      </p:sp>
      <p:sp>
        <p:nvSpPr>
          <p:cNvPr id="21" name="Text Placeholder 23">
            <a:extLst>
              <a:ext uri="{FF2B5EF4-FFF2-40B4-BE49-F238E27FC236}">
                <a16:creationId xmlns:a16="http://schemas.microsoft.com/office/drawing/2014/main" id="{E1EB4311-DD04-DA47-804C-802E7610AAC2}"/>
              </a:ext>
            </a:extLst>
          </p:cNvPr>
          <p:cNvSpPr>
            <a:spLocks noGrp="1"/>
          </p:cNvSpPr>
          <p:nvPr>
            <p:ph type="body" sz="quarter" idx="16" hasCustomPrompt="1"/>
          </p:nvPr>
        </p:nvSpPr>
        <p:spPr>
          <a:xfrm>
            <a:off x="5885209" y="3494706"/>
            <a:ext cx="5278651" cy="697353"/>
          </a:xfrm>
        </p:spPr>
        <p:txBody>
          <a:bodyPr anchor="b">
            <a:normAutofit/>
          </a:bodyPr>
          <a:lstStyle>
            <a:lvl1pPr marL="0" indent="0" algn="l">
              <a:buNone/>
              <a:defRPr sz="3600" b="0" i="0">
                <a:solidFill>
                  <a:schemeClr val="bg1"/>
                </a:solidFill>
                <a:latin typeface="+mn-lt"/>
              </a:defRPr>
            </a:lvl1pPr>
          </a:lstStyle>
          <a:p>
            <a:pPr lvl="0"/>
            <a:r>
              <a:rPr lang="en-US" dirty="0"/>
              <a:t>Cover Design 1</a:t>
            </a:r>
          </a:p>
        </p:txBody>
      </p:sp>
      <p:grpSp>
        <p:nvGrpSpPr>
          <p:cNvPr id="23" name="Group 22">
            <a:extLst>
              <a:ext uri="{FF2B5EF4-FFF2-40B4-BE49-F238E27FC236}">
                <a16:creationId xmlns:a16="http://schemas.microsoft.com/office/drawing/2014/main" id="{27A6C471-9B84-9F43-9569-9F24F514FA76}"/>
              </a:ext>
            </a:extLst>
          </p:cNvPr>
          <p:cNvGrpSpPr/>
          <p:nvPr userDrawn="1"/>
        </p:nvGrpSpPr>
        <p:grpSpPr>
          <a:xfrm>
            <a:off x="373314" y="5864969"/>
            <a:ext cx="2735993" cy="679345"/>
            <a:chOff x="0" y="0"/>
            <a:chExt cx="2301694" cy="571500"/>
          </a:xfrm>
        </p:grpSpPr>
        <p:sp>
          <p:nvSpPr>
            <p:cNvPr id="28" name="Rectangle 27">
              <a:extLst>
                <a:ext uri="{FF2B5EF4-FFF2-40B4-BE49-F238E27FC236}">
                  <a16:creationId xmlns:a16="http://schemas.microsoft.com/office/drawing/2014/main" id="{1B5DF232-1F83-4549-9F3A-AFD75E213BA8}"/>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29" name="Picture 28">
              <a:extLst>
                <a:ext uri="{FF2B5EF4-FFF2-40B4-BE49-F238E27FC236}">
                  <a16:creationId xmlns:a16="http://schemas.microsoft.com/office/drawing/2014/main" id="{445249D6-6645-264F-B9B9-5CF884A5A66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42208650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 point icon graph A">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3135746" y="2518118"/>
            <a:ext cx="1249111" cy="1727105"/>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3171815" y="2518117"/>
            <a:ext cx="1176971" cy="1117967"/>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00059" y="2518118"/>
            <a:ext cx="1247742" cy="1727105"/>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00059" y="2518118"/>
            <a:ext cx="1176971" cy="1117967"/>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8" name="Freeform: Shape 4231">
            <a:extLst>
              <a:ext uri="{FF2B5EF4-FFF2-40B4-BE49-F238E27FC236}">
                <a16:creationId xmlns:a16="http://schemas.microsoft.com/office/drawing/2014/main" id="{9605CC6B-4A3F-524F-A45E-78BB72858F56}"/>
              </a:ext>
            </a:extLst>
          </p:cNvPr>
          <p:cNvSpPr/>
          <p:nvPr userDrawn="1"/>
        </p:nvSpPr>
        <p:spPr>
          <a:xfrm>
            <a:off x="971433" y="2518118"/>
            <a:ext cx="1249111" cy="1727105"/>
          </a:xfrm>
          <a:custGeom>
            <a:avLst/>
            <a:gdLst/>
            <a:ahLst/>
            <a:cxnLst>
              <a:cxn ang="3cd4">
                <a:pos x="hc" y="t"/>
              </a:cxn>
              <a:cxn ang="cd2">
                <a:pos x="l" y="vc"/>
              </a:cxn>
              <a:cxn ang="cd4">
                <a:pos x="hc" y="b"/>
              </a:cxn>
              <a:cxn ang="0">
                <a:pos x="r" y="vc"/>
              </a:cxn>
            </a:cxnLst>
            <a:rect l="l" t="t" r="r" b="b"/>
            <a:pathLst>
              <a:path w="914" h="1330">
                <a:moveTo>
                  <a:pt x="458" y="219"/>
                </a:moveTo>
                <a:cubicBezTo>
                  <a:pt x="327" y="219"/>
                  <a:pt x="222" y="325"/>
                  <a:pt x="222" y="455"/>
                </a:cubicBezTo>
                <a:cubicBezTo>
                  <a:pt x="222" y="587"/>
                  <a:pt x="327" y="692"/>
                  <a:pt x="458" y="692"/>
                </a:cubicBezTo>
                <a:cubicBezTo>
                  <a:pt x="587" y="692"/>
                  <a:pt x="694" y="587"/>
                  <a:pt x="694" y="455"/>
                </a:cubicBezTo>
                <a:cubicBezTo>
                  <a:pt x="694" y="325"/>
                  <a:pt x="587" y="219"/>
                  <a:pt x="458" y="219"/>
                </a:cubicBezTo>
                <a:close/>
                <a:moveTo>
                  <a:pt x="458" y="0"/>
                </a:moveTo>
                <a:cubicBezTo>
                  <a:pt x="710" y="0"/>
                  <a:pt x="914" y="203"/>
                  <a:pt x="914" y="455"/>
                </a:cubicBezTo>
                <a:cubicBezTo>
                  <a:pt x="914" y="705"/>
                  <a:pt x="714" y="907"/>
                  <a:pt x="466" y="913"/>
                </a:cubicBezTo>
                <a:lnTo>
                  <a:pt x="466" y="1276"/>
                </a:lnTo>
                <a:cubicBezTo>
                  <a:pt x="476" y="1280"/>
                  <a:pt x="485" y="1289"/>
                  <a:pt x="485" y="1303"/>
                </a:cubicBezTo>
                <a:cubicBezTo>
                  <a:pt x="485" y="1316"/>
                  <a:pt x="473" y="1330"/>
                  <a:pt x="458" y="1330"/>
                </a:cubicBezTo>
                <a:cubicBezTo>
                  <a:pt x="441" y="1330"/>
                  <a:pt x="429" y="1316"/>
                  <a:pt x="429" y="1303"/>
                </a:cubicBezTo>
                <a:cubicBezTo>
                  <a:pt x="429" y="1289"/>
                  <a:pt x="438" y="1280"/>
                  <a:pt x="448" y="1276"/>
                </a:cubicBezTo>
                <a:lnTo>
                  <a:pt x="448" y="913"/>
                </a:lnTo>
                <a:cubicBezTo>
                  <a:pt x="200" y="907"/>
                  <a:pt x="0" y="705"/>
                  <a:pt x="0" y="455"/>
                </a:cubicBezTo>
                <a:cubicBezTo>
                  <a:pt x="0" y="203"/>
                  <a:pt x="206" y="0"/>
                  <a:pt x="458"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9" name="Freeform: Shape 4236">
            <a:extLst>
              <a:ext uri="{FF2B5EF4-FFF2-40B4-BE49-F238E27FC236}">
                <a16:creationId xmlns:a16="http://schemas.microsoft.com/office/drawing/2014/main" id="{F05D8F79-BD65-8347-867D-58A890D1083E}"/>
              </a:ext>
            </a:extLst>
          </p:cNvPr>
          <p:cNvSpPr/>
          <p:nvPr userDrawn="1"/>
        </p:nvSpPr>
        <p:spPr>
          <a:xfrm>
            <a:off x="1018552" y="2518118"/>
            <a:ext cx="1174477" cy="1117967"/>
          </a:xfrm>
          <a:custGeom>
            <a:avLst/>
            <a:gdLst/>
            <a:ahLst/>
            <a:cxnLst>
              <a:cxn ang="3cd4">
                <a:pos x="hc" y="t"/>
              </a:cxn>
              <a:cxn ang="cd2">
                <a:pos x="l" y="vc"/>
              </a:cxn>
              <a:cxn ang="cd4">
                <a:pos x="hc" y="b"/>
              </a:cxn>
              <a:cxn ang="0">
                <a:pos x="r" y="vc"/>
              </a:cxn>
            </a:cxnLst>
            <a:rect l="l" t="t" r="r" b="b"/>
            <a:pathLst>
              <a:path w="472" h="473">
                <a:moveTo>
                  <a:pt x="236" y="0"/>
                </a:moveTo>
                <a:cubicBezTo>
                  <a:pt x="105" y="0"/>
                  <a:pt x="0" y="106"/>
                  <a:pt x="0" y="236"/>
                </a:cubicBezTo>
                <a:cubicBezTo>
                  <a:pt x="0" y="368"/>
                  <a:pt x="105" y="473"/>
                  <a:pt x="236" y="473"/>
                </a:cubicBezTo>
                <a:cubicBezTo>
                  <a:pt x="365" y="473"/>
                  <a:pt x="472" y="368"/>
                  <a:pt x="472" y="236"/>
                </a:cubicBezTo>
                <a:cubicBezTo>
                  <a:pt x="472" y="106"/>
                  <a:pt x="365"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0" name="Freeform: Shape 4235">
            <a:extLst>
              <a:ext uri="{FF2B5EF4-FFF2-40B4-BE49-F238E27FC236}">
                <a16:creationId xmlns:a16="http://schemas.microsoft.com/office/drawing/2014/main" id="{2F2F1A50-32F6-E84E-B2A8-E09466C954B2}"/>
              </a:ext>
            </a:extLst>
          </p:cNvPr>
          <p:cNvSpPr/>
          <p:nvPr userDrawn="1"/>
        </p:nvSpPr>
        <p:spPr>
          <a:xfrm>
            <a:off x="9627016" y="2518118"/>
            <a:ext cx="1246373" cy="1727105"/>
          </a:xfrm>
          <a:custGeom>
            <a:avLst/>
            <a:gdLst/>
            <a:ahLst/>
            <a:cxnLst>
              <a:cxn ang="3cd4">
                <a:pos x="hc" y="t"/>
              </a:cxn>
              <a:cxn ang="cd2">
                <a:pos x="l" y="vc"/>
              </a:cxn>
              <a:cxn ang="cd4">
                <a:pos x="hc" y="b"/>
              </a:cxn>
              <a:cxn ang="0">
                <a:pos x="r" y="vc"/>
              </a:cxn>
            </a:cxnLst>
            <a:rect l="l" t="t" r="r" b="b"/>
            <a:pathLst>
              <a:path w="912" h="1330">
                <a:moveTo>
                  <a:pt x="455" y="219"/>
                </a:moveTo>
                <a:cubicBezTo>
                  <a:pt x="326" y="219"/>
                  <a:pt x="219" y="325"/>
                  <a:pt x="219" y="455"/>
                </a:cubicBezTo>
                <a:cubicBezTo>
                  <a:pt x="219" y="587"/>
                  <a:pt x="326" y="692"/>
                  <a:pt x="455" y="692"/>
                </a:cubicBezTo>
                <a:cubicBezTo>
                  <a:pt x="586" y="692"/>
                  <a:pt x="692" y="587"/>
                  <a:pt x="692" y="455"/>
                </a:cubicBezTo>
                <a:cubicBezTo>
                  <a:pt x="692" y="325"/>
                  <a:pt x="586" y="219"/>
                  <a:pt x="455" y="219"/>
                </a:cubicBezTo>
                <a:close/>
                <a:moveTo>
                  <a:pt x="455" y="0"/>
                </a:moveTo>
                <a:cubicBezTo>
                  <a:pt x="708" y="0"/>
                  <a:pt x="912" y="203"/>
                  <a:pt x="912" y="455"/>
                </a:cubicBezTo>
                <a:cubicBezTo>
                  <a:pt x="912" y="705"/>
                  <a:pt x="713" y="907"/>
                  <a:pt x="465" y="913"/>
                </a:cubicBezTo>
                <a:lnTo>
                  <a:pt x="465" y="1276"/>
                </a:lnTo>
                <a:cubicBezTo>
                  <a:pt x="476" y="1280"/>
                  <a:pt x="483" y="1289"/>
                  <a:pt x="483" y="1303"/>
                </a:cubicBezTo>
                <a:cubicBezTo>
                  <a:pt x="483" y="1316"/>
                  <a:pt x="471" y="1330"/>
                  <a:pt x="455" y="1330"/>
                </a:cubicBezTo>
                <a:cubicBezTo>
                  <a:pt x="441" y="1330"/>
                  <a:pt x="428" y="1316"/>
                  <a:pt x="428" y="1303"/>
                </a:cubicBezTo>
                <a:cubicBezTo>
                  <a:pt x="428" y="1289"/>
                  <a:pt x="436" y="1280"/>
                  <a:pt x="447" y="1276"/>
                </a:cubicBezTo>
                <a:lnTo>
                  <a:pt x="447"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7462704" y="2518118"/>
            <a:ext cx="1249111" cy="1727105"/>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7509822" y="2518118"/>
            <a:ext cx="1174477" cy="111796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748973" y="4385889"/>
            <a:ext cx="2061046" cy="335052"/>
          </a:xfrm>
        </p:spPr>
        <p:txBody>
          <a:bodyPr/>
          <a:lstStyle>
            <a:lvl1pPr algn="ctr">
              <a:buNone/>
              <a:defRPr sz="20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14986" y="4379639"/>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078733" y="4371185"/>
            <a:ext cx="2061046" cy="335052"/>
          </a:xfrm>
        </p:spPr>
        <p:txBody>
          <a:bodyPr/>
          <a:lstStyle>
            <a:lvl1pPr algn="ctr">
              <a:buNone/>
              <a:defRPr sz="20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44746" y="4364935"/>
            <a:ext cx="2061046" cy="335052"/>
          </a:xfrm>
        </p:spPr>
        <p:txBody>
          <a:bodyPr/>
          <a:lstStyle>
            <a:lvl1pPr algn="ctr">
              <a:buNone/>
              <a:defRPr sz="20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9324" y="4353360"/>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30" name="Freeform: Shape 4239">
            <a:extLst>
              <a:ext uri="{FF2B5EF4-FFF2-40B4-BE49-F238E27FC236}">
                <a16:creationId xmlns:a16="http://schemas.microsoft.com/office/drawing/2014/main" id="{E253BA23-B768-C040-9224-2910F7AB1B7E}"/>
              </a:ext>
            </a:extLst>
          </p:cNvPr>
          <p:cNvSpPr/>
          <p:nvPr userDrawn="1"/>
        </p:nvSpPr>
        <p:spPr>
          <a:xfrm>
            <a:off x="9662963" y="2518118"/>
            <a:ext cx="1174477" cy="111796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29" name="Text Placeholder 23">
            <a:extLst>
              <a:ext uri="{FF2B5EF4-FFF2-40B4-BE49-F238E27FC236}">
                <a16:creationId xmlns:a16="http://schemas.microsoft.com/office/drawing/2014/main" id="{98F821B7-EAB6-F546-8E25-040E6E2F35CD}"/>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2" name="Rectangle 21">
            <a:extLst>
              <a:ext uri="{FF2B5EF4-FFF2-40B4-BE49-F238E27FC236}">
                <a16:creationId xmlns:a16="http://schemas.microsoft.com/office/drawing/2014/main" id="{E9277041-16FF-1645-9F78-F052CB91047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4D50401-CB0B-084A-8450-D4B23F577B4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37916804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point icon Graph B">
    <p:spTree>
      <p:nvGrpSpPr>
        <p:cNvPr id="1" name=""/>
        <p:cNvGrpSpPr/>
        <p:nvPr/>
      </p:nvGrpSpPr>
      <p:grpSpPr>
        <a:xfrm>
          <a:off x="0" y="0"/>
          <a:ext cx="0" cy="0"/>
          <a:chOff x="0" y="0"/>
          <a:chExt cx="0" cy="0"/>
        </a:xfrm>
      </p:grpSpPr>
      <p:sp>
        <p:nvSpPr>
          <p:cNvPr id="26" name="Freeform 175">
            <a:extLst>
              <a:ext uri="{FF2B5EF4-FFF2-40B4-BE49-F238E27FC236}">
                <a16:creationId xmlns:a16="http://schemas.microsoft.com/office/drawing/2014/main" id="{8C0B3D42-2317-6946-847C-DF2D8C708228}"/>
              </a:ext>
            </a:extLst>
          </p:cNvPr>
          <p:cNvSpPr>
            <a:spLocks noChangeArrowheads="1"/>
          </p:cNvSpPr>
          <p:nvPr userDrawn="1"/>
        </p:nvSpPr>
        <p:spPr bwMode="auto">
          <a:xfrm>
            <a:off x="832077" y="3024269"/>
            <a:ext cx="1921262" cy="2081780"/>
          </a:xfrm>
          <a:custGeom>
            <a:avLst/>
            <a:gdLst>
              <a:gd name="T0" fmla="*/ 3123 w 3430"/>
              <a:gd name="T1" fmla="*/ 642 h 3719"/>
              <a:gd name="T2" fmla="*/ 3123 w 3430"/>
              <a:gd name="T3" fmla="*/ 642 h 3719"/>
              <a:gd name="T4" fmla="*/ 2090 w 3430"/>
              <a:gd name="T5" fmla="*/ 642 h 3719"/>
              <a:gd name="T6" fmla="*/ 1715 w 3430"/>
              <a:gd name="T7" fmla="*/ 0 h 3719"/>
              <a:gd name="T8" fmla="*/ 1347 w 3430"/>
              <a:gd name="T9" fmla="*/ 642 h 3719"/>
              <a:gd name="T10" fmla="*/ 307 w 3430"/>
              <a:gd name="T11" fmla="*/ 642 h 3719"/>
              <a:gd name="T12" fmla="*/ 0 w 3430"/>
              <a:gd name="T13" fmla="*/ 948 h 3719"/>
              <a:gd name="T14" fmla="*/ 0 w 3430"/>
              <a:gd name="T15" fmla="*/ 3420 h 3719"/>
              <a:gd name="T16" fmla="*/ 307 w 3430"/>
              <a:gd name="T17" fmla="*/ 3718 h 3719"/>
              <a:gd name="T18" fmla="*/ 3123 w 3430"/>
              <a:gd name="T19" fmla="*/ 3718 h 3719"/>
              <a:gd name="T20" fmla="*/ 3429 w 3430"/>
              <a:gd name="T21" fmla="*/ 3420 h 3719"/>
              <a:gd name="T22" fmla="*/ 3429 w 3430"/>
              <a:gd name="T23" fmla="*/ 948 h 3719"/>
              <a:gd name="T24" fmla="*/ 3123 w 3430"/>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0" h="3719">
                <a:moveTo>
                  <a:pt x="3123" y="642"/>
                </a:moveTo>
                <a:lnTo>
                  <a:pt x="3123" y="642"/>
                </a:lnTo>
                <a:cubicBezTo>
                  <a:pt x="2090" y="642"/>
                  <a:pt x="2090" y="642"/>
                  <a:pt x="2090" y="642"/>
                </a:cubicBezTo>
                <a:cubicBezTo>
                  <a:pt x="1715" y="0"/>
                  <a:pt x="1715" y="0"/>
                  <a:pt x="1715" y="0"/>
                </a:cubicBezTo>
                <a:cubicBezTo>
                  <a:pt x="1347" y="642"/>
                  <a:pt x="1347" y="642"/>
                  <a:pt x="1347" y="642"/>
                </a:cubicBezTo>
                <a:cubicBezTo>
                  <a:pt x="307" y="642"/>
                  <a:pt x="307" y="642"/>
                  <a:pt x="307" y="642"/>
                </a:cubicBezTo>
                <a:cubicBezTo>
                  <a:pt x="138" y="642"/>
                  <a:pt x="0" y="780"/>
                  <a:pt x="0" y="948"/>
                </a:cubicBezTo>
                <a:cubicBezTo>
                  <a:pt x="0" y="3420"/>
                  <a:pt x="0" y="3420"/>
                  <a:pt x="0" y="3420"/>
                </a:cubicBezTo>
                <a:cubicBezTo>
                  <a:pt x="0" y="3588"/>
                  <a:pt x="138" y="3718"/>
                  <a:pt x="307" y="3718"/>
                </a:cubicBezTo>
                <a:cubicBezTo>
                  <a:pt x="3123" y="3718"/>
                  <a:pt x="3123" y="3718"/>
                  <a:pt x="3123" y="3718"/>
                </a:cubicBezTo>
                <a:cubicBezTo>
                  <a:pt x="3291" y="3718"/>
                  <a:pt x="3429" y="3588"/>
                  <a:pt x="3429" y="3420"/>
                </a:cubicBezTo>
                <a:cubicBezTo>
                  <a:pt x="3429" y="948"/>
                  <a:pt x="3429" y="948"/>
                  <a:pt x="3429" y="948"/>
                </a:cubicBezTo>
                <a:cubicBezTo>
                  <a:pt x="3429" y="780"/>
                  <a:pt x="3291" y="642"/>
                  <a:pt x="3123" y="642"/>
                </a:cubicBezTo>
              </a:path>
            </a:pathLst>
          </a:custGeom>
          <a:solidFill>
            <a:srgbClr val="7F1C58"/>
          </a:solidFill>
          <a:ln w="9525" cap="flat">
            <a:noFill/>
            <a:bevel/>
            <a:headEnd/>
            <a:tailEnd/>
          </a:ln>
          <a:effectLst/>
        </p:spPr>
        <p:txBody>
          <a:bodyPr wrap="none" anchor="ctr"/>
          <a:lstStyle/>
          <a:p>
            <a:endParaRPr lang="en-US"/>
          </a:p>
        </p:txBody>
      </p:sp>
      <p:sp>
        <p:nvSpPr>
          <p:cNvPr id="27" name="Freeform 176">
            <a:extLst>
              <a:ext uri="{FF2B5EF4-FFF2-40B4-BE49-F238E27FC236}">
                <a16:creationId xmlns:a16="http://schemas.microsoft.com/office/drawing/2014/main" id="{40053DCA-CDEC-8B4D-B8F3-C1EF890EF020}"/>
              </a:ext>
            </a:extLst>
          </p:cNvPr>
          <p:cNvSpPr>
            <a:spLocks noChangeArrowheads="1"/>
          </p:cNvSpPr>
          <p:nvPr userDrawn="1"/>
        </p:nvSpPr>
        <p:spPr bwMode="auto">
          <a:xfrm>
            <a:off x="2970654" y="3024269"/>
            <a:ext cx="1916323" cy="2081780"/>
          </a:xfrm>
          <a:custGeom>
            <a:avLst/>
            <a:gdLst>
              <a:gd name="T0" fmla="*/ 3122 w 3421"/>
              <a:gd name="T1" fmla="*/ 642 h 3719"/>
              <a:gd name="T2" fmla="*/ 3122 w 3421"/>
              <a:gd name="T3" fmla="*/ 642 h 3719"/>
              <a:gd name="T4" fmla="*/ 2089 w 3421"/>
              <a:gd name="T5" fmla="*/ 642 h 3719"/>
              <a:gd name="T6" fmla="*/ 1722 w 3421"/>
              <a:gd name="T7" fmla="*/ 0 h 3719"/>
              <a:gd name="T8" fmla="*/ 1347 w 3421"/>
              <a:gd name="T9" fmla="*/ 642 h 3719"/>
              <a:gd name="T10" fmla="*/ 306 w 3421"/>
              <a:gd name="T11" fmla="*/ 642 h 3719"/>
              <a:gd name="T12" fmla="*/ 0 w 3421"/>
              <a:gd name="T13" fmla="*/ 948 h 3719"/>
              <a:gd name="T14" fmla="*/ 0 w 3421"/>
              <a:gd name="T15" fmla="*/ 3420 h 3719"/>
              <a:gd name="T16" fmla="*/ 306 w 3421"/>
              <a:gd name="T17" fmla="*/ 3718 h 3719"/>
              <a:gd name="T18" fmla="*/ 3122 w 3421"/>
              <a:gd name="T19" fmla="*/ 3718 h 3719"/>
              <a:gd name="T20" fmla="*/ 3420 w 3421"/>
              <a:gd name="T21" fmla="*/ 3420 h 3719"/>
              <a:gd name="T22" fmla="*/ 3420 w 3421"/>
              <a:gd name="T23" fmla="*/ 948 h 3719"/>
              <a:gd name="T24" fmla="*/ 3122 w 3421"/>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1" h="3719">
                <a:moveTo>
                  <a:pt x="3122" y="642"/>
                </a:moveTo>
                <a:lnTo>
                  <a:pt x="3122" y="642"/>
                </a:lnTo>
                <a:cubicBezTo>
                  <a:pt x="2089" y="642"/>
                  <a:pt x="2089" y="642"/>
                  <a:pt x="2089" y="642"/>
                </a:cubicBezTo>
                <a:cubicBezTo>
                  <a:pt x="1722" y="0"/>
                  <a:pt x="1722" y="0"/>
                  <a:pt x="1722" y="0"/>
                </a:cubicBezTo>
                <a:cubicBezTo>
                  <a:pt x="1347" y="642"/>
                  <a:pt x="1347" y="642"/>
                  <a:pt x="134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0" y="3718"/>
                  <a:pt x="3420" y="3588"/>
                  <a:pt x="3420" y="3420"/>
                </a:cubicBezTo>
                <a:cubicBezTo>
                  <a:pt x="3420" y="948"/>
                  <a:pt x="3420" y="948"/>
                  <a:pt x="3420" y="948"/>
                </a:cubicBezTo>
                <a:cubicBezTo>
                  <a:pt x="3420" y="780"/>
                  <a:pt x="3290" y="642"/>
                  <a:pt x="3122" y="642"/>
                </a:cubicBezTo>
              </a:path>
            </a:pathLst>
          </a:custGeom>
          <a:solidFill>
            <a:srgbClr val="B41F7A"/>
          </a:solidFill>
          <a:ln w="9525" cap="flat">
            <a:noFill/>
            <a:bevel/>
            <a:headEnd/>
            <a:tailEnd/>
          </a:ln>
          <a:effectLst/>
        </p:spPr>
        <p:txBody>
          <a:bodyPr wrap="none" anchor="ctr"/>
          <a:lstStyle/>
          <a:p>
            <a:endParaRPr lang="en-US"/>
          </a:p>
        </p:txBody>
      </p:sp>
      <p:sp>
        <p:nvSpPr>
          <p:cNvPr id="28" name="Freeform 177">
            <a:extLst>
              <a:ext uri="{FF2B5EF4-FFF2-40B4-BE49-F238E27FC236}">
                <a16:creationId xmlns:a16="http://schemas.microsoft.com/office/drawing/2014/main" id="{10B1012D-1247-0E4A-BFFD-D8F52FAEDE4C}"/>
              </a:ext>
            </a:extLst>
          </p:cNvPr>
          <p:cNvSpPr>
            <a:spLocks noChangeArrowheads="1"/>
          </p:cNvSpPr>
          <p:nvPr userDrawn="1"/>
        </p:nvSpPr>
        <p:spPr bwMode="auto">
          <a:xfrm>
            <a:off x="5104293" y="3024269"/>
            <a:ext cx="1918793" cy="2081780"/>
          </a:xfrm>
          <a:custGeom>
            <a:avLst/>
            <a:gdLst>
              <a:gd name="T0" fmla="*/ 3121 w 3428"/>
              <a:gd name="T1" fmla="*/ 642 h 3719"/>
              <a:gd name="T2" fmla="*/ 3121 w 3428"/>
              <a:gd name="T3" fmla="*/ 642 h 3719"/>
              <a:gd name="T4" fmla="*/ 2103 w 3428"/>
              <a:gd name="T5" fmla="*/ 642 h 3719"/>
              <a:gd name="T6" fmla="*/ 1729 w 3428"/>
              <a:gd name="T7" fmla="*/ 0 h 3719"/>
              <a:gd name="T8" fmla="*/ 1362 w 3428"/>
              <a:gd name="T9" fmla="*/ 642 h 3719"/>
              <a:gd name="T10" fmla="*/ 306 w 3428"/>
              <a:gd name="T11" fmla="*/ 642 h 3719"/>
              <a:gd name="T12" fmla="*/ 0 w 3428"/>
              <a:gd name="T13" fmla="*/ 948 h 3719"/>
              <a:gd name="T14" fmla="*/ 0 w 3428"/>
              <a:gd name="T15" fmla="*/ 3420 h 3719"/>
              <a:gd name="T16" fmla="*/ 306 w 3428"/>
              <a:gd name="T17" fmla="*/ 3718 h 3719"/>
              <a:gd name="T18" fmla="*/ 3121 w 3428"/>
              <a:gd name="T19" fmla="*/ 3718 h 3719"/>
              <a:gd name="T20" fmla="*/ 3427 w 3428"/>
              <a:gd name="T21" fmla="*/ 3420 h 3719"/>
              <a:gd name="T22" fmla="*/ 3427 w 3428"/>
              <a:gd name="T23" fmla="*/ 948 h 3719"/>
              <a:gd name="T24" fmla="*/ 3121 w 3428"/>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8" h="3719">
                <a:moveTo>
                  <a:pt x="3121" y="642"/>
                </a:moveTo>
                <a:lnTo>
                  <a:pt x="3121" y="642"/>
                </a:lnTo>
                <a:cubicBezTo>
                  <a:pt x="2103" y="642"/>
                  <a:pt x="2103" y="642"/>
                  <a:pt x="2103" y="642"/>
                </a:cubicBezTo>
                <a:cubicBezTo>
                  <a:pt x="1729" y="0"/>
                  <a:pt x="1729" y="0"/>
                  <a:pt x="1729" y="0"/>
                </a:cubicBezTo>
                <a:cubicBezTo>
                  <a:pt x="1362" y="642"/>
                  <a:pt x="1362" y="642"/>
                  <a:pt x="1362"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1" y="3718"/>
                  <a:pt x="3121" y="3718"/>
                  <a:pt x="3121" y="3718"/>
                </a:cubicBezTo>
                <a:cubicBezTo>
                  <a:pt x="3289" y="3718"/>
                  <a:pt x="3427" y="3588"/>
                  <a:pt x="3427" y="3420"/>
                </a:cubicBezTo>
                <a:cubicBezTo>
                  <a:pt x="3427" y="948"/>
                  <a:pt x="3427" y="948"/>
                  <a:pt x="3427" y="948"/>
                </a:cubicBezTo>
                <a:cubicBezTo>
                  <a:pt x="3427" y="780"/>
                  <a:pt x="3289" y="642"/>
                  <a:pt x="3121" y="642"/>
                </a:cubicBezTo>
              </a:path>
            </a:pathLst>
          </a:custGeom>
          <a:solidFill>
            <a:srgbClr val="F16924"/>
          </a:solidFill>
          <a:ln w="9525" cap="flat">
            <a:noFill/>
            <a:bevel/>
            <a:headEnd/>
            <a:tailEnd/>
          </a:ln>
          <a:effectLst/>
        </p:spPr>
        <p:txBody>
          <a:bodyPr wrap="none" anchor="ctr"/>
          <a:lstStyle/>
          <a:p>
            <a:endParaRPr lang="en-US"/>
          </a:p>
        </p:txBody>
      </p:sp>
      <p:sp>
        <p:nvSpPr>
          <p:cNvPr id="29" name="Freeform 178">
            <a:extLst>
              <a:ext uri="{FF2B5EF4-FFF2-40B4-BE49-F238E27FC236}">
                <a16:creationId xmlns:a16="http://schemas.microsoft.com/office/drawing/2014/main" id="{65CDE706-10CF-2F43-88C1-BCEBF0BED009}"/>
              </a:ext>
            </a:extLst>
          </p:cNvPr>
          <p:cNvSpPr>
            <a:spLocks noChangeArrowheads="1"/>
          </p:cNvSpPr>
          <p:nvPr userDrawn="1"/>
        </p:nvSpPr>
        <p:spPr bwMode="auto">
          <a:xfrm>
            <a:off x="7242870" y="3024269"/>
            <a:ext cx="1916323" cy="2081780"/>
          </a:xfrm>
          <a:custGeom>
            <a:avLst/>
            <a:gdLst>
              <a:gd name="T0" fmla="*/ 3115 w 3422"/>
              <a:gd name="T1" fmla="*/ 642 h 3719"/>
              <a:gd name="T2" fmla="*/ 3115 w 3422"/>
              <a:gd name="T3" fmla="*/ 642 h 3719"/>
              <a:gd name="T4" fmla="*/ 2105 w 3422"/>
              <a:gd name="T5" fmla="*/ 642 h 3719"/>
              <a:gd name="T6" fmla="*/ 1737 w 3422"/>
              <a:gd name="T7" fmla="*/ 0 h 3719"/>
              <a:gd name="T8" fmla="*/ 1362 w 3422"/>
              <a:gd name="T9" fmla="*/ 642 h 3719"/>
              <a:gd name="T10" fmla="*/ 299 w 3422"/>
              <a:gd name="T11" fmla="*/ 642 h 3719"/>
              <a:gd name="T12" fmla="*/ 0 w 3422"/>
              <a:gd name="T13" fmla="*/ 948 h 3719"/>
              <a:gd name="T14" fmla="*/ 0 w 3422"/>
              <a:gd name="T15" fmla="*/ 3420 h 3719"/>
              <a:gd name="T16" fmla="*/ 299 w 3422"/>
              <a:gd name="T17" fmla="*/ 3718 h 3719"/>
              <a:gd name="T18" fmla="*/ 3115 w 3422"/>
              <a:gd name="T19" fmla="*/ 3718 h 3719"/>
              <a:gd name="T20" fmla="*/ 3421 w 3422"/>
              <a:gd name="T21" fmla="*/ 3420 h 3719"/>
              <a:gd name="T22" fmla="*/ 3421 w 3422"/>
              <a:gd name="T23" fmla="*/ 948 h 3719"/>
              <a:gd name="T24" fmla="*/ 3115 w 3422"/>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2" h="3719">
                <a:moveTo>
                  <a:pt x="3115" y="642"/>
                </a:moveTo>
                <a:lnTo>
                  <a:pt x="3115" y="642"/>
                </a:lnTo>
                <a:cubicBezTo>
                  <a:pt x="2105" y="642"/>
                  <a:pt x="2105" y="642"/>
                  <a:pt x="2105" y="642"/>
                </a:cubicBezTo>
                <a:cubicBezTo>
                  <a:pt x="1737" y="0"/>
                  <a:pt x="1737" y="0"/>
                  <a:pt x="1737" y="0"/>
                </a:cubicBezTo>
                <a:cubicBezTo>
                  <a:pt x="1362" y="642"/>
                  <a:pt x="1362" y="642"/>
                  <a:pt x="1362" y="642"/>
                </a:cubicBezTo>
                <a:cubicBezTo>
                  <a:pt x="299" y="642"/>
                  <a:pt x="299" y="642"/>
                  <a:pt x="299" y="642"/>
                </a:cubicBezTo>
                <a:cubicBezTo>
                  <a:pt x="130" y="642"/>
                  <a:pt x="0" y="780"/>
                  <a:pt x="0" y="948"/>
                </a:cubicBezTo>
                <a:cubicBezTo>
                  <a:pt x="0" y="3420"/>
                  <a:pt x="0" y="3420"/>
                  <a:pt x="0" y="3420"/>
                </a:cubicBezTo>
                <a:cubicBezTo>
                  <a:pt x="0" y="3588"/>
                  <a:pt x="130" y="3718"/>
                  <a:pt x="299" y="3718"/>
                </a:cubicBezTo>
                <a:cubicBezTo>
                  <a:pt x="3115" y="3718"/>
                  <a:pt x="3115" y="3718"/>
                  <a:pt x="3115" y="3718"/>
                </a:cubicBezTo>
                <a:cubicBezTo>
                  <a:pt x="3283" y="3718"/>
                  <a:pt x="3421" y="3588"/>
                  <a:pt x="3421" y="3420"/>
                </a:cubicBezTo>
                <a:cubicBezTo>
                  <a:pt x="3421" y="948"/>
                  <a:pt x="3421" y="948"/>
                  <a:pt x="3421" y="948"/>
                </a:cubicBezTo>
                <a:cubicBezTo>
                  <a:pt x="3421" y="780"/>
                  <a:pt x="3283" y="642"/>
                  <a:pt x="3115" y="642"/>
                </a:cubicBezTo>
              </a:path>
            </a:pathLst>
          </a:custGeom>
          <a:solidFill>
            <a:srgbClr val="EDA13E"/>
          </a:solidFill>
          <a:ln w="9525" cap="flat">
            <a:noFill/>
            <a:bevel/>
            <a:headEnd/>
            <a:tailEnd/>
          </a:ln>
          <a:effectLst/>
        </p:spPr>
        <p:txBody>
          <a:bodyPr wrap="none" anchor="ctr"/>
          <a:lstStyle/>
          <a:p>
            <a:endParaRPr lang="en-US"/>
          </a:p>
        </p:txBody>
      </p:sp>
      <p:sp>
        <p:nvSpPr>
          <p:cNvPr id="30" name="Freeform 179">
            <a:extLst>
              <a:ext uri="{FF2B5EF4-FFF2-40B4-BE49-F238E27FC236}">
                <a16:creationId xmlns:a16="http://schemas.microsoft.com/office/drawing/2014/main" id="{832BCD4D-201E-8748-B1F7-9CE73C83B47C}"/>
              </a:ext>
            </a:extLst>
          </p:cNvPr>
          <p:cNvSpPr>
            <a:spLocks noChangeArrowheads="1"/>
          </p:cNvSpPr>
          <p:nvPr userDrawn="1"/>
        </p:nvSpPr>
        <p:spPr bwMode="auto">
          <a:xfrm>
            <a:off x="9376508" y="3024269"/>
            <a:ext cx="1921262" cy="2081780"/>
          </a:xfrm>
          <a:custGeom>
            <a:avLst/>
            <a:gdLst>
              <a:gd name="T0" fmla="*/ 3122 w 3429"/>
              <a:gd name="T1" fmla="*/ 642 h 3719"/>
              <a:gd name="T2" fmla="*/ 3122 w 3429"/>
              <a:gd name="T3" fmla="*/ 642 h 3719"/>
              <a:gd name="T4" fmla="*/ 2120 w 3429"/>
              <a:gd name="T5" fmla="*/ 642 h 3719"/>
              <a:gd name="T6" fmla="*/ 1745 w 3429"/>
              <a:gd name="T7" fmla="*/ 0 h 3719"/>
              <a:gd name="T8" fmla="*/ 1377 w 3429"/>
              <a:gd name="T9" fmla="*/ 642 h 3719"/>
              <a:gd name="T10" fmla="*/ 306 w 3429"/>
              <a:gd name="T11" fmla="*/ 642 h 3719"/>
              <a:gd name="T12" fmla="*/ 0 w 3429"/>
              <a:gd name="T13" fmla="*/ 948 h 3719"/>
              <a:gd name="T14" fmla="*/ 0 w 3429"/>
              <a:gd name="T15" fmla="*/ 3420 h 3719"/>
              <a:gd name="T16" fmla="*/ 306 w 3429"/>
              <a:gd name="T17" fmla="*/ 3718 h 3719"/>
              <a:gd name="T18" fmla="*/ 3122 w 3429"/>
              <a:gd name="T19" fmla="*/ 3718 h 3719"/>
              <a:gd name="T20" fmla="*/ 3428 w 3429"/>
              <a:gd name="T21" fmla="*/ 3420 h 3719"/>
              <a:gd name="T22" fmla="*/ 3428 w 3429"/>
              <a:gd name="T23" fmla="*/ 948 h 3719"/>
              <a:gd name="T24" fmla="*/ 3122 w 3429"/>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9" h="3719">
                <a:moveTo>
                  <a:pt x="3122" y="642"/>
                </a:moveTo>
                <a:lnTo>
                  <a:pt x="3122" y="642"/>
                </a:lnTo>
                <a:cubicBezTo>
                  <a:pt x="2120" y="642"/>
                  <a:pt x="2120" y="642"/>
                  <a:pt x="2120" y="642"/>
                </a:cubicBezTo>
                <a:cubicBezTo>
                  <a:pt x="1745" y="0"/>
                  <a:pt x="1745" y="0"/>
                  <a:pt x="1745" y="0"/>
                </a:cubicBezTo>
                <a:cubicBezTo>
                  <a:pt x="1377" y="642"/>
                  <a:pt x="1377" y="642"/>
                  <a:pt x="137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1" y="3718"/>
                  <a:pt x="3428" y="3588"/>
                  <a:pt x="3428" y="3420"/>
                </a:cubicBezTo>
                <a:cubicBezTo>
                  <a:pt x="3428" y="948"/>
                  <a:pt x="3428" y="948"/>
                  <a:pt x="3428" y="948"/>
                </a:cubicBezTo>
                <a:cubicBezTo>
                  <a:pt x="3428" y="780"/>
                  <a:pt x="3291" y="642"/>
                  <a:pt x="3122" y="642"/>
                </a:cubicBezTo>
              </a:path>
            </a:pathLst>
          </a:custGeom>
          <a:solidFill>
            <a:srgbClr val="B41F7A"/>
          </a:solidFill>
          <a:ln w="9525" cap="flat">
            <a:noFill/>
            <a:bevel/>
            <a:headEnd/>
            <a:tailEnd/>
          </a:ln>
          <a:effectLst/>
        </p:spPr>
        <p:txBody>
          <a:bodyPr wrap="none" anchor="ctr"/>
          <a:lstStyle/>
          <a:p>
            <a:endParaRPr lang="en-US"/>
          </a:p>
        </p:txBody>
      </p:sp>
      <p:sp>
        <p:nvSpPr>
          <p:cNvPr id="33" name="Rectangle 32">
            <a:extLst>
              <a:ext uri="{FF2B5EF4-FFF2-40B4-BE49-F238E27FC236}">
                <a16:creationId xmlns:a16="http://schemas.microsoft.com/office/drawing/2014/main" id="{C32DC3FE-D517-4045-A81C-97480C4BB5BC}"/>
              </a:ext>
            </a:extLst>
          </p:cNvPr>
          <p:cNvSpPr/>
          <p:nvPr userDrawn="1"/>
        </p:nvSpPr>
        <p:spPr>
          <a:xfrm>
            <a:off x="5650339" y="1213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4" name="Text Placeholder 23">
            <a:extLst>
              <a:ext uri="{FF2B5EF4-FFF2-40B4-BE49-F238E27FC236}">
                <a16:creationId xmlns:a16="http://schemas.microsoft.com/office/drawing/2014/main" id="{929DE76E-73B1-9148-AD97-229EAA47B07C}"/>
              </a:ext>
            </a:extLst>
          </p:cNvPr>
          <p:cNvSpPr>
            <a:spLocks noGrp="1"/>
          </p:cNvSpPr>
          <p:nvPr>
            <p:ph type="body" sz="quarter" idx="29" hasCustomPrompt="1"/>
          </p:nvPr>
        </p:nvSpPr>
        <p:spPr>
          <a:xfrm>
            <a:off x="10764" y="430704"/>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846019" y="3772431"/>
            <a:ext cx="1903851"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73021" y="3766181"/>
            <a:ext cx="1921263"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116948" y="3757727"/>
            <a:ext cx="1908506"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71386" y="3751477"/>
            <a:ext cx="1890175"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1239" y="3739902"/>
            <a:ext cx="1921262"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18" name="Rectangle 17">
            <a:extLst>
              <a:ext uri="{FF2B5EF4-FFF2-40B4-BE49-F238E27FC236}">
                <a16:creationId xmlns:a16="http://schemas.microsoft.com/office/drawing/2014/main" id="{B3C2532F-D611-6B40-B3CA-28981F36055E}"/>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AD5FA0C8-251D-0745-92D5-AFAC54D02E43}"/>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40505952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point icon Graph C">
    <p:spTree>
      <p:nvGrpSpPr>
        <p:cNvPr id="1" name=""/>
        <p:cNvGrpSpPr/>
        <p:nvPr/>
      </p:nvGrpSpPr>
      <p:grpSpPr>
        <a:xfrm>
          <a:off x="0" y="0"/>
          <a:ext cx="0" cy="0"/>
          <a:chOff x="0" y="0"/>
          <a:chExt cx="0" cy="0"/>
        </a:xfrm>
      </p:grpSpPr>
      <p:grpSp>
        <p:nvGrpSpPr>
          <p:cNvPr id="100" name="Group 99">
            <a:extLst>
              <a:ext uri="{FF2B5EF4-FFF2-40B4-BE49-F238E27FC236}">
                <a16:creationId xmlns:a16="http://schemas.microsoft.com/office/drawing/2014/main" id="{9D47C539-7E1F-9A4D-A0E2-0874E257D47F}"/>
              </a:ext>
            </a:extLst>
          </p:cNvPr>
          <p:cNvGrpSpPr/>
          <p:nvPr userDrawn="1"/>
        </p:nvGrpSpPr>
        <p:grpSpPr>
          <a:xfrm>
            <a:off x="1154562" y="1887157"/>
            <a:ext cx="9882876" cy="2798187"/>
            <a:chOff x="1875859" y="4907106"/>
            <a:chExt cx="20625932" cy="5839921"/>
          </a:xfrm>
        </p:grpSpPr>
        <p:sp>
          <p:nvSpPr>
            <p:cNvPr id="101" name="Block Arc 100">
              <a:extLst>
                <a:ext uri="{FF2B5EF4-FFF2-40B4-BE49-F238E27FC236}">
                  <a16:creationId xmlns:a16="http://schemas.microsoft.com/office/drawing/2014/main" id="{DFBD3BC9-7E5A-4643-90E7-A5CDC7C6EAC3}"/>
                </a:ext>
              </a:extLst>
            </p:cNvPr>
            <p:cNvSpPr>
              <a:spLocks noChangeAspect="1"/>
            </p:cNvSpPr>
            <p:nvPr/>
          </p:nvSpPr>
          <p:spPr>
            <a:xfrm rot="10800000">
              <a:off x="1875859"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2" name="Block Arc 101">
              <a:extLst>
                <a:ext uri="{FF2B5EF4-FFF2-40B4-BE49-F238E27FC236}">
                  <a16:creationId xmlns:a16="http://schemas.microsoft.com/office/drawing/2014/main" id="{2A55FCAE-3E0F-C648-A867-D49B2D13DB17}"/>
                </a:ext>
              </a:extLst>
            </p:cNvPr>
            <p:cNvSpPr>
              <a:spLocks noChangeAspect="1"/>
            </p:cNvSpPr>
            <p:nvPr/>
          </p:nvSpPr>
          <p:spPr>
            <a:xfrm>
              <a:off x="5916227"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3" name="Block Arc 102">
              <a:extLst>
                <a:ext uri="{FF2B5EF4-FFF2-40B4-BE49-F238E27FC236}">
                  <a16:creationId xmlns:a16="http://schemas.microsoft.com/office/drawing/2014/main" id="{67B40F74-0334-F94D-A4A6-FC1A645B2016}"/>
                </a:ext>
              </a:extLst>
            </p:cNvPr>
            <p:cNvSpPr>
              <a:spLocks noChangeAspect="1"/>
            </p:cNvSpPr>
            <p:nvPr/>
          </p:nvSpPr>
          <p:spPr>
            <a:xfrm rot="10800000">
              <a:off x="9956596" y="4907108"/>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4" name="Block Arc 103">
              <a:extLst>
                <a:ext uri="{FF2B5EF4-FFF2-40B4-BE49-F238E27FC236}">
                  <a16:creationId xmlns:a16="http://schemas.microsoft.com/office/drawing/2014/main" id="{EA89031A-4F1E-3B4B-B3FD-73BD6969A58A}"/>
                </a:ext>
              </a:extLst>
            </p:cNvPr>
            <p:cNvSpPr>
              <a:spLocks noChangeAspect="1"/>
            </p:cNvSpPr>
            <p:nvPr/>
          </p:nvSpPr>
          <p:spPr>
            <a:xfrm>
              <a:off x="13996964"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5" name="Block Arc 104">
              <a:extLst>
                <a:ext uri="{FF2B5EF4-FFF2-40B4-BE49-F238E27FC236}">
                  <a16:creationId xmlns:a16="http://schemas.microsoft.com/office/drawing/2014/main" id="{BC102F9A-7693-8547-8518-EFB5ADD85CB1}"/>
                </a:ext>
              </a:extLst>
            </p:cNvPr>
            <p:cNvSpPr>
              <a:spLocks noChangeAspect="1"/>
            </p:cNvSpPr>
            <p:nvPr/>
          </p:nvSpPr>
          <p:spPr>
            <a:xfrm>
              <a:off x="1875859" y="4907106"/>
              <a:ext cx="4464459" cy="4631501"/>
            </a:xfrm>
            <a:prstGeom prst="blockArc">
              <a:avLst>
                <a:gd name="adj1" fmla="val 10800000"/>
                <a:gd name="adj2" fmla="val 0"/>
                <a:gd name="adj3" fmla="val 9694"/>
              </a:avLst>
            </a:pr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6" name="Block Arc 105">
              <a:extLst>
                <a:ext uri="{FF2B5EF4-FFF2-40B4-BE49-F238E27FC236}">
                  <a16:creationId xmlns:a16="http://schemas.microsoft.com/office/drawing/2014/main" id="{2CC5A5AC-8BF0-BA45-9D0A-A9E2B4F5D89D}"/>
                </a:ext>
              </a:extLst>
            </p:cNvPr>
            <p:cNvSpPr>
              <a:spLocks noChangeAspect="1"/>
            </p:cNvSpPr>
            <p:nvPr/>
          </p:nvSpPr>
          <p:spPr>
            <a:xfrm rot="10800000">
              <a:off x="18037332"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7" name="Block Arc 106">
              <a:extLst>
                <a:ext uri="{FF2B5EF4-FFF2-40B4-BE49-F238E27FC236}">
                  <a16:creationId xmlns:a16="http://schemas.microsoft.com/office/drawing/2014/main" id="{9C353EB8-D92A-1B42-9A1B-48051A61B7B2}"/>
                </a:ext>
              </a:extLst>
            </p:cNvPr>
            <p:cNvSpPr>
              <a:spLocks noChangeAspect="1"/>
            </p:cNvSpPr>
            <p:nvPr/>
          </p:nvSpPr>
          <p:spPr>
            <a:xfrm rot="10800000">
              <a:off x="5916227" y="4907106"/>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8" name="Block Arc 107">
              <a:extLst>
                <a:ext uri="{FF2B5EF4-FFF2-40B4-BE49-F238E27FC236}">
                  <a16:creationId xmlns:a16="http://schemas.microsoft.com/office/drawing/2014/main" id="{1C402117-6053-504C-8052-7EAC0B33EB8B}"/>
                </a:ext>
              </a:extLst>
            </p:cNvPr>
            <p:cNvSpPr>
              <a:spLocks noChangeAspect="1"/>
            </p:cNvSpPr>
            <p:nvPr/>
          </p:nvSpPr>
          <p:spPr>
            <a:xfrm rot="10800000">
              <a:off x="13996964" y="4907111"/>
              <a:ext cx="4464459" cy="4631501"/>
            </a:xfrm>
            <a:prstGeom prst="blockArc">
              <a:avLst>
                <a:gd name="adj1" fmla="val 10800000"/>
                <a:gd name="adj2" fmla="val 0"/>
                <a:gd name="adj3" fmla="val 9694"/>
              </a:avLst>
            </a:pr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9" name="Block Arc 108">
              <a:extLst>
                <a:ext uri="{FF2B5EF4-FFF2-40B4-BE49-F238E27FC236}">
                  <a16:creationId xmlns:a16="http://schemas.microsoft.com/office/drawing/2014/main" id="{46571C6C-6A6A-DC4C-938E-3A996BFCD104}"/>
                </a:ext>
              </a:extLst>
            </p:cNvPr>
            <p:cNvSpPr>
              <a:spLocks noChangeAspect="1"/>
            </p:cNvSpPr>
            <p:nvPr/>
          </p:nvSpPr>
          <p:spPr>
            <a:xfrm>
              <a:off x="9956596" y="4907108"/>
              <a:ext cx="4464459" cy="4631501"/>
            </a:xfrm>
            <a:prstGeom prst="blockArc">
              <a:avLst>
                <a:gd name="adj1" fmla="val 10800000"/>
                <a:gd name="adj2" fmla="val 0"/>
                <a:gd name="adj3" fmla="val 9694"/>
              </a:avLst>
            </a:pr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0" name="Block Arc 109">
              <a:extLst>
                <a:ext uri="{FF2B5EF4-FFF2-40B4-BE49-F238E27FC236}">
                  <a16:creationId xmlns:a16="http://schemas.microsoft.com/office/drawing/2014/main" id="{1937D021-BEEA-E74F-9D71-6852BF32CF1F}"/>
                </a:ext>
              </a:extLst>
            </p:cNvPr>
            <p:cNvSpPr>
              <a:spLocks noChangeAspect="1"/>
            </p:cNvSpPr>
            <p:nvPr/>
          </p:nvSpPr>
          <p:spPr>
            <a:xfrm>
              <a:off x="18037332" y="4907110"/>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1" name="TextBox 110">
              <a:extLst>
                <a:ext uri="{FF2B5EF4-FFF2-40B4-BE49-F238E27FC236}">
                  <a16:creationId xmlns:a16="http://schemas.microsoft.com/office/drawing/2014/main" id="{78C7850B-F149-0E41-9A41-F0D02FB2B9C3}"/>
                </a:ext>
              </a:extLst>
            </p:cNvPr>
            <p:cNvSpPr txBox="1"/>
            <p:nvPr/>
          </p:nvSpPr>
          <p:spPr>
            <a:xfrm>
              <a:off x="3248482" y="10100696"/>
              <a:ext cx="1927131"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Mission</a:t>
              </a:r>
            </a:p>
          </p:txBody>
        </p:sp>
        <p:sp>
          <p:nvSpPr>
            <p:cNvPr id="113" name="TextBox 112">
              <a:extLst>
                <a:ext uri="{FF2B5EF4-FFF2-40B4-BE49-F238E27FC236}">
                  <a16:creationId xmlns:a16="http://schemas.microsoft.com/office/drawing/2014/main" id="{29C4BC7A-7D43-1647-99AE-68CD5E078683}"/>
                </a:ext>
              </a:extLst>
            </p:cNvPr>
            <p:cNvSpPr txBox="1"/>
            <p:nvPr/>
          </p:nvSpPr>
          <p:spPr>
            <a:xfrm>
              <a:off x="7357215" y="10100696"/>
              <a:ext cx="1582486"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ision</a:t>
              </a:r>
            </a:p>
          </p:txBody>
        </p:sp>
        <p:sp>
          <p:nvSpPr>
            <p:cNvPr id="115" name="TextBox 114">
              <a:extLst>
                <a:ext uri="{FF2B5EF4-FFF2-40B4-BE49-F238E27FC236}">
                  <a16:creationId xmlns:a16="http://schemas.microsoft.com/office/drawing/2014/main" id="{D21B2BCF-57D6-7E49-8B6A-8CE063146E7B}"/>
                </a:ext>
              </a:extLst>
            </p:cNvPr>
            <p:cNvSpPr txBox="1"/>
            <p:nvPr/>
          </p:nvSpPr>
          <p:spPr>
            <a:xfrm>
              <a:off x="11461705" y="10100696"/>
              <a:ext cx="1454245"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Goals</a:t>
              </a:r>
            </a:p>
          </p:txBody>
        </p:sp>
        <p:sp>
          <p:nvSpPr>
            <p:cNvPr id="117" name="TextBox 116">
              <a:extLst>
                <a:ext uri="{FF2B5EF4-FFF2-40B4-BE49-F238E27FC236}">
                  <a16:creationId xmlns:a16="http://schemas.microsoft.com/office/drawing/2014/main" id="{5239597B-95B4-224B-8092-02E83F685D0A}"/>
                </a:ext>
              </a:extLst>
            </p:cNvPr>
            <p:cNvSpPr txBox="1"/>
            <p:nvPr/>
          </p:nvSpPr>
          <p:spPr>
            <a:xfrm>
              <a:off x="15369825" y="10100696"/>
              <a:ext cx="1718740"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alues</a:t>
              </a:r>
            </a:p>
          </p:txBody>
        </p:sp>
        <p:sp>
          <p:nvSpPr>
            <p:cNvPr id="119" name="TextBox 118">
              <a:extLst>
                <a:ext uri="{FF2B5EF4-FFF2-40B4-BE49-F238E27FC236}">
                  <a16:creationId xmlns:a16="http://schemas.microsoft.com/office/drawing/2014/main" id="{632B747A-D6C1-1A44-B024-63125FA7FE49}"/>
                </a:ext>
              </a:extLst>
            </p:cNvPr>
            <p:cNvSpPr txBox="1"/>
            <p:nvPr/>
          </p:nvSpPr>
          <p:spPr>
            <a:xfrm>
              <a:off x="19196192" y="10100696"/>
              <a:ext cx="2146743"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Strategy</a:t>
              </a:r>
            </a:p>
          </p:txBody>
        </p:sp>
      </p:grpSp>
      <p:sp>
        <p:nvSpPr>
          <p:cNvPr id="131" name="Text Placeholder 17">
            <a:extLst>
              <a:ext uri="{FF2B5EF4-FFF2-40B4-BE49-F238E27FC236}">
                <a16:creationId xmlns:a16="http://schemas.microsoft.com/office/drawing/2014/main" id="{CD6CCE6C-B4E3-C149-902E-39BDA11B0FC0}"/>
              </a:ext>
            </a:extLst>
          </p:cNvPr>
          <p:cNvSpPr>
            <a:spLocks noGrp="1"/>
          </p:cNvSpPr>
          <p:nvPr>
            <p:ph type="body" sz="quarter" idx="30" hasCustomPrompt="1"/>
          </p:nvPr>
        </p:nvSpPr>
        <p:spPr>
          <a:xfrm>
            <a:off x="3269110" y="4533160"/>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2" name="Text Placeholder 17">
            <a:extLst>
              <a:ext uri="{FF2B5EF4-FFF2-40B4-BE49-F238E27FC236}">
                <a16:creationId xmlns:a16="http://schemas.microsoft.com/office/drawing/2014/main" id="{11104F8E-2BBD-8841-8033-FB61C44CE686}"/>
              </a:ext>
            </a:extLst>
          </p:cNvPr>
          <p:cNvSpPr>
            <a:spLocks noGrp="1"/>
          </p:cNvSpPr>
          <p:nvPr>
            <p:ph type="body" sz="quarter" idx="31" hasCustomPrompt="1"/>
          </p:nvPr>
        </p:nvSpPr>
        <p:spPr>
          <a:xfrm>
            <a:off x="1333175" y="4539912"/>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3" name="Text Placeholder 17">
            <a:extLst>
              <a:ext uri="{FF2B5EF4-FFF2-40B4-BE49-F238E27FC236}">
                <a16:creationId xmlns:a16="http://schemas.microsoft.com/office/drawing/2014/main" id="{ADA8F331-B773-9A48-9C92-B8D80C9D5D28}"/>
              </a:ext>
            </a:extLst>
          </p:cNvPr>
          <p:cNvSpPr>
            <a:spLocks noGrp="1"/>
          </p:cNvSpPr>
          <p:nvPr>
            <p:ph type="body" sz="quarter" idx="32" hasCustomPrompt="1"/>
          </p:nvPr>
        </p:nvSpPr>
        <p:spPr>
          <a:xfrm>
            <a:off x="7165569" y="4535946"/>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4" name="Text Placeholder 17">
            <a:extLst>
              <a:ext uri="{FF2B5EF4-FFF2-40B4-BE49-F238E27FC236}">
                <a16:creationId xmlns:a16="http://schemas.microsoft.com/office/drawing/2014/main" id="{8C6EB927-6876-364B-9D8E-642E2160F1F5}"/>
              </a:ext>
            </a:extLst>
          </p:cNvPr>
          <p:cNvSpPr>
            <a:spLocks noGrp="1"/>
          </p:cNvSpPr>
          <p:nvPr>
            <p:ph type="body" sz="quarter" idx="33" hasCustomPrompt="1"/>
          </p:nvPr>
        </p:nvSpPr>
        <p:spPr>
          <a:xfrm>
            <a:off x="5229634" y="4542698"/>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5" name="Text Placeholder 17">
            <a:extLst>
              <a:ext uri="{FF2B5EF4-FFF2-40B4-BE49-F238E27FC236}">
                <a16:creationId xmlns:a16="http://schemas.microsoft.com/office/drawing/2014/main" id="{01736E27-5CA5-014F-B907-7522BA18CBDD}"/>
              </a:ext>
            </a:extLst>
          </p:cNvPr>
          <p:cNvSpPr>
            <a:spLocks noGrp="1"/>
          </p:cNvSpPr>
          <p:nvPr>
            <p:ph type="body" sz="quarter" idx="34" hasCustomPrompt="1"/>
          </p:nvPr>
        </p:nvSpPr>
        <p:spPr>
          <a:xfrm>
            <a:off x="9101503" y="4557649"/>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8" name="Text Placeholder 23">
            <a:extLst>
              <a:ext uri="{FF2B5EF4-FFF2-40B4-BE49-F238E27FC236}">
                <a16:creationId xmlns:a16="http://schemas.microsoft.com/office/drawing/2014/main" id="{74CE074A-C461-B741-A948-84D85A8206D9}"/>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9" name="Rectangle 28">
            <a:extLst>
              <a:ext uri="{FF2B5EF4-FFF2-40B4-BE49-F238E27FC236}">
                <a16:creationId xmlns:a16="http://schemas.microsoft.com/office/drawing/2014/main" id="{DADF0D77-B718-1445-9663-921379DFEA8A}"/>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0" name="Picture 29" descr="Logo&#10;&#10;Description automatically generated">
            <a:extLst>
              <a:ext uri="{FF2B5EF4-FFF2-40B4-BE49-F238E27FC236}">
                <a16:creationId xmlns:a16="http://schemas.microsoft.com/office/drawing/2014/main" id="{DB26B81B-9D4A-304C-955B-829FF2EB6991}"/>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5927624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ercentage graph x 4">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958611" y="1840131"/>
            <a:ext cx="10383759" cy="2382415"/>
            <a:chOff x="2122935" y="4949396"/>
            <a:chExt cx="20123405" cy="5001613"/>
          </a:xfrm>
        </p:grpSpPr>
        <p:sp>
          <p:nvSpPr>
            <p:cNvPr id="30" name="Shape 493">
              <a:extLst>
                <a:ext uri="{FF2B5EF4-FFF2-40B4-BE49-F238E27FC236}">
                  <a16:creationId xmlns:a16="http://schemas.microsoft.com/office/drawing/2014/main" id="{FA93A623-AC46-CA41-AB39-3D0015516C37}"/>
                </a:ext>
              </a:extLst>
            </p:cNvPr>
            <p:cNvSpPr/>
            <p:nvPr/>
          </p:nvSpPr>
          <p:spPr>
            <a:xfrm>
              <a:off x="2122935" y="4949396"/>
              <a:ext cx="3790687"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52" name="TextBox 51">
              <a:extLst>
                <a:ext uri="{FF2B5EF4-FFF2-40B4-BE49-F238E27FC236}">
                  <a16:creationId xmlns:a16="http://schemas.microsoft.com/office/drawing/2014/main" id="{28835238-EF0F-C945-85D9-9B4D8000EB04}"/>
                </a:ext>
              </a:extLst>
            </p:cNvPr>
            <p:cNvSpPr txBox="1"/>
            <p:nvPr/>
          </p:nvSpPr>
          <p:spPr>
            <a:xfrm>
              <a:off x="12638765"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Three</a:t>
              </a:r>
            </a:p>
          </p:txBody>
        </p:sp>
        <p:sp>
          <p:nvSpPr>
            <p:cNvPr id="50" name="TextBox 49">
              <a:extLst>
                <a:ext uri="{FF2B5EF4-FFF2-40B4-BE49-F238E27FC236}">
                  <a16:creationId xmlns:a16="http://schemas.microsoft.com/office/drawing/2014/main" id="{739C8343-8EBC-0249-A505-2B9597148B52}"/>
                </a:ext>
              </a:extLst>
            </p:cNvPr>
            <p:cNvSpPr txBox="1"/>
            <p:nvPr/>
          </p:nvSpPr>
          <p:spPr>
            <a:xfrm>
              <a:off x="18030317"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Four</a:t>
              </a:r>
            </a:p>
          </p:txBody>
        </p:sp>
      </p:grpSp>
      <p:sp>
        <p:nvSpPr>
          <p:cNvPr id="58" name="Text Placeholder 17">
            <a:extLst>
              <a:ext uri="{FF2B5EF4-FFF2-40B4-BE49-F238E27FC236}">
                <a16:creationId xmlns:a16="http://schemas.microsoft.com/office/drawing/2014/main" id="{45DC1254-EFA2-0246-97A8-B695C82306D2}"/>
              </a:ext>
            </a:extLst>
          </p:cNvPr>
          <p:cNvSpPr>
            <a:spLocks noGrp="1"/>
          </p:cNvSpPr>
          <p:nvPr>
            <p:ph type="body" sz="quarter" idx="31" hasCustomPrompt="1"/>
          </p:nvPr>
        </p:nvSpPr>
        <p:spPr>
          <a:xfrm>
            <a:off x="893815" y="4265990"/>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3660245" y="4251141"/>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6427562" y="4217367"/>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9193992" y="420251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6" name="Text Placeholder 17">
            <a:extLst>
              <a:ext uri="{FF2B5EF4-FFF2-40B4-BE49-F238E27FC236}">
                <a16:creationId xmlns:a16="http://schemas.microsoft.com/office/drawing/2014/main" id="{BF0A50F1-0099-544E-BA47-5E868B197C6C}"/>
              </a:ext>
            </a:extLst>
          </p:cNvPr>
          <p:cNvSpPr>
            <a:spLocks noGrp="1"/>
          </p:cNvSpPr>
          <p:nvPr>
            <p:ph type="body" sz="quarter" idx="38" hasCustomPrompt="1"/>
          </p:nvPr>
        </p:nvSpPr>
        <p:spPr>
          <a:xfrm>
            <a:off x="904742" y="2534899"/>
            <a:ext cx="2106525" cy="1237497"/>
          </a:xfrm>
        </p:spPr>
        <p:txBody>
          <a:bodyPr/>
          <a:lstStyle>
            <a:lvl1pPr algn="ctr">
              <a:buNone/>
              <a:defRPr sz="3600" b="1" i="0" spc="0">
                <a:solidFill>
                  <a:srgbClr val="7F1C58"/>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5%</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3697637" y="2534899"/>
            <a:ext cx="2106525" cy="1237497"/>
          </a:xfrm>
        </p:spPr>
        <p:txBody>
          <a:bodyPr/>
          <a:lstStyle>
            <a:lvl1pPr algn="ctr">
              <a:buNone/>
              <a:defRPr sz="3600" b="1" i="0" spc="0">
                <a:solidFill>
                  <a:srgbClr val="B41F7A"/>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6477675" y="2534899"/>
            <a:ext cx="2106525" cy="1237497"/>
          </a:xfrm>
        </p:spPr>
        <p:txBody>
          <a:bodyPr/>
          <a:lstStyle>
            <a:lvl1pPr algn="ctr">
              <a:buNone/>
              <a:defRPr sz="3600" b="1" i="0" spc="0">
                <a:solidFill>
                  <a:srgbClr val="F16924"/>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9270570" y="2534899"/>
            <a:ext cx="2106525" cy="1237497"/>
          </a:xfrm>
        </p:spPr>
        <p:txBody>
          <a:bodyPr/>
          <a:lstStyle>
            <a:lvl1pPr algn="ctr">
              <a:buNone/>
              <a:defRPr sz="3600" b="1" i="0" spc="0">
                <a:solidFill>
                  <a:srgbClr val="EDA13E"/>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6" name="Text Placeholder 23">
            <a:extLst>
              <a:ext uri="{FF2B5EF4-FFF2-40B4-BE49-F238E27FC236}">
                <a16:creationId xmlns:a16="http://schemas.microsoft.com/office/drawing/2014/main" id="{01456C76-F262-BA4E-8DBF-271FB5AB0315}"/>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2" name="Rectangle 21">
            <a:extLst>
              <a:ext uri="{FF2B5EF4-FFF2-40B4-BE49-F238E27FC236}">
                <a16:creationId xmlns:a16="http://schemas.microsoft.com/office/drawing/2014/main" id="{FCB3897B-0335-7248-B31A-4A58E77FE66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3B8F62A7-D6C3-704B-B4D0-6F75FD2E4E4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903704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ercentage graph x 3">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2282521" y="1805252"/>
            <a:ext cx="7491958" cy="1805615"/>
            <a:chOff x="7490990" y="4949396"/>
            <a:chExt cx="14519185" cy="3790686"/>
          </a:xfrm>
        </p:grpSpPr>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gr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2214217" y="4216262"/>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4981534" y="418248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7747964" y="4167639"/>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2251609" y="2500020"/>
            <a:ext cx="2106525" cy="1237497"/>
          </a:xfrm>
        </p:spPr>
        <p:txBody>
          <a:bodyPr/>
          <a:lstStyle>
            <a:lvl1pPr algn="ctr">
              <a:buNone/>
              <a:defRPr sz="36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5031647" y="2500020"/>
            <a:ext cx="2106525" cy="1237497"/>
          </a:xfrm>
        </p:spPr>
        <p:txBody>
          <a:bodyPr/>
          <a:lstStyle>
            <a:lvl1pPr algn="ctr">
              <a:buNone/>
              <a:defRPr sz="36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7824542" y="2500020"/>
            <a:ext cx="2106525" cy="1237497"/>
          </a:xfrm>
        </p:spPr>
        <p:txBody>
          <a:bodyPr/>
          <a:lstStyle>
            <a:lvl1pPr algn="ctr">
              <a:buNone/>
              <a:defRPr sz="36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0" name="Text Placeholder 23">
            <a:extLst>
              <a:ext uri="{FF2B5EF4-FFF2-40B4-BE49-F238E27FC236}">
                <a16:creationId xmlns:a16="http://schemas.microsoft.com/office/drawing/2014/main" id="{BEB2F77E-FE48-FF4C-81F1-260AA71B0618}"/>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17" name="Rectangle 16">
            <a:extLst>
              <a:ext uri="{FF2B5EF4-FFF2-40B4-BE49-F238E27FC236}">
                <a16:creationId xmlns:a16="http://schemas.microsoft.com/office/drawing/2014/main" id="{3D2CF5BA-2EEA-454D-AD82-A7AF3CF37F5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8" name="Picture 17" descr="Logo&#10;&#10;Description automatically generated">
            <a:extLst>
              <a:ext uri="{FF2B5EF4-FFF2-40B4-BE49-F238E27FC236}">
                <a16:creationId xmlns:a16="http://schemas.microsoft.com/office/drawing/2014/main" id="{9D84D82E-1D77-4342-93C5-18F17738E0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9021076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ircle icon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1BCDD55-1DF7-884A-BB9D-948AA2579F83}"/>
              </a:ext>
            </a:extLst>
          </p:cNvPr>
          <p:cNvGrpSpPr/>
          <p:nvPr userDrawn="1"/>
        </p:nvGrpSpPr>
        <p:grpSpPr>
          <a:xfrm flipH="1">
            <a:off x="8729578" y="863758"/>
            <a:ext cx="3462422" cy="4621568"/>
            <a:chOff x="1333421" y="1575267"/>
            <a:chExt cx="7926559" cy="10580207"/>
          </a:xfrm>
        </p:grpSpPr>
        <p:sp>
          <p:nvSpPr>
            <p:cNvPr id="3" name="Freeform 360">
              <a:extLst>
                <a:ext uri="{FF2B5EF4-FFF2-40B4-BE49-F238E27FC236}">
                  <a16:creationId xmlns:a16="http://schemas.microsoft.com/office/drawing/2014/main" id="{444920D1-2F08-AC4B-8699-90F0CFC61A19}"/>
                </a:ext>
              </a:extLst>
            </p:cNvPr>
            <p:cNvSpPr>
              <a:spLocks noChangeArrowheads="1"/>
            </p:cNvSpPr>
            <p:nvPr/>
          </p:nvSpPr>
          <p:spPr bwMode="auto">
            <a:xfrm>
              <a:off x="5564524" y="5167524"/>
              <a:ext cx="1120431" cy="3380949"/>
            </a:xfrm>
            <a:custGeom>
              <a:avLst/>
              <a:gdLst>
                <a:gd name="T0" fmla="*/ 0 w 1005"/>
                <a:gd name="T1" fmla="*/ 2794 h 3034"/>
                <a:gd name="T2" fmla="*/ 0 w 1005"/>
                <a:gd name="T3" fmla="*/ 2794 h 3034"/>
                <a:gd name="T4" fmla="*/ 16 w 1005"/>
                <a:gd name="T5" fmla="*/ 2738 h 3034"/>
                <a:gd name="T6" fmla="*/ 207 w 1005"/>
                <a:gd name="T7" fmla="*/ 1520 h 3034"/>
                <a:gd name="T8" fmla="*/ 16 w 1005"/>
                <a:gd name="T9" fmla="*/ 294 h 3034"/>
                <a:gd name="T10" fmla="*/ 0 w 1005"/>
                <a:gd name="T11" fmla="*/ 247 h 3034"/>
                <a:gd name="T12" fmla="*/ 757 w 1005"/>
                <a:gd name="T13" fmla="*/ 0 h 3034"/>
                <a:gd name="T14" fmla="*/ 773 w 1005"/>
                <a:gd name="T15" fmla="*/ 48 h 3034"/>
                <a:gd name="T16" fmla="*/ 1004 w 1005"/>
                <a:gd name="T17" fmla="*/ 1520 h 3034"/>
                <a:gd name="T18" fmla="*/ 773 w 1005"/>
                <a:gd name="T19" fmla="*/ 2985 h 3034"/>
                <a:gd name="T20" fmla="*/ 757 w 1005"/>
                <a:gd name="T21" fmla="*/ 3033 h 3034"/>
                <a:gd name="T22" fmla="*/ 0 w 1005"/>
                <a:gd name="T23" fmla="*/ 2794 h 3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5" h="3034">
                  <a:moveTo>
                    <a:pt x="0" y="2794"/>
                  </a:moveTo>
                  <a:lnTo>
                    <a:pt x="0" y="2794"/>
                  </a:lnTo>
                  <a:cubicBezTo>
                    <a:pt x="16" y="2738"/>
                    <a:pt x="16" y="2738"/>
                    <a:pt x="16" y="2738"/>
                  </a:cubicBezTo>
                  <a:cubicBezTo>
                    <a:pt x="144" y="2348"/>
                    <a:pt x="207" y="1934"/>
                    <a:pt x="207" y="1520"/>
                  </a:cubicBezTo>
                  <a:cubicBezTo>
                    <a:pt x="207" y="1099"/>
                    <a:pt x="144" y="693"/>
                    <a:pt x="16" y="294"/>
                  </a:cubicBezTo>
                  <a:cubicBezTo>
                    <a:pt x="0" y="247"/>
                    <a:pt x="0" y="247"/>
                    <a:pt x="0" y="247"/>
                  </a:cubicBezTo>
                  <a:cubicBezTo>
                    <a:pt x="757" y="0"/>
                    <a:pt x="757" y="0"/>
                    <a:pt x="757" y="0"/>
                  </a:cubicBezTo>
                  <a:cubicBezTo>
                    <a:pt x="773" y="48"/>
                    <a:pt x="773" y="48"/>
                    <a:pt x="773" y="48"/>
                  </a:cubicBezTo>
                  <a:cubicBezTo>
                    <a:pt x="932" y="526"/>
                    <a:pt x="1004" y="1019"/>
                    <a:pt x="1004" y="1520"/>
                  </a:cubicBezTo>
                  <a:cubicBezTo>
                    <a:pt x="1004" y="2022"/>
                    <a:pt x="932" y="2515"/>
                    <a:pt x="773" y="2985"/>
                  </a:cubicBezTo>
                  <a:cubicBezTo>
                    <a:pt x="757" y="3033"/>
                    <a:pt x="757" y="3033"/>
                    <a:pt x="757" y="3033"/>
                  </a:cubicBezTo>
                  <a:lnTo>
                    <a:pt x="0" y="2794"/>
                  </a:lnTo>
                </a:path>
              </a:pathLst>
            </a:custGeom>
            <a:solidFill>
              <a:srgbClr val="F16924"/>
            </a:solidFill>
            <a:ln>
              <a:noFill/>
            </a:ln>
            <a:effectLst/>
          </p:spPr>
          <p:txBody>
            <a:bodyPr wrap="none" anchor="ctr"/>
            <a:lstStyle/>
            <a:p>
              <a:endParaRPr lang="en-US"/>
            </a:p>
          </p:txBody>
        </p:sp>
        <p:sp>
          <p:nvSpPr>
            <p:cNvPr id="4" name="Freeform 362">
              <a:extLst>
                <a:ext uri="{FF2B5EF4-FFF2-40B4-BE49-F238E27FC236}">
                  <a16:creationId xmlns:a16="http://schemas.microsoft.com/office/drawing/2014/main" id="{7CCCF227-4B75-8E43-B1E3-6224CB19C115}"/>
                </a:ext>
              </a:extLst>
            </p:cNvPr>
            <p:cNvSpPr>
              <a:spLocks noChangeArrowheads="1"/>
            </p:cNvSpPr>
            <p:nvPr/>
          </p:nvSpPr>
          <p:spPr bwMode="auto">
            <a:xfrm>
              <a:off x="1333421" y="1575267"/>
              <a:ext cx="3223696" cy="1759273"/>
            </a:xfrm>
            <a:custGeom>
              <a:avLst/>
              <a:gdLst>
                <a:gd name="T0" fmla="*/ 2381 w 2891"/>
                <a:gd name="T1" fmla="*/ 1545 h 1577"/>
                <a:gd name="T2" fmla="*/ 2381 w 2891"/>
                <a:gd name="T3" fmla="*/ 1545 h 1577"/>
                <a:gd name="T4" fmla="*/ 55 w 2891"/>
                <a:gd name="T5" fmla="*/ 796 h 1577"/>
                <a:gd name="T6" fmla="*/ 0 w 2891"/>
                <a:gd name="T7" fmla="*/ 796 h 1577"/>
                <a:gd name="T8" fmla="*/ 0 w 2891"/>
                <a:gd name="T9" fmla="*/ 0 h 1577"/>
                <a:gd name="T10" fmla="*/ 55 w 2891"/>
                <a:gd name="T11" fmla="*/ 0 h 1577"/>
                <a:gd name="T12" fmla="*/ 2851 w 2891"/>
                <a:gd name="T13" fmla="*/ 900 h 1577"/>
                <a:gd name="T14" fmla="*/ 2890 w 2891"/>
                <a:gd name="T15" fmla="*/ 931 h 1577"/>
                <a:gd name="T16" fmla="*/ 2420 w 2891"/>
                <a:gd name="T17" fmla="*/ 1576 h 1577"/>
                <a:gd name="T18" fmla="*/ 2381 w 2891"/>
                <a:gd name="T19" fmla="*/ 1545 h 1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77">
                  <a:moveTo>
                    <a:pt x="2381" y="1545"/>
                  </a:moveTo>
                  <a:lnTo>
                    <a:pt x="2381" y="1545"/>
                  </a:lnTo>
                  <a:cubicBezTo>
                    <a:pt x="1704" y="1051"/>
                    <a:pt x="900" y="796"/>
                    <a:pt x="55" y="796"/>
                  </a:cubicBezTo>
                  <a:cubicBezTo>
                    <a:pt x="0" y="796"/>
                    <a:pt x="0" y="796"/>
                    <a:pt x="0" y="796"/>
                  </a:cubicBezTo>
                  <a:cubicBezTo>
                    <a:pt x="0" y="0"/>
                    <a:pt x="0" y="0"/>
                    <a:pt x="0" y="0"/>
                  </a:cubicBezTo>
                  <a:cubicBezTo>
                    <a:pt x="55" y="0"/>
                    <a:pt x="55" y="0"/>
                    <a:pt x="55" y="0"/>
                  </a:cubicBezTo>
                  <a:cubicBezTo>
                    <a:pt x="1067" y="0"/>
                    <a:pt x="2030" y="311"/>
                    <a:pt x="2851" y="900"/>
                  </a:cubicBezTo>
                  <a:cubicBezTo>
                    <a:pt x="2890" y="931"/>
                    <a:pt x="2890" y="931"/>
                    <a:pt x="2890" y="931"/>
                  </a:cubicBezTo>
                  <a:cubicBezTo>
                    <a:pt x="2420" y="1576"/>
                    <a:pt x="2420" y="1576"/>
                    <a:pt x="2420" y="1576"/>
                  </a:cubicBezTo>
                  <a:lnTo>
                    <a:pt x="2381" y="1545"/>
                  </a:lnTo>
                </a:path>
              </a:pathLst>
            </a:custGeom>
            <a:solidFill>
              <a:srgbClr val="7F1C58"/>
            </a:solidFill>
            <a:ln>
              <a:noFill/>
            </a:ln>
            <a:effectLst/>
          </p:spPr>
          <p:txBody>
            <a:bodyPr wrap="none" anchor="ctr"/>
            <a:lstStyle/>
            <a:p>
              <a:endParaRPr lang="en-US"/>
            </a:p>
          </p:txBody>
        </p:sp>
        <p:sp>
          <p:nvSpPr>
            <p:cNvPr id="5" name="Freeform 364">
              <a:extLst>
                <a:ext uri="{FF2B5EF4-FFF2-40B4-BE49-F238E27FC236}">
                  <a16:creationId xmlns:a16="http://schemas.microsoft.com/office/drawing/2014/main" id="{202302F4-CC55-1B49-AF69-5DF0D0B8B1FF}"/>
                </a:ext>
              </a:extLst>
            </p:cNvPr>
            <p:cNvSpPr>
              <a:spLocks noChangeArrowheads="1"/>
            </p:cNvSpPr>
            <p:nvPr/>
          </p:nvSpPr>
          <p:spPr bwMode="auto">
            <a:xfrm>
              <a:off x="3933019" y="2543357"/>
              <a:ext cx="2511140" cy="3017301"/>
            </a:xfrm>
            <a:custGeom>
              <a:avLst/>
              <a:gdLst>
                <a:gd name="T0" fmla="*/ 1481 w 2255"/>
                <a:gd name="T1" fmla="*/ 2651 h 2708"/>
                <a:gd name="T2" fmla="*/ 1481 w 2255"/>
                <a:gd name="T3" fmla="*/ 2651 h 2708"/>
                <a:gd name="T4" fmla="*/ 916 w 2255"/>
                <a:gd name="T5" fmla="*/ 1553 h 2708"/>
                <a:gd name="T6" fmla="*/ 48 w 2255"/>
                <a:gd name="T7" fmla="*/ 677 h 2708"/>
                <a:gd name="T8" fmla="*/ 0 w 2255"/>
                <a:gd name="T9" fmla="*/ 645 h 2708"/>
                <a:gd name="T10" fmla="*/ 470 w 2255"/>
                <a:gd name="T11" fmla="*/ 0 h 2708"/>
                <a:gd name="T12" fmla="*/ 518 w 2255"/>
                <a:gd name="T13" fmla="*/ 32 h 2708"/>
                <a:gd name="T14" fmla="*/ 1561 w 2255"/>
                <a:gd name="T15" fmla="*/ 1083 h 2708"/>
                <a:gd name="T16" fmla="*/ 2238 w 2255"/>
                <a:gd name="T17" fmla="*/ 2405 h 2708"/>
                <a:gd name="T18" fmla="*/ 2254 w 2255"/>
                <a:gd name="T19" fmla="*/ 2460 h 2708"/>
                <a:gd name="T20" fmla="*/ 1497 w 2255"/>
                <a:gd name="T21" fmla="*/ 2707 h 2708"/>
                <a:gd name="T22" fmla="*/ 1481 w 2255"/>
                <a:gd name="T23" fmla="*/ 2651 h 2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8">
                  <a:moveTo>
                    <a:pt x="1481" y="2651"/>
                  </a:moveTo>
                  <a:lnTo>
                    <a:pt x="1481" y="2651"/>
                  </a:lnTo>
                  <a:cubicBezTo>
                    <a:pt x="1354" y="2261"/>
                    <a:pt x="1163" y="1887"/>
                    <a:pt x="916" y="1553"/>
                  </a:cubicBezTo>
                  <a:cubicBezTo>
                    <a:pt x="669" y="1218"/>
                    <a:pt x="382" y="923"/>
                    <a:pt x="48" y="677"/>
                  </a:cubicBezTo>
                  <a:cubicBezTo>
                    <a:pt x="0" y="645"/>
                    <a:pt x="0" y="645"/>
                    <a:pt x="0" y="645"/>
                  </a:cubicBezTo>
                  <a:cubicBezTo>
                    <a:pt x="470" y="0"/>
                    <a:pt x="470" y="0"/>
                    <a:pt x="470" y="0"/>
                  </a:cubicBezTo>
                  <a:cubicBezTo>
                    <a:pt x="518" y="32"/>
                    <a:pt x="518" y="32"/>
                    <a:pt x="518" y="32"/>
                  </a:cubicBezTo>
                  <a:cubicBezTo>
                    <a:pt x="916" y="326"/>
                    <a:pt x="1266" y="677"/>
                    <a:pt x="1561" y="1083"/>
                  </a:cubicBezTo>
                  <a:cubicBezTo>
                    <a:pt x="1855" y="1489"/>
                    <a:pt x="2086" y="1935"/>
                    <a:pt x="2238" y="2405"/>
                  </a:cubicBezTo>
                  <a:cubicBezTo>
                    <a:pt x="2254" y="2460"/>
                    <a:pt x="2254" y="2460"/>
                    <a:pt x="2254" y="2460"/>
                  </a:cubicBezTo>
                  <a:cubicBezTo>
                    <a:pt x="1497" y="2707"/>
                    <a:pt x="1497" y="2707"/>
                    <a:pt x="1497" y="2707"/>
                  </a:cubicBezTo>
                  <a:lnTo>
                    <a:pt x="1481" y="2651"/>
                  </a:lnTo>
                </a:path>
              </a:pathLst>
            </a:custGeom>
            <a:solidFill>
              <a:srgbClr val="B41F7A"/>
            </a:solidFill>
            <a:ln>
              <a:noFill/>
            </a:ln>
            <a:effectLst/>
          </p:spPr>
          <p:txBody>
            <a:bodyPr wrap="none" anchor="ctr"/>
            <a:lstStyle/>
            <a:p>
              <a:endParaRPr lang="en-US"/>
            </a:p>
          </p:txBody>
        </p:sp>
        <p:sp>
          <p:nvSpPr>
            <p:cNvPr id="6" name="Freeform 366">
              <a:extLst>
                <a:ext uri="{FF2B5EF4-FFF2-40B4-BE49-F238E27FC236}">
                  <a16:creationId xmlns:a16="http://schemas.microsoft.com/office/drawing/2014/main" id="{CB9C6474-133B-844D-9BD8-3E0B449C8704}"/>
                </a:ext>
              </a:extLst>
            </p:cNvPr>
            <p:cNvSpPr>
              <a:spLocks noChangeArrowheads="1"/>
            </p:cNvSpPr>
            <p:nvPr/>
          </p:nvSpPr>
          <p:spPr bwMode="auto">
            <a:xfrm>
              <a:off x="1333421" y="10386373"/>
              <a:ext cx="3223696" cy="1769101"/>
            </a:xfrm>
            <a:custGeom>
              <a:avLst/>
              <a:gdLst>
                <a:gd name="T0" fmla="*/ 0 w 2891"/>
                <a:gd name="T1" fmla="*/ 1585 h 1586"/>
                <a:gd name="T2" fmla="*/ 0 w 2891"/>
                <a:gd name="T3" fmla="*/ 1585 h 1586"/>
                <a:gd name="T4" fmla="*/ 0 w 2891"/>
                <a:gd name="T5" fmla="*/ 788 h 1586"/>
                <a:gd name="T6" fmla="*/ 55 w 2891"/>
                <a:gd name="T7" fmla="*/ 788 h 1586"/>
                <a:gd name="T8" fmla="*/ 2381 w 2891"/>
                <a:gd name="T9" fmla="*/ 32 h 1586"/>
                <a:gd name="T10" fmla="*/ 2420 w 2891"/>
                <a:gd name="T11" fmla="*/ 0 h 1586"/>
                <a:gd name="T12" fmla="*/ 2890 w 2891"/>
                <a:gd name="T13" fmla="*/ 645 h 1586"/>
                <a:gd name="T14" fmla="*/ 2851 w 2891"/>
                <a:gd name="T15" fmla="*/ 677 h 1586"/>
                <a:gd name="T16" fmla="*/ 55 w 2891"/>
                <a:gd name="T17" fmla="*/ 1585 h 1586"/>
                <a:gd name="T18" fmla="*/ 0 w 2891"/>
                <a:gd name="T19" fmla="*/ 1585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86">
                  <a:moveTo>
                    <a:pt x="0" y="1585"/>
                  </a:moveTo>
                  <a:lnTo>
                    <a:pt x="0" y="1585"/>
                  </a:lnTo>
                  <a:cubicBezTo>
                    <a:pt x="0" y="788"/>
                    <a:pt x="0" y="788"/>
                    <a:pt x="0" y="788"/>
                  </a:cubicBezTo>
                  <a:cubicBezTo>
                    <a:pt x="55" y="788"/>
                    <a:pt x="55" y="788"/>
                    <a:pt x="55" y="788"/>
                  </a:cubicBezTo>
                  <a:cubicBezTo>
                    <a:pt x="900" y="788"/>
                    <a:pt x="1704" y="526"/>
                    <a:pt x="2381" y="32"/>
                  </a:cubicBezTo>
                  <a:cubicBezTo>
                    <a:pt x="2420" y="0"/>
                    <a:pt x="2420" y="0"/>
                    <a:pt x="2420" y="0"/>
                  </a:cubicBezTo>
                  <a:cubicBezTo>
                    <a:pt x="2890" y="645"/>
                    <a:pt x="2890" y="645"/>
                    <a:pt x="2890" y="645"/>
                  </a:cubicBezTo>
                  <a:cubicBezTo>
                    <a:pt x="2851" y="677"/>
                    <a:pt x="2851" y="677"/>
                    <a:pt x="2851" y="677"/>
                  </a:cubicBezTo>
                  <a:cubicBezTo>
                    <a:pt x="2030" y="1274"/>
                    <a:pt x="1067" y="1585"/>
                    <a:pt x="55" y="1585"/>
                  </a:cubicBezTo>
                  <a:lnTo>
                    <a:pt x="0" y="1585"/>
                  </a:lnTo>
                </a:path>
              </a:pathLst>
            </a:custGeom>
            <a:solidFill>
              <a:srgbClr val="B41F7A"/>
            </a:solidFill>
            <a:ln>
              <a:noFill/>
            </a:ln>
            <a:effectLst/>
          </p:spPr>
          <p:txBody>
            <a:bodyPr wrap="none" anchor="ctr"/>
            <a:lstStyle/>
            <a:p>
              <a:endParaRPr lang="en-US"/>
            </a:p>
          </p:txBody>
        </p:sp>
        <p:sp>
          <p:nvSpPr>
            <p:cNvPr id="7" name="Freeform 368">
              <a:extLst>
                <a:ext uri="{FF2B5EF4-FFF2-40B4-BE49-F238E27FC236}">
                  <a16:creationId xmlns:a16="http://schemas.microsoft.com/office/drawing/2014/main" id="{0A55155F-2169-8148-86C8-080AF2EBA8D3}"/>
                </a:ext>
              </a:extLst>
            </p:cNvPr>
            <p:cNvSpPr>
              <a:spLocks noChangeArrowheads="1"/>
            </p:cNvSpPr>
            <p:nvPr/>
          </p:nvSpPr>
          <p:spPr bwMode="auto">
            <a:xfrm>
              <a:off x="3933019" y="8165168"/>
              <a:ext cx="2511140" cy="3012388"/>
            </a:xfrm>
            <a:custGeom>
              <a:avLst/>
              <a:gdLst>
                <a:gd name="T0" fmla="*/ 0 w 2255"/>
                <a:gd name="T1" fmla="*/ 2055 h 2701"/>
                <a:gd name="T2" fmla="*/ 0 w 2255"/>
                <a:gd name="T3" fmla="*/ 2055 h 2701"/>
                <a:gd name="T4" fmla="*/ 48 w 2255"/>
                <a:gd name="T5" fmla="*/ 2023 h 2701"/>
                <a:gd name="T6" fmla="*/ 916 w 2255"/>
                <a:gd name="T7" fmla="*/ 1155 h 2701"/>
                <a:gd name="T8" fmla="*/ 1481 w 2255"/>
                <a:gd name="T9" fmla="*/ 48 h 2701"/>
                <a:gd name="T10" fmla="*/ 1497 w 2255"/>
                <a:gd name="T11" fmla="*/ 0 h 2701"/>
                <a:gd name="T12" fmla="*/ 2254 w 2255"/>
                <a:gd name="T13" fmla="*/ 247 h 2701"/>
                <a:gd name="T14" fmla="*/ 2238 w 2255"/>
                <a:gd name="T15" fmla="*/ 295 h 2701"/>
                <a:gd name="T16" fmla="*/ 1561 w 2255"/>
                <a:gd name="T17" fmla="*/ 1625 h 2701"/>
                <a:gd name="T18" fmla="*/ 518 w 2255"/>
                <a:gd name="T19" fmla="*/ 2668 h 2701"/>
                <a:gd name="T20" fmla="*/ 470 w 2255"/>
                <a:gd name="T21" fmla="*/ 2700 h 2701"/>
                <a:gd name="T22" fmla="*/ 0 w 2255"/>
                <a:gd name="T23" fmla="*/ 2055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1">
                  <a:moveTo>
                    <a:pt x="0" y="2055"/>
                  </a:moveTo>
                  <a:lnTo>
                    <a:pt x="0" y="2055"/>
                  </a:lnTo>
                  <a:cubicBezTo>
                    <a:pt x="48" y="2023"/>
                    <a:pt x="48" y="2023"/>
                    <a:pt x="48" y="2023"/>
                  </a:cubicBezTo>
                  <a:cubicBezTo>
                    <a:pt x="382" y="1784"/>
                    <a:pt x="669" y="1489"/>
                    <a:pt x="916" y="1155"/>
                  </a:cubicBezTo>
                  <a:cubicBezTo>
                    <a:pt x="1163" y="820"/>
                    <a:pt x="1354" y="446"/>
                    <a:pt x="1481" y="48"/>
                  </a:cubicBezTo>
                  <a:cubicBezTo>
                    <a:pt x="1497" y="0"/>
                    <a:pt x="1497" y="0"/>
                    <a:pt x="1497" y="0"/>
                  </a:cubicBezTo>
                  <a:cubicBezTo>
                    <a:pt x="2254" y="247"/>
                    <a:pt x="2254" y="247"/>
                    <a:pt x="2254" y="247"/>
                  </a:cubicBezTo>
                  <a:cubicBezTo>
                    <a:pt x="2238" y="295"/>
                    <a:pt x="2238" y="295"/>
                    <a:pt x="2238" y="295"/>
                  </a:cubicBezTo>
                  <a:cubicBezTo>
                    <a:pt x="2086" y="773"/>
                    <a:pt x="1855" y="1219"/>
                    <a:pt x="1561" y="1625"/>
                  </a:cubicBezTo>
                  <a:cubicBezTo>
                    <a:pt x="1266" y="2023"/>
                    <a:pt x="916" y="2381"/>
                    <a:pt x="518" y="2668"/>
                  </a:cubicBezTo>
                  <a:cubicBezTo>
                    <a:pt x="470" y="2700"/>
                    <a:pt x="470" y="2700"/>
                    <a:pt x="470" y="2700"/>
                  </a:cubicBezTo>
                  <a:lnTo>
                    <a:pt x="0" y="2055"/>
                  </a:lnTo>
                </a:path>
              </a:pathLst>
            </a:custGeom>
            <a:solidFill>
              <a:srgbClr val="EDA13E"/>
            </a:solidFill>
            <a:ln>
              <a:noFill/>
            </a:ln>
            <a:effectLst/>
          </p:spPr>
          <p:txBody>
            <a:bodyPr wrap="none" anchor="ctr"/>
            <a:lstStyle/>
            <a:p>
              <a:endParaRPr lang="en-US"/>
            </a:p>
          </p:txBody>
        </p:sp>
        <p:sp>
          <p:nvSpPr>
            <p:cNvPr id="8" name="Line 370">
              <a:extLst>
                <a:ext uri="{FF2B5EF4-FFF2-40B4-BE49-F238E27FC236}">
                  <a16:creationId xmlns:a16="http://schemas.microsoft.com/office/drawing/2014/main" id="{32F6DF3F-2938-BD4D-BF51-EE02DE58C7BC}"/>
                </a:ext>
              </a:extLst>
            </p:cNvPr>
            <p:cNvSpPr>
              <a:spLocks noChangeShapeType="1"/>
            </p:cNvSpPr>
            <p:nvPr/>
          </p:nvSpPr>
          <p:spPr bwMode="auto">
            <a:xfrm flipH="1">
              <a:off x="6134567"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9" name="Line 371">
              <a:extLst>
                <a:ext uri="{FF2B5EF4-FFF2-40B4-BE49-F238E27FC236}">
                  <a16:creationId xmlns:a16="http://schemas.microsoft.com/office/drawing/2014/main" id="{FD695B73-B2F8-604F-9235-05D969A31DC9}"/>
                </a:ext>
              </a:extLst>
            </p:cNvPr>
            <p:cNvSpPr>
              <a:spLocks noChangeShapeType="1"/>
            </p:cNvSpPr>
            <p:nvPr/>
          </p:nvSpPr>
          <p:spPr bwMode="auto">
            <a:xfrm flipH="1">
              <a:off x="5854458"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0" name="Line 372">
              <a:extLst>
                <a:ext uri="{FF2B5EF4-FFF2-40B4-BE49-F238E27FC236}">
                  <a16:creationId xmlns:a16="http://schemas.microsoft.com/office/drawing/2014/main" id="{CE8F5863-1C31-E94A-872C-236AA0936078}"/>
                </a:ext>
              </a:extLst>
            </p:cNvPr>
            <p:cNvSpPr>
              <a:spLocks noChangeShapeType="1"/>
            </p:cNvSpPr>
            <p:nvPr/>
          </p:nvSpPr>
          <p:spPr bwMode="auto">
            <a:xfrm flipH="1">
              <a:off x="5569436"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1" name="Line 373">
              <a:extLst>
                <a:ext uri="{FF2B5EF4-FFF2-40B4-BE49-F238E27FC236}">
                  <a16:creationId xmlns:a16="http://schemas.microsoft.com/office/drawing/2014/main" id="{3F78E116-88BE-424F-8426-F5289049A1C7}"/>
                </a:ext>
              </a:extLst>
            </p:cNvPr>
            <p:cNvSpPr>
              <a:spLocks noChangeShapeType="1"/>
            </p:cNvSpPr>
            <p:nvPr/>
          </p:nvSpPr>
          <p:spPr bwMode="auto">
            <a:xfrm flipH="1">
              <a:off x="5284414"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2" name="Line 374">
              <a:extLst>
                <a:ext uri="{FF2B5EF4-FFF2-40B4-BE49-F238E27FC236}">
                  <a16:creationId xmlns:a16="http://schemas.microsoft.com/office/drawing/2014/main" id="{6ECB9C51-5512-D341-8DEE-25BC594A98E2}"/>
                </a:ext>
              </a:extLst>
            </p:cNvPr>
            <p:cNvSpPr>
              <a:spLocks noChangeShapeType="1"/>
            </p:cNvSpPr>
            <p:nvPr/>
          </p:nvSpPr>
          <p:spPr bwMode="auto">
            <a:xfrm flipH="1">
              <a:off x="4999393"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3" name="Line 375">
              <a:extLst>
                <a:ext uri="{FF2B5EF4-FFF2-40B4-BE49-F238E27FC236}">
                  <a16:creationId xmlns:a16="http://schemas.microsoft.com/office/drawing/2014/main" id="{60BBF185-F8E8-A64F-9824-29CD57013338}"/>
                </a:ext>
              </a:extLst>
            </p:cNvPr>
            <p:cNvSpPr>
              <a:spLocks noChangeShapeType="1"/>
            </p:cNvSpPr>
            <p:nvPr/>
          </p:nvSpPr>
          <p:spPr bwMode="auto">
            <a:xfrm flipH="1">
              <a:off x="4719286"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4" name="Line 376">
              <a:extLst>
                <a:ext uri="{FF2B5EF4-FFF2-40B4-BE49-F238E27FC236}">
                  <a16:creationId xmlns:a16="http://schemas.microsoft.com/office/drawing/2014/main" id="{0B44548D-0436-1B4D-82BA-3F36597C0B2A}"/>
                </a:ext>
              </a:extLst>
            </p:cNvPr>
            <p:cNvSpPr>
              <a:spLocks noChangeShapeType="1"/>
            </p:cNvSpPr>
            <p:nvPr/>
          </p:nvSpPr>
          <p:spPr bwMode="auto">
            <a:xfrm flipH="1">
              <a:off x="4434264"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5" name="Line 377">
              <a:extLst>
                <a:ext uri="{FF2B5EF4-FFF2-40B4-BE49-F238E27FC236}">
                  <a16:creationId xmlns:a16="http://schemas.microsoft.com/office/drawing/2014/main" id="{1B930512-8211-0549-8411-C7237814C285}"/>
                </a:ext>
              </a:extLst>
            </p:cNvPr>
            <p:cNvSpPr>
              <a:spLocks noChangeShapeType="1"/>
            </p:cNvSpPr>
            <p:nvPr/>
          </p:nvSpPr>
          <p:spPr bwMode="auto">
            <a:xfrm flipH="1">
              <a:off x="4149243"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6" name="Line 378">
              <a:extLst>
                <a:ext uri="{FF2B5EF4-FFF2-40B4-BE49-F238E27FC236}">
                  <a16:creationId xmlns:a16="http://schemas.microsoft.com/office/drawing/2014/main" id="{97AF0131-21D4-1D48-8255-173B0EE6F7FC}"/>
                </a:ext>
              </a:extLst>
            </p:cNvPr>
            <p:cNvSpPr>
              <a:spLocks noChangeShapeType="1"/>
            </p:cNvSpPr>
            <p:nvPr/>
          </p:nvSpPr>
          <p:spPr bwMode="auto">
            <a:xfrm flipH="1">
              <a:off x="3864221"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7" name="Freeform 379">
              <a:extLst>
                <a:ext uri="{FF2B5EF4-FFF2-40B4-BE49-F238E27FC236}">
                  <a16:creationId xmlns:a16="http://schemas.microsoft.com/office/drawing/2014/main" id="{E06F29DA-7B97-804D-A43F-12391EF183B4}"/>
                </a:ext>
              </a:extLst>
            </p:cNvPr>
            <p:cNvSpPr>
              <a:spLocks noChangeArrowheads="1"/>
            </p:cNvSpPr>
            <p:nvPr/>
          </p:nvSpPr>
          <p:spPr bwMode="auto">
            <a:xfrm>
              <a:off x="3603768" y="1678463"/>
              <a:ext cx="127768" cy="44229"/>
            </a:xfrm>
            <a:custGeom>
              <a:avLst/>
              <a:gdLst>
                <a:gd name="T0" fmla="*/ 112 w 113"/>
                <a:gd name="T1" fmla="*/ 0 h 41"/>
                <a:gd name="T2" fmla="*/ 40 w 113"/>
                <a:gd name="T3" fmla="*/ 0 h 41"/>
                <a:gd name="T4" fmla="*/ 0 w 113"/>
                <a:gd name="T5" fmla="*/ 40 h 41"/>
              </a:gdLst>
              <a:ahLst/>
              <a:cxnLst>
                <a:cxn ang="0">
                  <a:pos x="T0" y="T1"/>
                </a:cxn>
                <a:cxn ang="0">
                  <a:pos x="T2" y="T3"/>
                </a:cxn>
                <a:cxn ang="0">
                  <a:pos x="T4" y="T5"/>
                </a:cxn>
              </a:cxnLst>
              <a:rect l="0" t="0" r="r" b="b"/>
              <a:pathLst>
                <a:path w="113" h="41">
                  <a:moveTo>
                    <a:pt x="112" y="0"/>
                  </a:moveTo>
                  <a:lnTo>
                    <a:pt x="40" y="0"/>
                  </a:lnTo>
                  <a:lnTo>
                    <a:pt x="0" y="4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8" name="Line 380">
              <a:extLst>
                <a:ext uri="{FF2B5EF4-FFF2-40B4-BE49-F238E27FC236}">
                  <a16:creationId xmlns:a16="http://schemas.microsoft.com/office/drawing/2014/main" id="{39489DCB-CD4C-5840-B2C1-7D81D07BE59D}"/>
                </a:ext>
              </a:extLst>
            </p:cNvPr>
            <p:cNvSpPr>
              <a:spLocks noChangeShapeType="1"/>
            </p:cNvSpPr>
            <p:nvPr/>
          </p:nvSpPr>
          <p:spPr bwMode="auto">
            <a:xfrm flipH="1">
              <a:off x="3412117" y="1830804"/>
              <a:ext cx="98283" cy="108112"/>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9" name="Line 381">
              <a:extLst>
                <a:ext uri="{FF2B5EF4-FFF2-40B4-BE49-F238E27FC236}">
                  <a16:creationId xmlns:a16="http://schemas.microsoft.com/office/drawing/2014/main" id="{95643E82-7587-DC49-BC30-C0E6E404B9C4}"/>
                </a:ext>
              </a:extLst>
            </p:cNvPr>
            <p:cNvSpPr>
              <a:spLocks noChangeShapeType="1"/>
            </p:cNvSpPr>
            <p:nvPr/>
          </p:nvSpPr>
          <p:spPr bwMode="auto">
            <a:xfrm>
              <a:off x="5716861"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0" name="Line 382">
              <a:extLst>
                <a:ext uri="{FF2B5EF4-FFF2-40B4-BE49-F238E27FC236}">
                  <a16:creationId xmlns:a16="http://schemas.microsoft.com/office/drawing/2014/main" id="{D358734F-B9C8-BE43-A8DC-AC5B032EB038}"/>
                </a:ext>
              </a:extLst>
            </p:cNvPr>
            <p:cNvSpPr>
              <a:spLocks noChangeShapeType="1"/>
            </p:cNvSpPr>
            <p:nvPr/>
          </p:nvSpPr>
          <p:spPr bwMode="auto">
            <a:xfrm>
              <a:off x="6001883"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1" name="Line 383">
              <a:extLst>
                <a:ext uri="{FF2B5EF4-FFF2-40B4-BE49-F238E27FC236}">
                  <a16:creationId xmlns:a16="http://schemas.microsoft.com/office/drawing/2014/main" id="{AA567CB0-C7D0-4546-8B67-2094E0252F16}"/>
                </a:ext>
              </a:extLst>
            </p:cNvPr>
            <p:cNvSpPr>
              <a:spLocks noChangeShapeType="1"/>
            </p:cNvSpPr>
            <p:nvPr/>
          </p:nvSpPr>
          <p:spPr bwMode="auto">
            <a:xfrm>
              <a:off x="6281993"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2" name="Line 384">
              <a:extLst>
                <a:ext uri="{FF2B5EF4-FFF2-40B4-BE49-F238E27FC236}">
                  <a16:creationId xmlns:a16="http://schemas.microsoft.com/office/drawing/2014/main" id="{EA681CC9-5ABA-3248-A4A7-CB9CD72FD3B6}"/>
                </a:ext>
              </a:extLst>
            </p:cNvPr>
            <p:cNvSpPr>
              <a:spLocks noChangeShapeType="1"/>
            </p:cNvSpPr>
            <p:nvPr/>
          </p:nvSpPr>
          <p:spPr bwMode="auto">
            <a:xfrm>
              <a:off x="6567014"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3" name="Line 385">
              <a:extLst>
                <a:ext uri="{FF2B5EF4-FFF2-40B4-BE49-F238E27FC236}">
                  <a16:creationId xmlns:a16="http://schemas.microsoft.com/office/drawing/2014/main" id="{91F26741-DBCE-384F-B4F7-C04E11D09316}"/>
                </a:ext>
              </a:extLst>
            </p:cNvPr>
            <p:cNvSpPr>
              <a:spLocks noChangeShapeType="1"/>
            </p:cNvSpPr>
            <p:nvPr/>
          </p:nvSpPr>
          <p:spPr bwMode="auto">
            <a:xfrm>
              <a:off x="6852036"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4" name="Line 386">
              <a:extLst>
                <a:ext uri="{FF2B5EF4-FFF2-40B4-BE49-F238E27FC236}">
                  <a16:creationId xmlns:a16="http://schemas.microsoft.com/office/drawing/2014/main" id="{6F66E14C-E7D6-D147-95EB-7B8BEE4DDFBE}"/>
                </a:ext>
              </a:extLst>
            </p:cNvPr>
            <p:cNvSpPr>
              <a:spLocks noChangeShapeType="1"/>
            </p:cNvSpPr>
            <p:nvPr/>
          </p:nvSpPr>
          <p:spPr bwMode="auto">
            <a:xfrm>
              <a:off x="7137058"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5" name="Line 387">
              <a:extLst>
                <a:ext uri="{FF2B5EF4-FFF2-40B4-BE49-F238E27FC236}">
                  <a16:creationId xmlns:a16="http://schemas.microsoft.com/office/drawing/2014/main" id="{7AE857E7-44C1-BA4F-8375-C42C5C52CF05}"/>
                </a:ext>
              </a:extLst>
            </p:cNvPr>
            <p:cNvSpPr>
              <a:spLocks noChangeShapeType="1"/>
            </p:cNvSpPr>
            <p:nvPr/>
          </p:nvSpPr>
          <p:spPr bwMode="auto">
            <a:xfrm>
              <a:off x="7422080"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6" name="Line 388">
              <a:extLst>
                <a:ext uri="{FF2B5EF4-FFF2-40B4-BE49-F238E27FC236}">
                  <a16:creationId xmlns:a16="http://schemas.microsoft.com/office/drawing/2014/main" id="{A214FDBA-4EC5-5241-8B30-1FE689861B72}"/>
                </a:ext>
              </a:extLst>
            </p:cNvPr>
            <p:cNvSpPr>
              <a:spLocks noChangeShapeType="1"/>
            </p:cNvSpPr>
            <p:nvPr/>
          </p:nvSpPr>
          <p:spPr bwMode="auto">
            <a:xfrm>
              <a:off x="7702186"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7" name="Line 389">
              <a:extLst>
                <a:ext uri="{FF2B5EF4-FFF2-40B4-BE49-F238E27FC236}">
                  <a16:creationId xmlns:a16="http://schemas.microsoft.com/office/drawing/2014/main" id="{7C5E9A8F-8FDD-1A44-BF04-D0F310267E08}"/>
                </a:ext>
              </a:extLst>
            </p:cNvPr>
            <p:cNvSpPr>
              <a:spLocks noChangeShapeType="1"/>
            </p:cNvSpPr>
            <p:nvPr/>
          </p:nvSpPr>
          <p:spPr bwMode="auto">
            <a:xfrm>
              <a:off x="7987208"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8" name="Line 390">
              <a:extLst>
                <a:ext uri="{FF2B5EF4-FFF2-40B4-BE49-F238E27FC236}">
                  <a16:creationId xmlns:a16="http://schemas.microsoft.com/office/drawing/2014/main" id="{0EA9B8C0-EDFD-1046-AD55-42F87E61706A}"/>
                </a:ext>
              </a:extLst>
            </p:cNvPr>
            <p:cNvSpPr>
              <a:spLocks noChangeShapeType="1"/>
            </p:cNvSpPr>
            <p:nvPr/>
          </p:nvSpPr>
          <p:spPr bwMode="auto">
            <a:xfrm>
              <a:off x="8272230" y="3924240"/>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9" name="Line 391">
              <a:extLst>
                <a:ext uri="{FF2B5EF4-FFF2-40B4-BE49-F238E27FC236}">
                  <a16:creationId xmlns:a16="http://schemas.microsoft.com/office/drawing/2014/main" id="{6A9289EF-1274-C94D-8B8B-4554E3135E0E}"/>
                </a:ext>
              </a:extLst>
            </p:cNvPr>
            <p:cNvSpPr>
              <a:spLocks noChangeShapeType="1"/>
            </p:cNvSpPr>
            <p:nvPr/>
          </p:nvSpPr>
          <p:spPr bwMode="auto">
            <a:xfrm>
              <a:off x="6630897"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0" name="Line 392">
              <a:extLst>
                <a:ext uri="{FF2B5EF4-FFF2-40B4-BE49-F238E27FC236}">
                  <a16:creationId xmlns:a16="http://schemas.microsoft.com/office/drawing/2014/main" id="{ED83F3A6-9F88-3742-A5D4-543111D2D583}"/>
                </a:ext>
              </a:extLst>
            </p:cNvPr>
            <p:cNvSpPr>
              <a:spLocks noChangeShapeType="1"/>
            </p:cNvSpPr>
            <p:nvPr/>
          </p:nvSpPr>
          <p:spPr bwMode="auto">
            <a:xfrm>
              <a:off x="6915919"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1" name="Line 393">
              <a:extLst>
                <a:ext uri="{FF2B5EF4-FFF2-40B4-BE49-F238E27FC236}">
                  <a16:creationId xmlns:a16="http://schemas.microsoft.com/office/drawing/2014/main" id="{16BB54F5-8C56-B548-B2EF-F47C4745ECC1}"/>
                </a:ext>
              </a:extLst>
            </p:cNvPr>
            <p:cNvSpPr>
              <a:spLocks noChangeShapeType="1"/>
            </p:cNvSpPr>
            <p:nvPr/>
          </p:nvSpPr>
          <p:spPr bwMode="auto">
            <a:xfrm>
              <a:off x="7200941"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2" name="Line 394">
              <a:extLst>
                <a:ext uri="{FF2B5EF4-FFF2-40B4-BE49-F238E27FC236}">
                  <a16:creationId xmlns:a16="http://schemas.microsoft.com/office/drawing/2014/main" id="{9C62878D-2275-144A-8646-33C664400DCB}"/>
                </a:ext>
              </a:extLst>
            </p:cNvPr>
            <p:cNvSpPr>
              <a:spLocks noChangeShapeType="1"/>
            </p:cNvSpPr>
            <p:nvPr/>
          </p:nvSpPr>
          <p:spPr bwMode="auto">
            <a:xfrm>
              <a:off x="7481050"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3" name="Line 395">
              <a:extLst>
                <a:ext uri="{FF2B5EF4-FFF2-40B4-BE49-F238E27FC236}">
                  <a16:creationId xmlns:a16="http://schemas.microsoft.com/office/drawing/2014/main" id="{6A2E1EEE-E9D7-8046-88D4-F7BD7218B303}"/>
                </a:ext>
              </a:extLst>
            </p:cNvPr>
            <p:cNvSpPr>
              <a:spLocks noChangeShapeType="1"/>
            </p:cNvSpPr>
            <p:nvPr/>
          </p:nvSpPr>
          <p:spPr bwMode="auto">
            <a:xfrm>
              <a:off x="7766072"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4" name="Line 396">
              <a:extLst>
                <a:ext uri="{FF2B5EF4-FFF2-40B4-BE49-F238E27FC236}">
                  <a16:creationId xmlns:a16="http://schemas.microsoft.com/office/drawing/2014/main" id="{0BAC68DC-5BAC-B440-B154-FC2AB78A8D22}"/>
                </a:ext>
              </a:extLst>
            </p:cNvPr>
            <p:cNvSpPr>
              <a:spLocks noChangeShapeType="1"/>
            </p:cNvSpPr>
            <p:nvPr/>
          </p:nvSpPr>
          <p:spPr bwMode="auto">
            <a:xfrm>
              <a:off x="8051094"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5" name="Line 397">
              <a:extLst>
                <a:ext uri="{FF2B5EF4-FFF2-40B4-BE49-F238E27FC236}">
                  <a16:creationId xmlns:a16="http://schemas.microsoft.com/office/drawing/2014/main" id="{C84BCC2E-BE5E-1245-AA45-C11AA6F0B561}"/>
                </a:ext>
              </a:extLst>
            </p:cNvPr>
            <p:cNvSpPr>
              <a:spLocks noChangeShapeType="1"/>
            </p:cNvSpPr>
            <p:nvPr/>
          </p:nvSpPr>
          <p:spPr bwMode="auto">
            <a:xfrm>
              <a:off x="8336116"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6" name="Line 398">
              <a:extLst>
                <a:ext uri="{FF2B5EF4-FFF2-40B4-BE49-F238E27FC236}">
                  <a16:creationId xmlns:a16="http://schemas.microsoft.com/office/drawing/2014/main" id="{8024D14E-8A2F-384A-96B7-48EC820B6406}"/>
                </a:ext>
              </a:extLst>
            </p:cNvPr>
            <p:cNvSpPr>
              <a:spLocks noChangeShapeType="1"/>
            </p:cNvSpPr>
            <p:nvPr/>
          </p:nvSpPr>
          <p:spPr bwMode="auto">
            <a:xfrm>
              <a:off x="8621138"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7" name="Line 399">
              <a:extLst>
                <a:ext uri="{FF2B5EF4-FFF2-40B4-BE49-F238E27FC236}">
                  <a16:creationId xmlns:a16="http://schemas.microsoft.com/office/drawing/2014/main" id="{FC644DFB-6F5B-9846-8E31-E325594B7683}"/>
                </a:ext>
              </a:extLst>
            </p:cNvPr>
            <p:cNvSpPr>
              <a:spLocks noChangeShapeType="1"/>
            </p:cNvSpPr>
            <p:nvPr/>
          </p:nvSpPr>
          <p:spPr bwMode="auto">
            <a:xfrm>
              <a:off x="8901244"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8" name="Line 400">
              <a:extLst>
                <a:ext uri="{FF2B5EF4-FFF2-40B4-BE49-F238E27FC236}">
                  <a16:creationId xmlns:a16="http://schemas.microsoft.com/office/drawing/2014/main" id="{8CFFFD75-3458-AA4C-837A-8E3E1FEA5A97}"/>
                </a:ext>
              </a:extLst>
            </p:cNvPr>
            <p:cNvSpPr>
              <a:spLocks noChangeShapeType="1"/>
            </p:cNvSpPr>
            <p:nvPr/>
          </p:nvSpPr>
          <p:spPr bwMode="auto">
            <a:xfrm>
              <a:off x="9186266" y="6862914"/>
              <a:ext cx="73714"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9" name="Line 401">
              <a:extLst>
                <a:ext uri="{FF2B5EF4-FFF2-40B4-BE49-F238E27FC236}">
                  <a16:creationId xmlns:a16="http://schemas.microsoft.com/office/drawing/2014/main" id="{64DA56AE-9533-3946-8D43-552F0D72211D}"/>
                </a:ext>
              </a:extLst>
            </p:cNvPr>
            <p:cNvSpPr>
              <a:spLocks noChangeShapeType="1"/>
            </p:cNvSpPr>
            <p:nvPr/>
          </p:nvSpPr>
          <p:spPr bwMode="auto">
            <a:xfrm>
              <a:off x="5716861"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0" name="Line 402">
              <a:extLst>
                <a:ext uri="{FF2B5EF4-FFF2-40B4-BE49-F238E27FC236}">
                  <a16:creationId xmlns:a16="http://schemas.microsoft.com/office/drawing/2014/main" id="{23E0164A-EDFA-D947-9627-70AE9E22BC9B}"/>
                </a:ext>
              </a:extLst>
            </p:cNvPr>
            <p:cNvSpPr>
              <a:spLocks noChangeShapeType="1"/>
            </p:cNvSpPr>
            <p:nvPr/>
          </p:nvSpPr>
          <p:spPr bwMode="auto">
            <a:xfrm>
              <a:off x="6001883"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1" name="Line 403">
              <a:extLst>
                <a:ext uri="{FF2B5EF4-FFF2-40B4-BE49-F238E27FC236}">
                  <a16:creationId xmlns:a16="http://schemas.microsoft.com/office/drawing/2014/main" id="{55D7BF5B-A0F1-5B45-8A0C-513859E3CD3F}"/>
                </a:ext>
              </a:extLst>
            </p:cNvPr>
            <p:cNvSpPr>
              <a:spLocks noChangeShapeType="1"/>
            </p:cNvSpPr>
            <p:nvPr/>
          </p:nvSpPr>
          <p:spPr bwMode="auto">
            <a:xfrm>
              <a:off x="6281993"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2" name="Line 404">
              <a:extLst>
                <a:ext uri="{FF2B5EF4-FFF2-40B4-BE49-F238E27FC236}">
                  <a16:creationId xmlns:a16="http://schemas.microsoft.com/office/drawing/2014/main" id="{9226F207-3C9C-4A4E-AC2F-68AF8098ACFA}"/>
                </a:ext>
              </a:extLst>
            </p:cNvPr>
            <p:cNvSpPr>
              <a:spLocks noChangeShapeType="1"/>
            </p:cNvSpPr>
            <p:nvPr/>
          </p:nvSpPr>
          <p:spPr bwMode="auto">
            <a:xfrm>
              <a:off x="6567014"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3" name="Line 405">
              <a:extLst>
                <a:ext uri="{FF2B5EF4-FFF2-40B4-BE49-F238E27FC236}">
                  <a16:creationId xmlns:a16="http://schemas.microsoft.com/office/drawing/2014/main" id="{8AE3256E-6B01-E94F-83AD-0640469CBA57}"/>
                </a:ext>
              </a:extLst>
            </p:cNvPr>
            <p:cNvSpPr>
              <a:spLocks noChangeShapeType="1"/>
            </p:cNvSpPr>
            <p:nvPr/>
          </p:nvSpPr>
          <p:spPr bwMode="auto">
            <a:xfrm>
              <a:off x="6852036"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4" name="Line 406">
              <a:extLst>
                <a:ext uri="{FF2B5EF4-FFF2-40B4-BE49-F238E27FC236}">
                  <a16:creationId xmlns:a16="http://schemas.microsoft.com/office/drawing/2014/main" id="{CFE84471-1439-E24B-8F5F-88A991330A6F}"/>
                </a:ext>
              </a:extLst>
            </p:cNvPr>
            <p:cNvSpPr>
              <a:spLocks noChangeShapeType="1"/>
            </p:cNvSpPr>
            <p:nvPr/>
          </p:nvSpPr>
          <p:spPr bwMode="auto">
            <a:xfrm>
              <a:off x="7137058"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5" name="Line 407">
              <a:extLst>
                <a:ext uri="{FF2B5EF4-FFF2-40B4-BE49-F238E27FC236}">
                  <a16:creationId xmlns:a16="http://schemas.microsoft.com/office/drawing/2014/main" id="{7CDC9049-3589-0A4F-8C41-0B15E6E51DC3}"/>
                </a:ext>
              </a:extLst>
            </p:cNvPr>
            <p:cNvSpPr>
              <a:spLocks noChangeShapeType="1"/>
            </p:cNvSpPr>
            <p:nvPr/>
          </p:nvSpPr>
          <p:spPr bwMode="auto">
            <a:xfrm>
              <a:off x="7422080"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6" name="Line 408">
              <a:extLst>
                <a:ext uri="{FF2B5EF4-FFF2-40B4-BE49-F238E27FC236}">
                  <a16:creationId xmlns:a16="http://schemas.microsoft.com/office/drawing/2014/main" id="{9FCE5874-AB01-B548-8426-B63F8BD5E496}"/>
                </a:ext>
              </a:extLst>
            </p:cNvPr>
            <p:cNvSpPr>
              <a:spLocks noChangeShapeType="1"/>
            </p:cNvSpPr>
            <p:nvPr/>
          </p:nvSpPr>
          <p:spPr bwMode="auto">
            <a:xfrm>
              <a:off x="7702186"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7" name="Line 409">
              <a:extLst>
                <a:ext uri="{FF2B5EF4-FFF2-40B4-BE49-F238E27FC236}">
                  <a16:creationId xmlns:a16="http://schemas.microsoft.com/office/drawing/2014/main" id="{5B0A45E2-43F1-4245-BE74-B8DDB9149A15}"/>
                </a:ext>
              </a:extLst>
            </p:cNvPr>
            <p:cNvSpPr>
              <a:spLocks noChangeShapeType="1"/>
            </p:cNvSpPr>
            <p:nvPr/>
          </p:nvSpPr>
          <p:spPr bwMode="auto">
            <a:xfrm>
              <a:off x="7987208"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8" name="Line 410">
              <a:extLst>
                <a:ext uri="{FF2B5EF4-FFF2-40B4-BE49-F238E27FC236}">
                  <a16:creationId xmlns:a16="http://schemas.microsoft.com/office/drawing/2014/main" id="{A4325D27-2F2A-4549-9938-093400ED854A}"/>
                </a:ext>
              </a:extLst>
            </p:cNvPr>
            <p:cNvSpPr>
              <a:spLocks noChangeShapeType="1"/>
            </p:cNvSpPr>
            <p:nvPr/>
          </p:nvSpPr>
          <p:spPr bwMode="auto">
            <a:xfrm>
              <a:off x="8272230" y="9663991"/>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9" name="Line 411">
              <a:extLst>
                <a:ext uri="{FF2B5EF4-FFF2-40B4-BE49-F238E27FC236}">
                  <a16:creationId xmlns:a16="http://schemas.microsoft.com/office/drawing/2014/main" id="{D2CE3B69-9FD0-8644-BCD2-6DA75B4E10FC}"/>
                </a:ext>
              </a:extLst>
            </p:cNvPr>
            <p:cNvSpPr>
              <a:spLocks noChangeShapeType="1"/>
            </p:cNvSpPr>
            <p:nvPr/>
          </p:nvSpPr>
          <p:spPr bwMode="auto">
            <a:xfrm flipH="1">
              <a:off x="6109995"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0" name="Line 412">
              <a:extLst>
                <a:ext uri="{FF2B5EF4-FFF2-40B4-BE49-F238E27FC236}">
                  <a16:creationId xmlns:a16="http://schemas.microsoft.com/office/drawing/2014/main" id="{A694A40C-F6C2-E148-9EC3-A2A831B33309}"/>
                </a:ext>
              </a:extLst>
            </p:cNvPr>
            <p:cNvSpPr>
              <a:spLocks noChangeShapeType="1"/>
            </p:cNvSpPr>
            <p:nvPr/>
          </p:nvSpPr>
          <p:spPr bwMode="auto">
            <a:xfrm flipH="1">
              <a:off x="5824973"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1" name="Line 413">
              <a:extLst>
                <a:ext uri="{FF2B5EF4-FFF2-40B4-BE49-F238E27FC236}">
                  <a16:creationId xmlns:a16="http://schemas.microsoft.com/office/drawing/2014/main" id="{41F59115-16B6-2E43-AC26-21E4ACD6C0FB}"/>
                </a:ext>
              </a:extLst>
            </p:cNvPr>
            <p:cNvSpPr>
              <a:spLocks noChangeShapeType="1"/>
            </p:cNvSpPr>
            <p:nvPr/>
          </p:nvSpPr>
          <p:spPr bwMode="auto">
            <a:xfrm flipH="1">
              <a:off x="5544867"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2" name="Line 414">
              <a:extLst>
                <a:ext uri="{FF2B5EF4-FFF2-40B4-BE49-F238E27FC236}">
                  <a16:creationId xmlns:a16="http://schemas.microsoft.com/office/drawing/2014/main" id="{0537ECC0-D32A-764E-A96A-3552CAE6DC1D}"/>
                </a:ext>
              </a:extLst>
            </p:cNvPr>
            <p:cNvSpPr>
              <a:spLocks noChangeShapeType="1"/>
            </p:cNvSpPr>
            <p:nvPr/>
          </p:nvSpPr>
          <p:spPr bwMode="auto">
            <a:xfrm flipH="1">
              <a:off x="5259845"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3" name="Line 415">
              <a:extLst>
                <a:ext uri="{FF2B5EF4-FFF2-40B4-BE49-F238E27FC236}">
                  <a16:creationId xmlns:a16="http://schemas.microsoft.com/office/drawing/2014/main" id="{15FAE838-7622-654D-AED9-C2EB0B6AA901}"/>
                </a:ext>
              </a:extLst>
            </p:cNvPr>
            <p:cNvSpPr>
              <a:spLocks noChangeShapeType="1"/>
            </p:cNvSpPr>
            <p:nvPr/>
          </p:nvSpPr>
          <p:spPr bwMode="auto">
            <a:xfrm flipH="1">
              <a:off x="4974823"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4" name="Line 416">
              <a:extLst>
                <a:ext uri="{FF2B5EF4-FFF2-40B4-BE49-F238E27FC236}">
                  <a16:creationId xmlns:a16="http://schemas.microsoft.com/office/drawing/2014/main" id="{6972A018-20F0-EF44-AE4C-DF35274893C5}"/>
                </a:ext>
              </a:extLst>
            </p:cNvPr>
            <p:cNvSpPr>
              <a:spLocks noChangeShapeType="1"/>
            </p:cNvSpPr>
            <p:nvPr/>
          </p:nvSpPr>
          <p:spPr bwMode="auto">
            <a:xfrm flipH="1">
              <a:off x="4689801"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5" name="Line 417">
              <a:extLst>
                <a:ext uri="{FF2B5EF4-FFF2-40B4-BE49-F238E27FC236}">
                  <a16:creationId xmlns:a16="http://schemas.microsoft.com/office/drawing/2014/main" id="{420F8A13-E165-CE4F-9717-74AA01E94E33}"/>
                </a:ext>
              </a:extLst>
            </p:cNvPr>
            <p:cNvSpPr>
              <a:spLocks noChangeShapeType="1"/>
            </p:cNvSpPr>
            <p:nvPr/>
          </p:nvSpPr>
          <p:spPr bwMode="auto">
            <a:xfrm flipH="1">
              <a:off x="4404779"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6" name="Line 418">
              <a:extLst>
                <a:ext uri="{FF2B5EF4-FFF2-40B4-BE49-F238E27FC236}">
                  <a16:creationId xmlns:a16="http://schemas.microsoft.com/office/drawing/2014/main" id="{290207CA-790D-4F42-A915-852BFBF8AB0E}"/>
                </a:ext>
              </a:extLst>
            </p:cNvPr>
            <p:cNvSpPr>
              <a:spLocks noChangeShapeType="1"/>
            </p:cNvSpPr>
            <p:nvPr/>
          </p:nvSpPr>
          <p:spPr bwMode="auto">
            <a:xfrm flipH="1">
              <a:off x="4124670"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7" name="Line 419">
              <a:extLst>
                <a:ext uri="{FF2B5EF4-FFF2-40B4-BE49-F238E27FC236}">
                  <a16:creationId xmlns:a16="http://schemas.microsoft.com/office/drawing/2014/main" id="{AEDEFB3B-2FE6-0849-AB96-115C6B0DD259}"/>
                </a:ext>
              </a:extLst>
            </p:cNvPr>
            <p:cNvSpPr>
              <a:spLocks noChangeShapeType="1"/>
            </p:cNvSpPr>
            <p:nvPr/>
          </p:nvSpPr>
          <p:spPr bwMode="auto">
            <a:xfrm flipH="1">
              <a:off x="3839648"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8" name="Freeform 420">
              <a:extLst>
                <a:ext uri="{FF2B5EF4-FFF2-40B4-BE49-F238E27FC236}">
                  <a16:creationId xmlns:a16="http://schemas.microsoft.com/office/drawing/2014/main" id="{826C0850-C623-2B48-916E-BC3BE18BEAE7}"/>
                </a:ext>
              </a:extLst>
            </p:cNvPr>
            <p:cNvSpPr>
              <a:spLocks noChangeArrowheads="1"/>
            </p:cNvSpPr>
            <p:nvPr/>
          </p:nvSpPr>
          <p:spPr bwMode="auto">
            <a:xfrm>
              <a:off x="3593940" y="11988392"/>
              <a:ext cx="108112" cy="54057"/>
            </a:xfrm>
            <a:custGeom>
              <a:avLst/>
              <a:gdLst>
                <a:gd name="T0" fmla="*/ 96 w 97"/>
                <a:gd name="T1" fmla="*/ 48 h 49"/>
                <a:gd name="T2" fmla="*/ 32 w 97"/>
                <a:gd name="T3" fmla="*/ 48 h 49"/>
                <a:gd name="T4" fmla="*/ 0 w 97"/>
                <a:gd name="T5" fmla="*/ 0 h 49"/>
              </a:gdLst>
              <a:ahLst/>
              <a:cxnLst>
                <a:cxn ang="0">
                  <a:pos x="T0" y="T1"/>
                </a:cxn>
                <a:cxn ang="0">
                  <a:pos x="T2" y="T3"/>
                </a:cxn>
                <a:cxn ang="0">
                  <a:pos x="T4" y="T5"/>
                </a:cxn>
              </a:cxnLst>
              <a:rect l="0" t="0" r="r" b="b"/>
              <a:pathLst>
                <a:path w="97" h="49">
                  <a:moveTo>
                    <a:pt x="96" y="48"/>
                  </a:moveTo>
                  <a:lnTo>
                    <a:pt x="32" y="48"/>
                  </a:lnTo>
                  <a:lnTo>
                    <a:pt x="0" y="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9" name="Line 421">
              <a:extLst>
                <a:ext uri="{FF2B5EF4-FFF2-40B4-BE49-F238E27FC236}">
                  <a16:creationId xmlns:a16="http://schemas.microsoft.com/office/drawing/2014/main" id="{E52B94A8-404A-0D4F-812A-80BA84B1376D}"/>
                </a:ext>
              </a:extLst>
            </p:cNvPr>
            <p:cNvSpPr>
              <a:spLocks noChangeShapeType="1"/>
            </p:cNvSpPr>
            <p:nvPr/>
          </p:nvSpPr>
          <p:spPr bwMode="auto">
            <a:xfrm flipH="1" flipV="1">
              <a:off x="3441602" y="11737771"/>
              <a:ext cx="88455" cy="132681"/>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grpSp>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734715" y="1476869"/>
            <a:ext cx="4312551" cy="4147846"/>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818862" y="1340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734715" y="642972"/>
            <a:ext cx="4308887"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102" name="Text Placeholder 23">
            <a:extLst>
              <a:ext uri="{FF2B5EF4-FFF2-40B4-BE49-F238E27FC236}">
                <a16:creationId xmlns:a16="http://schemas.microsoft.com/office/drawing/2014/main" id="{4F90DD39-208A-0846-AC92-FAC36CE191A5}"/>
              </a:ext>
            </a:extLst>
          </p:cNvPr>
          <p:cNvSpPr>
            <a:spLocks noGrp="1"/>
          </p:cNvSpPr>
          <p:nvPr>
            <p:ph type="body" sz="quarter" idx="20" hasCustomPrompt="1"/>
          </p:nvPr>
        </p:nvSpPr>
        <p:spPr>
          <a:xfrm>
            <a:off x="5383588" y="2854742"/>
            <a:ext cx="2219219" cy="442320"/>
          </a:xfrm>
        </p:spPr>
        <p:txBody>
          <a:bodyPr>
            <a:normAutofit/>
          </a:bodyPr>
          <a:lstStyle>
            <a:lvl1pPr marL="0" indent="0" algn="r">
              <a:buNone/>
              <a:defRPr sz="2200" b="1" i="0">
                <a:solidFill>
                  <a:srgbClr val="F16924"/>
                </a:solidFill>
                <a:latin typeface="+mn-lt"/>
              </a:defRPr>
            </a:lvl1pPr>
          </a:lstStyle>
          <a:p>
            <a:pPr lvl="0"/>
            <a:r>
              <a:rPr lang="en-US" dirty="0"/>
              <a:t>Title</a:t>
            </a:r>
          </a:p>
        </p:txBody>
      </p:sp>
      <p:sp>
        <p:nvSpPr>
          <p:cNvPr id="104" name="Text Placeholder 23">
            <a:extLst>
              <a:ext uri="{FF2B5EF4-FFF2-40B4-BE49-F238E27FC236}">
                <a16:creationId xmlns:a16="http://schemas.microsoft.com/office/drawing/2014/main" id="{DFCB3FD5-E40F-CE48-A411-1E3CAE3E9AC8}"/>
              </a:ext>
            </a:extLst>
          </p:cNvPr>
          <p:cNvSpPr>
            <a:spLocks noGrp="1"/>
          </p:cNvSpPr>
          <p:nvPr>
            <p:ph type="body" sz="quarter" idx="22" hasCustomPrompt="1"/>
          </p:nvPr>
        </p:nvSpPr>
        <p:spPr>
          <a:xfrm>
            <a:off x="6505379" y="565819"/>
            <a:ext cx="2219219" cy="442320"/>
          </a:xfrm>
        </p:spPr>
        <p:txBody>
          <a:bodyPr>
            <a:normAutofit/>
          </a:bodyPr>
          <a:lstStyle>
            <a:lvl1pPr marL="0" indent="0" algn="r">
              <a:buNone/>
              <a:defRPr sz="2200" b="1" i="0">
                <a:solidFill>
                  <a:srgbClr val="7F1C58"/>
                </a:solidFill>
                <a:latin typeface="+mn-lt"/>
              </a:defRPr>
            </a:lvl1pPr>
          </a:lstStyle>
          <a:p>
            <a:pPr lvl="0"/>
            <a:r>
              <a:rPr lang="en-US" dirty="0"/>
              <a:t>Title</a:t>
            </a:r>
          </a:p>
        </p:txBody>
      </p:sp>
      <p:sp>
        <p:nvSpPr>
          <p:cNvPr id="106" name="Text Placeholder 23">
            <a:extLst>
              <a:ext uri="{FF2B5EF4-FFF2-40B4-BE49-F238E27FC236}">
                <a16:creationId xmlns:a16="http://schemas.microsoft.com/office/drawing/2014/main" id="{3C479639-2B37-234D-B21C-737A15B07610}"/>
              </a:ext>
            </a:extLst>
          </p:cNvPr>
          <p:cNvSpPr>
            <a:spLocks noGrp="1"/>
          </p:cNvSpPr>
          <p:nvPr>
            <p:ph type="body" sz="quarter" idx="24" hasCustomPrompt="1"/>
          </p:nvPr>
        </p:nvSpPr>
        <p:spPr>
          <a:xfrm>
            <a:off x="6667060" y="5139665"/>
            <a:ext cx="2219219" cy="442320"/>
          </a:xfrm>
        </p:spPr>
        <p:txBody>
          <a:bodyPr>
            <a:normAutofit/>
          </a:bodyPr>
          <a:lstStyle>
            <a:lvl1pPr marL="0" indent="0" algn="r">
              <a:buNone/>
              <a:defRPr sz="2200" b="1" i="0">
                <a:solidFill>
                  <a:srgbClr val="B41F7A"/>
                </a:solidFill>
                <a:latin typeface="+mn-lt"/>
              </a:defRPr>
            </a:lvl1pPr>
          </a:lstStyle>
          <a:p>
            <a:pPr lvl="0"/>
            <a:r>
              <a:rPr lang="en-US" dirty="0"/>
              <a:t>Title</a:t>
            </a:r>
          </a:p>
        </p:txBody>
      </p:sp>
      <p:sp>
        <p:nvSpPr>
          <p:cNvPr id="108" name="Text Placeholder 23">
            <a:extLst>
              <a:ext uri="{FF2B5EF4-FFF2-40B4-BE49-F238E27FC236}">
                <a16:creationId xmlns:a16="http://schemas.microsoft.com/office/drawing/2014/main" id="{AF91F0CE-C7DF-B74F-B4D7-25C7ADC90465}"/>
              </a:ext>
            </a:extLst>
          </p:cNvPr>
          <p:cNvSpPr>
            <a:spLocks noGrp="1"/>
          </p:cNvSpPr>
          <p:nvPr>
            <p:ph type="body" sz="quarter" idx="26" hasCustomPrompt="1"/>
          </p:nvPr>
        </p:nvSpPr>
        <p:spPr>
          <a:xfrm>
            <a:off x="5731326" y="4085773"/>
            <a:ext cx="2219219" cy="442320"/>
          </a:xfrm>
        </p:spPr>
        <p:txBody>
          <a:bodyPr>
            <a:normAutofit/>
          </a:bodyPr>
          <a:lstStyle>
            <a:lvl1pPr marL="0" indent="0" algn="r">
              <a:buNone/>
              <a:defRPr sz="2200" b="1" i="0">
                <a:solidFill>
                  <a:srgbClr val="EDA13E"/>
                </a:solidFill>
                <a:latin typeface="+mn-lt"/>
              </a:defRPr>
            </a:lvl1pPr>
          </a:lstStyle>
          <a:p>
            <a:pPr lvl="0"/>
            <a:r>
              <a:rPr lang="en-US" dirty="0"/>
              <a:t>Title</a:t>
            </a:r>
          </a:p>
        </p:txBody>
      </p:sp>
      <p:sp>
        <p:nvSpPr>
          <p:cNvPr id="110" name="Text Placeholder 23">
            <a:extLst>
              <a:ext uri="{FF2B5EF4-FFF2-40B4-BE49-F238E27FC236}">
                <a16:creationId xmlns:a16="http://schemas.microsoft.com/office/drawing/2014/main" id="{9D34396D-AAEA-8941-B9FA-2158B9F5BCD8}"/>
              </a:ext>
            </a:extLst>
          </p:cNvPr>
          <p:cNvSpPr>
            <a:spLocks noGrp="1"/>
          </p:cNvSpPr>
          <p:nvPr>
            <p:ph type="body" sz="quarter" idx="28" hasCustomPrompt="1"/>
          </p:nvPr>
        </p:nvSpPr>
        <p:spPr>
          <a:xfrm>
            <a:off x="5779231" y="1598285"/>
            <a:ext cx="2219219" cy="442320"/>
          </a:xfrm>
        </p:spPr>
        <p:txBody>
          <a:bodyPr>
            <a:normAutofit/>
          </a:bodyPr>
          <a:lstStyle>
            <a:lvl1pPr marL="0" indent="0" algn="r">
              <a:buNone/>
              <a:defRPr sz="2200" b="1" i="0">
                <a:solidFill>
                  <a:srgbClr val="B41F7A"/>
                </a:solidFill>
                <a:latin typeface="+mn-lt"/>
              </a:defRPr>
            </a:lvl1pPr>
          </a:lstStyle>
          <a:p>
            <a:pPr lvl="0"/>
            <a:r>
              <a:rPr lang="en-US" dirty="0"/>
              <a:t>Title</a:t>
            </a:r>
          </a:p>
        </p:txBody>
      </p:sp>
      <p:sp>
        <p:nvSpPr>
          <p:cNvPr id="72" name="Rectangle 71">
            <a:extLst>
              <a:ext uri="{FF2B5EF4-FFF2-40B4-BE49-F238E27FC236}">
                <a16:creationId xmlns:a16="http://schemas.microsoft.com/office/drawing/2014/main" id="{7CB6C5C2-8CFF-FF43-9D25-7BEE5D78D5E9}"/>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73" name="Picture 72" descr="Logo&#10;&#10;Description automatically generated">
            <a:extLst>
              <a:ext uri="{FF2B5EF4-FFF2-40B4-BE49-F238E27FC236}">
                <a16:creationId xmlns:a16="http://schemas.microsoft.com/office/drawing/2014/main" id="{2477F655-C5F2-D844-85E9-02F328E47159}"/>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5825312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 point number graph with icons A">
    <p:spTree>
      <p:nvGrpSpPr>
        <p:cNvPr id="1" name=""/>
        <p:cNvGrpSpPr/>
        <p:nvPr/>
      </p:nvGrpSpPr>
      <p:grpSpPr>
        <a:xfrm>
          <a:off x="0" y="0"/>
          <a:ext cx="0" cy="0"/>
          <a:chOff x="0" y="0"/>
          <a:chExt cx="0" cy="0"/>
        </a:xfrm>
      </p:grpSpPr>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411246" y="1263516"/>
            <a:ext cx="4312551" cy="748242"/>
          </a:xfrm>
        </p:spPr>
        <p:txBody>
          <a:bodyPr/>
          <a:lstStyle>
            <a:lvl1pPr>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439198" y="11094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76" name="Freeform 169">
            <a:extLst>
              <a:ext uri="{FF2B5EF4-FFF2-40B4-BE49-F238E27FC236}">
                <a16:creationId xmlns:a16="http://schemas.microsoft.com/office/drawing/2014/main" id="{38720E63-EB1C-BB42-A9BC-BBD00E84BC82}"/>
              </a:ext>
            </a:extLst>
          </p:cNvPr>
          <p:cNvSpPr>
            <a:spLocks noChangeArrowheads="1"/>
          </p:cNvSpPr>
          <p:nvPr/>
        </p:nvSpPr>
        <p:spPr bwMode="auto">
          <a:xfrm>
            <a:off x="319177" y="1965673"/>
            <a:ext cx="2066436" cy="2071148"/>
          </a:xfrm>
          <a:custGeom>
            <a:avLst/>
            <a:gdLst>
              <a:gd name="T0" fmla="*/ 3867 w 3868"/>
              <a:gd name="T1" fmla="*/ 1932 h 3876"/>
              <a:gd name="T2" fmla="*/ 3867 w 3868"/>
              <a:gd name="T3" fmla="*/ 1932 h 3876"/>
              <a:gd name="T4" fmla="*/ 1933 w 3868"/>
              <a:gd name="T5" fmla="*/ 3875 h 3876"/>
              <a:gd name="T6" fmla="*/ 0 w 3868"/>
              <a:gd name="T7" fmla="*/ 1932 h 3876"/>
              <a:gd name="T8" fmla="*/ 1933 w 3868"/>
              <a:gd name="T9" fmla="*/ 0 h 3876"/>
              <a:gd name="T10" fmla="*/ 3867 w 3868"/>
              <a:gd name="T11" fmla="*/ 1932 h 3876"/>
            </a:gdLst>
            <a:ahLst/>
            <a:cxnLst>
              <a:cxn ang="0">
                <a:pos x="T0" y="T1"/>
              </a:cxn>
              <a:cxn ang="0">
                <a:pos x="T2" y="T3"/>
              </a:cxn>
              <a:cxn ang="0">
                <a:pos x="T4" y="T5"/>
              </a:cxn>
              <a:cxn ang="0">
                <a:pos x="T6" y="T7"/>
              </a:cxn>
              <a:cxn ang="0">
                <a:pos x="T8" y="T9"/>
              </a:cxn>
              <a:cxn ang="0">
                <a:pos x="T10" y="T11"/>
              </a:cxn>
            </a:cxnLst>
            <a:rect l="0" t="0" r="r" b="b"/>
            <a:pathLst>
              <a:path w="3868" h="3876">
                <a:moveTo>
                  <a:pt x="3867" y="1932"/>
                </a:moveTo>
                <a:lnTo>
                  <a:pt x="3867" y="1932"/>
                </a:lnTo>
                <a:cubicBezTo>
                  <a:pt x="3867" y="3007"/>
                  <a:pt x="3000" y="3875"/>
                  <a:pt x="1933" y="3875"/>
                </a:cubicBezTo>
                <a:cubicBezTo>
                  <a:pt x="867" y="3875"/>
                  <a:pt x="0" y="3007"/>
                  <a:pt x="0" y="1932"/>
                </a:cubicBezTo>
                <a:cubicBezTo>
                  <a:pt x="0" y="866"/>
                  <a:pt x="867" y="0"/>
                  <a:pt x="1933" y="0"/>
                </a:cubicBezTo>
                <a:cubicBezTo>
                  <a:pt x="3000" y="0"/>
                  <a:pt x="3867" y="866"/>
                  <a:pt x="3867" y="1932"/>
                </a:cubicBezTo>
              </a:path>
            </a:pathLst>
          </a:custGeom>
          <a:solidFill>
            <a:srgbClr val="7F1C58"/>
          </a:solidFill>
          <a:ln w="9525" cap="flat">
            <a:noFill/>
            <a:bevel/>
            <a:headEnd/>
            <a:tailEnd/>
          </a:ln>
          <a:effectLst/>
        </p:spPr>
        <p:txBody>
          <a:bodyPr wrap="none" anchor="ctr"/>
          <a:lstStyle/>
          <a:p>
            <a:endParaRPr lang="en-US"/>
          </a:p>
        </p:txBody>
      </p:sp>
      <p:sp>
        <p:nvSpPr>
          <p:cNvPr id="77" name="Freeform 170">
            <a:extLst>
              <a:ext uri="{FF2B5EF4-FFF2-40B4-BE49-F238E27FC236}">
                <a16:creationId xmlns:a16="http://schemas.microsoft.com/office/drawing/2014/main" id="{C82BD997-3E2D-3F4D-A216-D21A3434D7F1}"/>
              </a:ext>
            </a:extLst>
          </p:cNvPr>
          <p:cNvSpPr>
            <a:spLocks noChangeArrowheads="1"/>
          </p:cNvSpPr>
          <p:nvPr/>
        </p:nvSpPr>
        <p:spPr bwMode="auto">
          <a:xfrm>
            <a:off x="4810198" y="2554736"/>
            <a:ext cx="2365680" cy="2365680"/>
          </a:xfrm>
          <a:custGeom>
            <a:avLst/>
            <a:gdLst>
              <a:gd name="T0" fmla="*/ 4427 w 4428"/>
              <a:gd name="T1" fmla="*/ 2213 h 4428"/>
              <a:gd name="T2" fmla="*/ 4427 w 4428"/>
              <a:gd name="T3" fmla="*/ 2213 h 4428"/>
              <a:gd name="T4" fmla="*/ 2213 w 4428"/>
              <a:gd name="T5" fmla="*/ 4427 h 4428"/>
              <a:gd name="T6" fmla="*/ 0 w 4428"/>
              <a:gd name="T7" fmla="*/ 2213 h 4428"/>
              <a:gd name="T8" fmla="*/ 2213 w 4428"/>
              <a:gd name="T9" fmla="*/ 0 h 4428"/>
              <a:gd name="T10" fmla="*/ 4427 w 4428"/>
              <a:gd name="T11" fmla="*/ 2213 h 4428"/>
            </a:gdLst>
            <a:ahLst/>
            <a:cxnLst>
              <a:cxn ang="0">
                <a:pos x="T0" y="T1"/>
              </a:cxn>
              <a:cxn ang="0">
                <a:pos x="T2" y="T3"/>
              </a:cxn>
              <a:cxn ang="0">
                <a:pos x="T4" y="T5"/>
              </a:cxn>
              <a:cxn ang="0">
                <a:pos x="T6" y="T7"/>
              </a:cxn>
              <a:cxn ang="0">
                <a:pos x="T8" y="T9"/>
              </a:cxn>
              <a:cxn ang="0">
                <a:pos x="T10" y="T11"/>
              </a:cxn>
            </a:cxnLst>
            <a:rect l="0" t="0" r="r" b="b"/>
            <a:pathLst>
              <a:path w="4428" h="4428">
                <a:moveTo>
                  <a:pt x="4427" y="2213"/>
                </a:moveTo>
                <a:lnTo>
                  <a:pt x="4427" y="2213"/>
                </a:lnTo>
                <a:cubicBezTo>
                  <a:pt x="4427" y="3433"/>
                  <a:pt x="3433" y="4427"/>
                  <a:pt x="2213" y="4427"/>
                </a:cubicBezTo>
                <a:cubicBezTo>
                  <a:pt x="984" y="4427"/>
                  <a:pt x="0" y="3433"/>
                  <a:pt x="0" y="2213"/>
                </a:cubicBezTo>
                <a:cubicBezTo>
                  <a:pt x="0" y="985"/>
                  <a:pt x="984" y="0"/>
                  <a:pt x="2213" y="0"/>
                </a:cubicBezTo>
                <a:cubicBezTo>
                  <a:pt x="3433" y="0"/>
                  <a:pt x="4427" y="985"/>
                  <a:pt x="4427" y="2213"/>
                </a:cubicBezTo>
              </a:path>
            </a:pathLst>
          </a:custGeom>
          <a:solidFill>
            <a:srgbClr val="EDA13E"/>
          </a:solidFill>
          <a:ln w="9525" cap="flat">
            <a:noFill/>
            <a:bevel/>
            <a:headEnd/>
            <a:tailEnd/>
          </a:ln>
          <a:effectLst/>
        </p:spPr>
        <p:txBody>
          <a:bodyPr wrap="none" anchor="ctr"/>
          <a:lstStyle/>
          <a:p>
            <a:endParaRPr lang="en-US"/>
          </a:p>
        </p:txBody>
      </p:sp>
      <p:sp>
        <p:nvSpPr>
          <p:cNvPr id="78" name="Freeform 171">
            <a:extLst>
              <a:ext uri="{FF2B5EF4-FFF2-40B4-BE49-F238E27FC236}">
                <a16:creationId xmlns:a16="http://schemas.microsoft.com/office/drawing/2014/main" id="{C68FEA06-8C7F-9F49-990B-23D42094A08A}"/>
              </a:ext>
            </a:extLst>
          </p:cNvPr>
          <p:cNvSpPr>
            <a:spLocks noChangeArrowheads="1"/>
          </p:cNvSpPr>
          <p:nvPr/>
        </p:nvSpPr>
        <p:spPr bwMode="auto">
          <a:xfrm>
            <a:off x="2159412" y="2835131"/>
            <a:ext cx="2313842" cy="2313842"/>
          </a:xfrm>
          <a:custGeom>
            <a:avLst/>
            <a:gdLst>
              <a:gd name="T0" fmla="*/ 4329 w 4330"/>
              <a:gd name="T1" fmla="*/ 2168 h 4329"/>
              <a:gd name="T2" fmla="*/ 4329 w 4330"/>
              <a:gd name="T3" fmla="*/ 2168 h 4329"/>
              <a:gd name="T4" fmla="*/ 2169 w 4330"/>
              <a:gd name="T5" fmla="*/ 4328 h 4329"/>
              <a:gd name="T6" fmla="*/ 0 w 4330"/>
              <a:gd name="T7" fmla="*/ 2168 h 4329"/>
              <a:gd name="T8" fmla="*/ 2169 w 4330"/>
              <a:gd name="T9" fmla="*/ 0 h 4329"/>
              <a:gd name="T10" fmla="*/ 4329 w 4330"/>
              <a:gd name="T11" fmla="*/ 2168 h 4329"/>
            </a:gdLst>
            <a:ahLst/>
            <a:cxnLst>
              <a:cxn ang="0">
                <a:pos x="T0" y="T1"/>
              </a:cxn>
              <a:cxn ang="0">
                <a:pos x="T2" y="T3"/>
              </a:cxn>
              <a:cxn ang="0">
                <a:pos x="T4" y="T5"/>
              </a:cxn>
              <a:cxn ang="0">
                <a:pos x="T6" y="T7"/>
              </a:cxn>
              <a:cxn ang="0">
                <a:pos x="T8" y="T9"/>
              </a:cxn>
              <a:cxn ang="0">
                <a:pos x="T10" y="T11"/>
              </a:cxn>
            </a:cxnLst>
            <a:rect l="0" t="0" r="r" b="b"/>
            <a:pathLst>
              <a:path w="4330" h="4329">
                <a:moveTo>
                  <a:pt x="4329" y="2168"/>
                </a:moveTo>
                <a:lnTo>
                  <a:pt x="4329" y="2168"/>
                </a:lnTo>
                <a:cubicBezTo>
                  <a:pt x="4329" y="3361"/>
                  <a:pt x="3362" y="4328"/>
                  <a:pt x="2169" y="4328"/>
                </a:cubicBezTo>
                <a:cubicBezTo>
                  <a:pt x="967" y="4328"/>
                  <a:pt x="0" y="3361"/>
                  <a:pt x="0" y="2168"/>
                </a:cubicBezTo>
                <a:cubicBezTo>
                  <a:pt x="0" y="976"/>
                  <a:pt x="967" y="0"/>
                  <a:pt x="2169" y="0"/>
                </a:cubicBezTo>
                <a:cubicBezTo>
                  <a:pt x="3362" y="0"/>
                  <a:pt x="4329" y="976"/>
                  <a:pt x="4329" y="2168"/>
                </a:cubicBezTo>
              </a:path>
            </a:pathLst>
          </a:custGeom>
          <a:solidFill>
            <a:srgbClr val="B41F7A"/>
          </a:solidFill>
          <a:ln w="9525" cap="flat">
            <a:noFill/>
            <a:bevel/>
            <a:headEnd/>
            <a:tailEnd/>
          </a:ln>
          <a:effectLst/>
        </p:spPr>
        <p:txBody>
          <a:bodyPr wrap="none" anchor="ctr"/>
          <a:lstStyle/>
          <a:p>
            <a:endParaRPr lang="en-US"/>
          </a:p>
        </p:txBody>
      </p:sp>
      <p:sp>
        <p:nvSpPr>
          <p:cNvPr id="79" name="Freeform 172">
            <a:extLst>
              <a:ext uri="{FF2B5EF4-FFF2-40B4-BE49-F238E27FC236}">
                <a16:creationId xmlns:a16="http://schemas.microsoft.com/office/drawing/2014/main" id="{4AC9A4FA-A4A1-1F44-874C-8BE1E0CAE5BF}"/>
              </a:ext>
            </a:extLst>
          </p:cNvPr>
          <p:cNvSpPr>
            <a:spLocks noChangeArrowheads="1"/>
          </p:cNvSpPr>
          <p:nvPr/>
        </p:nvSpPr>
        <p:spPr bwMode="auto">
          <a:xfrm>
            <a:off x="6846001" y="1357759"/>
            <a:ext cx="2690842" cy="2688487"/>
          </a:xfrm>
          <a:custGeom>
            <a:avLst/>
            <a:gdLst>
              <a:gd name="T0" fmla="*/ 5033 w 5034"/>
              <a:gd name="T1" fmla="*/ 2511 h 5033"/>
              <a:gd name="T2" fmla="*/ 5033 w 5034"/>
              <a:gd name="T3" fmla="*/ 2511 h 5033"/>
              <a:gd name="T4" fmla="*/ 2521 w 5034"/>
              <a:gd name="T5" fmla="*/ 5032 h 5033"/>
              <a:gd name="T6" fmla="*/ 0 w 5034"/>
              <a:gd name="T7" fmla="*/ 2511 h 5033"/>
              <a:gd name="T8" fmla="*/ 2521 w 5034"/>
              <a:gd name="T9" fmla="*/ 0 h 5033"/>
              <a:gd name="T10" fmla="*/ 5033 w 5034"/>
              <a:gd name="T11" fmla="*/ 2511 h 5033"/>
            </a:gdLst>
            <a:ahLst/>
            <a:cxnLst>
              <a:cxn ang="0">
                <a:pos x="T0" y="T1"/>
              </a:cxn>
              <a:cxn ang="0">
                <a:pos x="T2" y="T3"/>
              </a:cxn>
              <a:cxn ang="0">
                <a:pos x="T4" y="T5"/>
              </a:cxn>
              <a:cxn ang="0">
                <a:pos x="T6" y="T7"/>
              </a:cxn>
              <a:cxn ang="0">
                <a:pos x="T8" y="T9"/>
              </a:cxn>
              <a:cxn ang="0">
                <a:pos x="T10" y="T11"/>
              </a:cxn>
            </a:cxnLst>
            <a:rect l="0" t="0" r="r" b="b"/>
            <a:pathLst>
              <a:path w="5034" h="5033">
                <a:moveTo>
                  <a:pt x="5033" y="2511"/>
                </a:moveTo>
                <a:lnTo>
                  <a:pt x="5033" y="2511"/>
                </a:lnTo>
                <a:cubicBezTo>
                  <a:pt x="5033" y="3902"/>
                  <a:pt x="3904" y="5032"/>
                  <a:pt x="2521" y="5032"/>
                </a:cubicBezTo>
                <a:cubicBezTo>
                  <a:pt x="1130" y="5032"/>
                  <a:pt x="0" y="3902"/>
                  <a:pt x="0" y="2511"/>
                </a:cubicBezTo>
                <a:cubicBezTo>
                  <a:pt x="0" y="1120"/>
                  <a:pt x="1130" y="0"/>
                  <a:pt x="2521" y="0"/>
                </a:cubicBezTo>
                <a:cubicBezTo>
                  <a:pt x="3904" y="0"/>
                  <a:pt x="5033" y="1120"/>
                  <a:pt x="5033" y="2511"/>
                </a:cubicBezTo>
              </a:path>
            </a:pathLst>
          </a:custGeom>
          <a:solidFill>
            <a:srgbClr val="B41F7A"/>
          </a:solidFill>
          <a:ln w="9525" cap="flat">
            <a:noFill/>
            <a:bevel/>
            <a:headEnd/>
            <a:tailEnd/>
          </a:ln>
          <a:effectLst/>
        </p:spPr>
        <p:txBody>
          <a:bodyPr wrap="none" anchor="ctr"/>
          <a:lstStyle/>
          <a:p>
            <a:endParaRPr lang="en-US"/>
          </a:p>
        </p:txBody>
      </p:sp>
      <p:sp>
        <p:nvSpPr>
          <p:cNvPr id="80" name="Freeform 173">
            <a:extLst>
              <a:ext uri="{FF2B5EF4-FFF2-40B4-BE49-F238E27FC236}">
                <a16:creationId xmlns:a16="http://schemas.microsoft.com/office/drawing/2014/main" id="{27FCD08C-F550-D545-95E5-ACCEF51638A9}"/>
              </a:ext>
            </a:extLst>
          </p:cNvPr>
          <p:cNvSpPr>
            <a:spLocks noChangeArrowheads="1"/>
          </p:cNvSpPr>
          <p:nvPr/>
        </p:nvSpPr>
        <p:spPr bwMode="auto">
          <a:xfrm>
            <a:off x="3509545" y="1320059"/>
            <a:ext cx="1983966" cy="1979254"/>
          </a:xfrm>
          <a:custGeom>
            <a:avLst/>
            <a:gdLst>
              <a:gd name="T0" fmla="*/ 3713 w 3714"/>
              <a:gd name="T1" fmla="*/ 1851 h 3704"/>
              <a:gd name="T2" fmla="*/ 3713 w 3714"/>
              <a:gd name="T3" fmla="*/ 1851 h 3704"/>
              <a:gd name="T4" fmla="*/ 1862 w 3714"/>
              <a:gd name="T5" fmla="*/ 3703 h 3704"/>
              <a:gd name="T6" fmla="*/ 0 w 3714"/>
              <a:gd name="T7" fmla="*/ 1851 h 3704"/>
              <a:gd name="T8" fmla="*/ 1862 w 3714"/>
              <a:gd name="T9" fmla="*/ 0 h 3704"/>
              <a:gd name="T10" fmla="*/ 3713 w 3714"/>
              <a:gd name="T11" fmla="*/ 1851 h 3704"/>
            </a:gdLst>
            <a:ahLst/>
            <a:cxnLst>
              <a:cxn ang="0">
                <a:pos x="T0" y="T1"/>
              </a:cxn>
              <a:cxn ang="0">
                <a:pos x="T2" y="T3"/>
              </a:cxn>
              <a:cxn ang="0">
                <a:pos x="T4" y="T5"/>
              </a:cxn>
              <a:cxn ang="0">
                <a:pos x="T6" y="T7"/>
              </a:cxn>
              <a:cxn ang="0">
                <a:pos x="T8" y="T9"/>
              </a:cxn>
              <a:cxn ang="0">
                <a:pos x="T10" y="T11"/>
              </a:cxn>
            </a:cxnLst>
            <a:rect l="0" t="0" r="r" b="b"/>
            <a:pathLst>
              <a:path w="3714" h="3704">
                <a:moveTo>
                  <a:pt x="3713" y="1851"/>
                </a:moveTo>
                <a:lnTo>
                  <a:pt x="3713" y="1851"/>
                </a:lnTo>
                <a:cubicBezTo>
                  <a:pt x="3713" y="2872"/>
                  <a:pt x="2883" y="3703"/>
                  <a:pt x="1862" y="3703"/>
                </a:cubicBezTo>
                <a:cubicBezTo>
                  <a:pt x="832" y="3703"/>
                  <a:pt x="0" y="2872"/>
                  <a:pt x="0" y="1851"/>
                </a:cubicBezTo>
                <a:cubicBezTo>
                  <a:pt x="0" y="831"/>
                  <a:pt x="832" y="0"/>
                  <a:pt x="1862" y="0"/>
                </a:cubicBezTo>
                <a:cubicBezTo>
                  <a:pt x="2883" y="0"/>
                  <a:pt x="3713" y="831"/>
                  <a:pt x="3713" y="1851"/>
                </a:cubicBezTo>
              </a:path>
            </a:pathLst>
          </a:custGeom>
          <a:solidFill>
            <a:srgbClr val="F16924"/>
          </a:solidFill>
          <a:ln w="9525" cap="flat">
            <a:noFill/>
            <a:bevel/>
            <a:headEnd/>
            <a:tailEnd/>
          </a:ln>
          <a:effectLst/>
        </p:spPr>
        <p:txBody>
          <a:bodyPr wrap="none" anchor="ctr"/>
          <a:lstStyle/>
          <a:p>
            <a:endParaRPr lang="en-US"/>
          </a:p>
        </p:txBody>
      </p:sp>
      <p:sp>
        <p:nvSpPr>
          <p:cNvPr id="81" name="Freeform 174">
            <a:extLst>
              <a:ext uri="{FF2B5EF4-FFF2-40B4-BE49-F238E27FC236}">
                <a16:creationId xmlns:a16="http://schemas.microsoft.com/office/drawing/2014/main" id="{4A9CE79B-4F97-2642-817C-4F0E7F93E57E}"/>
              </a:ext>
            </a:extLst>
          </p:cNvPr>
          <p:cNvSpPr>
            <a:spLocks noChangeArrowheads="1"/>
          </p:cNvSpPr>
          <p:nvPr/>
        </p:nvSpPr>
        <p:spPr bwMode="auto">
          <a:xfrm>
            <a:off x="43496" y="3094319"/>
            <a:ext cx="791702" cy="791702"/>
          </a:xfrm>
          <a:custGeom>
            <a:avLst/>
            <a:gdLst>
              <a:gd name="T0" fmla="*/ 1482 w 1483"/>
              <a:gd name="T1" fmla="*/ 740 h 1482"/>
              <a:gd name="T2" fmla="*/ 1482 w 1483"/>
              <a:gd name="T3" fmla="*/ 740 h 1482"/>
              <a:gd name="T4" fmla="*/ 741 w 1483"/>
              <a:gd name="T5" fmla="*/ 1481 h 1482"/>
              <a:gd name="T6" fmla="*/ 0 w 1483"/>
              <a:gd name="T7" fmla="*/ 740 h 1482"/>
              <a:gd name="T8" fmla="*/ 741 w 1483"/>
              <a:gd name="T9" fmla="*/ 0 h 1482"/>
              <a:gd name="T10" fmla="*/ 1482 w 1483"/>
              <a:gd name="T11" fmla="*/ 740 h 1482"/>
            </a:gdLst>
            <a:ahLst/>
            <a:cxnLst>
              <a:cxn ang="0">
                <a:pos x="T0" y="T1"/>
              </a:cxn>
              <a:cxn ang="0">
                <a:pos x="T2" y="T3"/>
              </a:cxn>
              <a:cxn ang="0">
                <a:pos x="T4" y="T5"/>
              </a:cxn>
              <a:cxn ang="0">
                <a:pos x="T6" y="T7"/>
              </a:cxn>
              <a:cxn ang="0">
                <a:pos x="T8" y="T9"/>
              </a:cxn>
              <a:cxn ang="0">
                <a:pos x="T10" y="T11"/>
              </a:cxn>
            </a:cxnLst>
            <a:rect l="0" t="0" r="r" b="b"/>
            <a:pathLst>
              <a:path w="1483" h="1482">
                <a:moveTo>
                  <a:pt x="1482" y="740"/>
                </a:moveTo>
                <a:lnTo>
                  <a:pt x="1482" y="740"/>
                </a:lnTo>
                <a:cubicBezTo>
                  <a:pt x="1482" y="1147"/>
                  <a:pt x="1147" y="1481"/>
                  <a:pt x="741" y="1481"/>
                </a:cubicBezTo>
                <a:cubicBezTo>
                  <a:pt x="334" y="1481"/>
                  <a:pt x="0" y="1147"/>
                  <a:pt x="0" y="740"/>
                </a:cubicBezTo>
                <a:cubicBezTo>
                  <a:pt x="0" y="334"/>
                  <a:pt x="334" y="0"/>
                  <a:pt x="741" y="0"/>
                </a:cubicBezTo>
                <a:cubicBezTo>
                  <a:pt x="1147" y="0"/>
                  <a:pt x="1482" y="334"/>
                  <a:pt x="1482" y="740"/>
                </a:cubicBezTo>
              </a:path>
            </a:pathLst>
          </a:custGeom>
          <a:solidFill>
            <a:srgbClr val="7F1C58"/>
          </a:solidFill>
          <a:ln w="9525" cap="flat">
            <a:noFill/>
            <a:bevel/>
            <a:headEnd/>
            <a:tailEnd/>
          </a:ln>
          <a:effectLst/>
        </p:spPr>
        <p:txBody>
          <a:bodyPr wrap="none" anchor="ctr"/>
          <a:lstStyle/>
          <a:p>
            <a:endParaRPr lang="en-US"/>
          </a:p>
        </p:txBody>
      </p:sp>
      <p:sp>
        <p:nvSpPr>
          <p:cNvPr id="82" name="Freeform 175">
            <a:extLst>
              <a:ext uri="{FF2B5EF4-FFF2-40B4-BE49-F238E27FC236}">
                <a16:creationId xmlns:a16="http://schemas.microsoft.com/office/drawing/2014/main" id="{06142319-C95F-814A-BCD5-AFEE8A77203B}"/>
              </a:ext>
            </a:extLst>
          </p:cNvPr>
          <p:cNvSpPr>
            <a:spLocks noChangeArrowheads="1"/>
          </p:cNvSpPr>
          <p:nvPr userDrawn="1"/>
        </p:nvSpPr>
        <p:spPr bwMode="auto">
          <a:xfrm>
            <a:off x="3858271" y="4317215"/>
            <a:ext cx="791702" cy="791702"/>
          </a:xfrm>
          <a:custGeom>
            <a:avLst/>
            <a:gdLst>
              <a:gd name="T0" fmla="*/ 1482 w 1483"/>
              <a:gd name="T1" fmla="*/ 741 h 1482"/>
              <a:gd name="T2" fmla="*/ 1482 w 1483"/>
              <a:gd name="T3" fmla="*/ 741 h 1482"/>
              <a:gd name="T4" fmla="*/ 741 w 1483"/>
              <a:gd name="T5" fmla="*/ 1481 h 1482"/>
              <a:gd name="T6" fmla="*/ 0 w 1483"/>
              <a:gd name="T7" fmla="*/ 741 h 1482"/>
              <a:gd name="T8" fmla="*/ 741 w 1483"/>
              <a:gd name="T9" fmla="*/ 0 h 1482"/>
              <a:gd name="T10" fmla="*/ 1482 w 1483"/>
              <a:gd name="T11" fmla="*/ 741 h 1482"/>
            </a:gdLst>
            <a:ahLst/>
            <a:cxnLst>
              <a:cxn ang="0">
                <a:pos x="T0" y="T1"/>
              </a:cxn>
              <a:cxn ang="0">
                <a:pos x="T2" y="T3"/>
              </a:cxn>
              <a:cxn ang="0">
                <a:pos x="T4" y="T5"/>
              </a:cxn>
              <a:cxn ang="0">
                <a:pos x="T6" y="T7"/>
              </a:cxn>
              <a:cxn ang="0">
                <a:pos x="T8" y="T9"/>
              </a:cxn>
              <a:cxn ang="0">
                <a:pos x="T10" y="T11"/>
              </a:cxn>
            </a:cxnLst>
            <a:rect l="0" t="0" r="r" b="b"/>
            <a:pathLst>
              <a:path w="1483" h="1482">
                <a:moveTo>
                  <a:pt x="1482" y="741"/>
                </a:moveTo>
                <a:lnTo>
                  <a:pt x="1482" y="741"/>
                </a:lnTo>
                <a:cubicBezTo>
                  <a:pt x="1482" y="1147"/>
                  <a:pt x="1148" y="1481"/>
                  <a:pt x="741" y="1481"/>
                </a:cubicBezTo>
                <a:cubicBezTo>
                  <a:pt x="334" y="1481"/>
                  <a:pt x="0" y="1147"/>
                  <a:pt x="0" y="741"/>
                </a:cubicBezTo>
                <a:cubicBezTo>
                  <a:pt x="0" y="334"/>
                  <a:pt x="334" y="0"/>
                  <a:pt x="741" y="0"/>
                </a:cubicBezTo>
                <a:cubicBezTo>
                  <a:pt x="1148" y="0"/>
                  <a:pt x="1482" y="334"/>
                  <a:pt x="1482" y="741"/>
                </a:cubicBezTo>
              </a:path>
            </a:pathLst>
          </a:custGeom>
          <a:solidFill>
            <a:srgbClr val="B41F7A"/>
          </a:solidFill>
          <a:ln w="9525" cap="flat">
            <a:noFill/>
            <a:bevel/>
            <a:headEnd/>
            <a:tailEnd/>
          </a:ln>
          <a:effectLst/>
        </p:spPr>
        <p:txBody>
          <a:bodyPr wrap="none" anchor="ctr"/>
          <a:lstStyle/>
          <a:p>
            <a:endParaRPr lang="en-US"/>
          </a:p>
        </p:txBody>
      </p:sp>
      <p:sp>
        <p:nvSpPr>
          <p:cNvPr id="83" name="Freeform 176">
            <a:extLst>
              <a:ext uri="{FF2B5EF4-FFF2-40B4-BE49-F238E27FC236}">
                <a16:creationId xmlns:a16="http://schemas.microsoft.com/office/drawing/2014/main" id="{91B82CE6-EFD3-C44A-97DF-D00B51610AC8}"/>
              </a:ext>
            </a:extLst>
          </p:cNvPr>
          <p:cNvSpPr>
            <a:spLocks noChangeArrowheads="1"/>
          </p:cNvSpPr>
          <p:nvPr/>
        </p:nvSpPr>
        <p:spPr bwMode="auto">
          <a:xfrm>
            <a:off x="3462420" y="1164546"/>
            <a:ext cx="791702" cy="786989"/>
          </a:xfrm>
          <a:custGeom>
            <a:avLst/>
            <a:gdLst>
              <a:gd name="T0" fmla="*/ 1482 w 1483"/>
              <a:gd name="T1" fmla="*/ 731 h 1473"/>
              <a:gd name="T2" fmla="*/ 1482 w 1483"/>
              <a:gd name="T3" fmla="*/ 731 h 1473"/>
              <a:gd name="T4" fmla="*/ 741 w 1483"/>
              <a:gd name="T5" fmla="*/ 1472 h 1473"/>
              <a:gd name="T6" fmla="*/ 0 w 1483"/>
              <a:gd name="T7" fmla="*/ 731 h 1473"/>
              <a:gd name="T8" fmla="*/ 741 w 1483"/>
              <a:gd name="T9" fmla="*/ 0 h 1473"/>
              <a:gd name="T10" fmla="*/ 1482 w 1483"/>
              <a:gd name="T11" fmla="*/ 731 h 1473"/>
            </a:gdLst>
            <a:ahLst/>
            <a:cxnLst>
              <a:cxn ang="0">
                <a:pos x="T0" y="T1"/>
              </a:cxn>
              <a:cxn ang="0">
                <a:pos x="T2" y="T3"/>
              </a:cxn>
              <a:cxn ang="0">
                <a:pos x="T4" y="T5"/>
              </a:cxn>
              <a:cxn ang="0">
                <a:pos x="T6" y="T7"/>
              </a:cxn>
              <a:cxn ang="0">
                <a:pos x="T8" y="T9"/>
              </a:cxn>
              <a:cxn ang="0">
                <a:pos x="T10" y="T11"/>
              </a:cxn>
            </a:cxnLst>
            <a:rect l="0" t="0" r="r" b="b"/>
            <a:pathLst>
              <a:path w="1483" h="1473">
                <a:moveTo>
                  <a:pt x="1482" y="731"/>
                </a:moveTo>
                <a:lnTo>
                  <a:pt x="1482" y="731"/>
                </a:lnTo>
                <a:cubicBezTo>
                  <a:pt x="1482" y="1147"/>
                  <a:pt x="1148" y="1472"/>
                  <a:pt x="741" y="1472"/>
                </a:cubicBezTo>
                <a:cubicBezTo>
                  <a:pt x="334" y="1472"/>
                  <a:pt x="0" y="1147"/>
                  <a:pt x="0" y="731"/>
                </a:cubicBezTo>
                <a:cubicBezTo>
                  <a:pt x="0" y="325"/>
                  <a:pt x="334" y="0"/>
                  <a:pt x="741" y="0"/>
                </a:cubicBezTo>
                <a:cubicBezTo>
                  <a:pt x="1148" y="0"/>
                  <a:pt x="1482" y="325"/>
                  <a:pt x="1482" y="731"/>
                </a:cubicBezTo>
              </a:path>
            </a:pathLst>
          </a:custGeom>
          <a:solidFill>
            <a:srgbClr val="F16924"/>
          </a:solidFill>
          <a:ln w="9525" cap="flat">
            <a:noFill/>
            <a:bevel/>
            <a:headEnd/>
            <a:tailEnd/>
          </a:ln>
          <a:effectLst/>
        </p:spPr>
        <p:txBody>
          <a:bodyPr wrap="none" anchor="ctr"/>
          <a:lstStyle/>
          <a:p>
            <a:endParaRPr lang="en-US"/>
          </a:p>
        </p:txBody>
      </p:sp>
      <p:sp>
        <p:nvSpPr>
          <p:cNvPr id="84" name="Freeform 177">
            <a:extLst>
              <a:ext uri="{FF2B5EF4-FFF2-40B4-BE49-F238E27FC236}">
                <a16:creationId xmlns:a16="http://schemas.microsoft.com/office/drawing/2014/main" id="{93A80B2C-5FD5-C347-BBB3-F9F251C50D45}"/>
              </a:ext>
            </a:extLst>
          </p:cNvPr>
          <p:cNvSpPr>
            <a:spLocks noChangeArrowheads="1"/>
          </p:cNvSpPr>
          <p:nvPr/>
        </p:nvSpPr>
        <p:spPr bwMode="auto">
          <a:xfrm>
            <a:off x="5993038" y="2222505"/>
            <a:ext cx="786989" cy="786989"/>
          </a:xfrm>
          <a:custGeom>
            <a:avLst/>
            <a:gdLst>
              <a:gd name="T0" fmla="*/ 1473 w 1474"/>
              <a:gd name="T1" fmla="*/ 740 h 1473"/>
              <a:gd name="T2" fmla="*/ 1473 w 1474"/>
              <a:gd name="T3" fmla="*/ 740 h 1473"/>
              <a:gd name="T4" fmla="*/ 741 w 1474"/>
              <a:gd name="T5" fmla="*/ 1472 h 1473"/>
              <a:gd name="T6" fmla="*/ 0 w 1474"/>
              <a:gd name="T7" fmla="*/ 740 h 1473"/>
              <a:gd name="T8" fmla="*/ 741 w 1474"/>
              <a:gd name="T9" fmla="*/ 0 h 1473"/>
              <a:gd name="T10" fmla="*/ 1473 w 1474"/>
              <a:gd name="T11" fmla="*/ 740 h 1473"/>
            </a:gdLst>
            <a:ahLst/>
            <a:cxnLst>
              <a:cxn ang="0">
                <a:pos x="T0" y="T1"/>
              </a:cxn>
              <a:cxn ang="0">
                <a:pos x="T2" y="T3"/>
              </a:cxn>
              <a:cxn ang="0">
                <a:pos x="T4" y="T5"/>
              </a:cxn>
              <a:cxn ang="0">
                <a:pos x="T6" y="T7"/>
              </a:cxn>
              <a:cxn ang="0">
                <a:pos x="T8" y="T9"/>
              </a:cxn>
              <a:cxn ang="0">
                <a:pos x="T10" y="T11"/>
              </a:cxn>
            </a:cxnLst>
            <a:rect l="0" t="0" r="r" b="b"/>
            <a:pathLst>
              <a:path w="1474" h="1473">
                <a:moveTo>
                  <a:pt x="1473" y="740"/>
                </a:moveTo>
                <a:lnTo>
                  <a:pt x="1473" y="740"/>
                </a:lnTo>
                <a:cubicBezTo>
                  <a:pt x="1473" y="1147"/>
                  <a:pt x="1147" y="1472"/>
                  <a:pt x="741" y="1472"/>
                </a:cubicBezTo>
                <a:cubicBezTo>
                  <a:pt x="325" y="1472"/>
                  <a:pt x="0" y="1147"/>
                  <a:pt x="0" y="740"/>
                </a:cubicBezTo>
                <a:cubicBezTo>
                  <a:pt x="0" y="325"/>
                  <a:pt x="325" y="0"/>
                  <a:pt x="741" y="0"/>
                </a:cubicBezTo>
                <a:cubicBezTo>
                  <a:pt x="1147" y="0"/>
                  <a:pt x="1473" y="325"/>
                  <a:pt x="1473" y="740"/>
                </a:cubicBezTo>
              </a:path>
            </a:pathLst>
          </a:custGeom>
          <a:solidFill>
            <a:srgbClr val="EDA13E"/>
          </a:solidFill>
          <a:ln w="9525" cap="flat">
            <a:noFill/>
            <a:bevel/>
            <a:headEnd/>
            <a:tailEnd/>
          </a:ln>
          <a:effectLst/>
        </p:spPr>
        <p:txBody>
          <a:bodyPr wrap="none" anchor="ctr"/>
          <a:lstStyle/>
          <a:p>
            <a:endParaRPr lang="en-US"/>
          </a:p>
        </p:txBody>
      </p:sp>
      <p:sp>
        <p:nvSpPr>
          <p:cNvPr id="87" name="Freeform 178">
            <a:extLst>
              <a:ext uri="{FF2B5EF4-FFF2-40B4-BE49-F238E27FC236}">
                <a16:creationId xmlns:a16="http://schemas.microsoft.com/office/drawing/2014/main" id="{57E238EC-5E3B-724B-824A-991294CD73C2}"/>
              </a:ext>
            </a:extLst>
          </p:cNvPr>
          <p:cNvSpPr>
            <a:spLocks noChangeArrowheads="1"/>
          </p:cNvSpPr>
          <p:nvPr/>
        </p:nvSpPr>
        <p:spPr bwMode="auto">
          <a:xfrm>
            <a:off x="8787554" y="1430803"/>
            <a:ext cx="786989" cy="791702"/>
          </a:xfrm>
          <a:custGeom>
            <a:avLst/>
            <a:gdLst>
              <a:gd name="T0" fmla="*/ 1473 w 1474"/>
              <a:gd name="T1" fmla="*/ 740 h 1482"/>
              <a:gd name="T2" fmla="*/ 1473 w 1474"/>
              <a:gd name="T3" fmla="*/ 740 h 1482"/>
              <a:gd name="T4" fmla="*/ 733 w 1474"/>
              <a:gd name="T5" fmla="*/ 1481 h 1482"/>
              <a:gd name="T6" fmla="*/ 0 w 1474"/>
              <a:gd name="T7" fmla="*/ 740 h 1482"/>
              <a:gd name="T8" fmla="*/ 733 w 1474"/>
              <a:gd name="T9" fmla="*/ 0 h 1482"/>
              <a:gd name="T10" fmla="*/ 1473 w 1474"/>
              <a:gd name="T11" fmla="*/ 740 h 1482"/>
            </a:gdLst>
            <a:ahLst/>
            <a:cxnLst>
              <a:cxn ang="0">
                <a:pos x="T0" y="T1"/>
              </a:cxn>
              <a:cxn ang="0">
                <a:pos x="T2" y="T3"/>
              </a:cxn>
              <a:cxn ang="0">
                <a:pos x="T4" y="T5"/>
              </a:cxn>
              <a:cxn ang="0">
                <a:pos x="T6" y="T7"/>
              </a:cxn>
              <a:cxn ang="0">
                <a:pos x="T8" y="T9"/>
              </a:cxn>
              <a:cxn ang="0">
                <a:pos x="T10" y="T11"/>
              </a:cxn>
            </a:cxnLst>
            <a:rect l="0" t="0" r="r" b="b"/>
            <a:pathLst>
              <a:path w="1474" h="1482">
                <a:moveTo>
                  <a:pt x="1473" y="740"/>
                </a:moveTo>
                <a:lnTo>
                  <a:pt x="1473" y="740"/>
                </a:lnTo>
                <a:cubicBezTo>
                  <a:pt x="1473" y="1147"/>
                  <a:pt x="1148" y="1481"/>
                  <a:pt x="733" y="1481"/>
                </a:cubicBezTo>
                <a:cubicBezTo>
                  <a:pt x="326" y="1481"/>
                  <a:pt x="0" y="1147"/>
                  <a:pt x="0" y="740"/>
                </a:cubicBezTo>
                <a:cubicBezTo>
                  <a:pt x="0" y="334"/>
                  <a:pt x="326" y="0"/>
                  <a:pt x="733" y="0"/>
                </a:cubicBezTo>
                <a:cubicBezTo>
                  <a:pt x="1148" y="0"/>
                  <a:pt x="1473" y="334"/>
                  <a:pt x="1473" y="740"/>
                </a:cubicBezTo>
              </a:path>
            </a:pathLst>
          </a:custGeom>
          <a:solidFill>
            <a:srgbClr val="B41F7A"/>
          </a:solidFill>
          <a:ln w="9525" cap="flat">
            <a:noFill/>
            <a:bevel/>
            <a:headEnd/>
            <a:tailEnd/>
          </a:ln>
          <a:effectLst/>
        </p:spPr>
        <p:txBody>
          <a:bodyPr wrap="none" anchor="ctr"/>
          <a:lstStyle/>
          <a:p>
            <a:endParaRPr lang="en-US"/>
          </a:p>
        </p:txBody>
      </p:sp>
      <p:sp>
        <p:nvSpPr>
          <p:cNvPr id="145" name="Text Placeholder 17">
            <a:extLst>
              <a:ext uri="{FF2B5EF4-FFF2-40B4-BE49-F238E27FC236}">
                <a16:creationId xmlns:a16="http://schemas.microsoft.com/office/drawing/2014/main" id="{DAE6D4C0-6899-EF4D-9FAF-4D8C3B217C65}"/>
              </a:ext>
            </a:extLst>
          </p:cNvPr>
          <p:cNvSpPr>
            <a:spLocks noGrp="1"/>
          </p:cNvSpPr>
          <p:nvPr userDrawn="1">
            <p:ph type="body" sz="quarter" idx="25" hasCustomPrompt="1"/>
          </p:nvPr>
        </p:nvSpPr>
        <p:spPr>
          <a:xfrm>
            <a:off x="454247" y="2298434"/>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47" name="Text Placeholder 17">
            <a:extLst>
              <a:ext uri="{FF2B5EF4-FFF2-40B4-BE49-F238E27FC236}">
                <a16:creationId xmlns:a16="http://schemas.microsoft.com/office/drawing/2014/main" id="{4A7B02EF-9D32-9E4D-A155-FD8D2BEEF1E8}"/>
              </a:ext>
            </a:extLst>
          </p:cNvPr>
          <p:cNvSpPr>
            <a:spLocks noGrp="1"/>
          </p:cNvSpPr>
          <p:nvPr userDrawn="1">
            <p:ph type="body" sz="quarter" idx="27" hasCustomPrompt="1"/>
          </p:nvPr>
        </p:nvSpPr>
        <p:spPr>
          <a:xfrm>
            <a:off x="2401046" y="3284147"/>
            <a:ext cx="1853076"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53" name="Text Placeholder 17">
            <a:extLst>
              <a:ext uri="{FF2B5EF4-FFF2-40B4-BE49-F238E27FC236}">
                <a16:creationId xmlns:a16="http://schemas.microsoft.com/office/drawing/2014/main" id="{6F3EB50C-D614-9148-BADE-CDDF657537E1}"/>
              </a:ext>
            </a:extLst>
          </p:cNvPr>
          <p:cNvSpPr>
            <a:spLocks noGrp="1"/>
          </p:cNvSpPr>
          <p:nvPr userDrawn="1">
            <p:ph type="body" sz="quarter" idx="33" hasCustomPrompt="1"/>
          </p:nvPr>
        </p:nvSpPr>
        <p:spPr>
          <a:xfrm>
            <a:off x="3594244" y="1709378"/>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54" name="Text Placeholder 17">
            <a:extLst>
              <a:ext uri="{FF2B5EF4-FFF2-40B4-BE49-F238E27FC236}">
                <a16:creationId xmlns:a16="http://schemas.microsoft.com/office/drawing/2014/main" id="{43222CA0-2E78-6A40-979E-1DAE10272C71}"/>
              </a:ext>
            </a:extLst>
          </p:cNvPr>
          <p:cNvSpPr>
            <a:spLocks noGrp="1"/>
          </p:cNvSpPr>
          <p:nvPr>
            <p:ph type="body" sz="quarter" idx="34" hasCustomPrompt="1"/>
          </p:nvPr>
        </p:nvSpPr>
        <p:spPr>
          <a:xfrm>
            <a:off x="72913" y="3243226"/>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36" name="Text Placeholder 17">
            <a:extLst>
              <a:ext uri="{FF2B5EF4-FFF2-40B4-BE49-F238E27FC236}">
                <a16:creationId xmlns:a16="http://schemas.microsoft.com/office/drawing/2014/main" id="{6E1A7CF4-E6FF-8D4B-867B-3C198DB57314}"/>
              </a:ext>
            </a:extLst>
          </p:cNvPr>
          <p:cNvSpPr>
            <a:spLocks noGrp="1"/>
          </p:cNvSpPr>
          <p:nvPr>
            <p:ph type="body" sz="quarter" idx="35" hasCustomPrompt="1"/>
          </p:nvPr>
        </p:nvSpPr>
        <p:spPr>
          <a:xfrm>
            <a:off x="3938229" y="4463463"/>
            <a:ext cx="695250" cy="734798"/>
          </a:xfrm>
          <a:noFill/>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39" name="Text Placeholder 17">
            <a:extLst>
              <a:ext uri="{FF2B5EF4-FFF2-40B4-BE49-F238E27FC236}">
                <a16:creationId xmlns:a16="http://schemas.microsoft.com/office/drawing/2014/main" id="{BFE69741-8104-EF45-9674-B4F26DEBFFD1}"/>
              </a:ext>
            </a:extLst>
          </p:cNvPr>
          <p:cNvSpPr>
            <a:spLocks noGrp="1"/>
          </p:cNvSpPr>
          <p:nvPr>
            <p:ph type="body" sz="quarter" idx="29" hasCustomPrompt="1"/>
          </p:nvPr>
        </p:nvSpPr>
        <p:spPr>
          <a:xfrm>
            <a:off x="4899697" y="2996069"/>
            <a:ext cx="213096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42" name="Text Placeholder 17">
            <a:extLst>
              <a:ext uri="{FF2B5EF4-FFF2-40B4-BE49-F238E27FC236}">
                <a16:creationId xmlns:a16="http://schemas.microsoft.com/office/drawing/2014/main" id="{19ADE865-DD46-6A4A-B20B-AFFCE1CA78D9}"/>
              </a:ext>
            </a:extLst>
          </p:cNvPr>
          <p:cNvSpPr>
            <a:spLocks noGrp="1"/>
          </p:cNvSpPr>
          <p:nvPr>
            <p:ph type="body" sz="quarter" idx="31" hasCustomPrompt="1"/>
          </p:nvPr>
        </p:nvSpPr>
        <p:spPr>
          <a:xfrm>
            <a:off x="7016400" y="1941598"/>
            <a:ext cx="2333958"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51" name="Text Placeholder 17">
            <a:extLst>
              <a:ext uri="{FF2B5EF4-FFF2-40B4-BE49-F238E27FC236}">
                <a16:creationId xmlns:a16="http://schemas.microsoft.com/office/drawing/2014/main" id="{DC0B00F6-5FCE-6D47-AF0C-495830F8CD89}"/>
              </a:ext>
            </a:extLst>
          </p:cNvPr>
          <p:cNvSpPr>
            <a:spLocks noGrp="1"/>
          </p:cNvSpPr>
          <p:nvPr>
            <p:ph type="body" sz="quarter" idx="38" hasCustomPrompt="1"/>
          </p:nvPr>
        </p:nvSpPr>
        <p:spPr>
          <a:xfrm>
            <a:off x="8876952" y="1529435"/>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5</a:t>
            </a:r>
            <a:endParaRPr lang="en-US" dirty="0"/>
          </a:p>
        </p:txBody>
      </p:sp>
      <p:sp>
        <p:nvSpPr>
          <p:cNvPr id="27" name="Text Placeholder 17">
            <a:extLst>
              <a:ext uri="{FF2B5EF4-FFF2-40B4-BE49-F238E27FC236}">
                <a16:creationId xmlns:a16="http://schemas.microsoft.com/office/drawing/2014/main" id="{644C8ACD-EE45-3247-B5B4-70E60CEED05C}"/>
              </a:ext>
            </a:extLst>
          </p:cNvPr>
          <p:cNvSpPr>
            <a:spLocks noGrp="1"/>
          </p:cNvSpPr>
          <p:nvPr>
            <p:ph type="body" sz="quarter" idx="37" hasCustomPrompt="1"/>
          </p:nvPr>
        </p:nvSpPr>
        <p:spPr>
          <a:xfrm>
            <a:off x="6054761" y="2285522"/>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28" name="Rectangle 27">
            <a:extLst>
              <a:ext uri="{FF2B5EF4-FFF2-40B4-BE49-F238E27FC236}">
                <a16:creationId xmlns:a16="http://schemas.microsoft.com/office/drawing/2014/main" id="{7E78B14B-6951-054D-A2DF-A8FCDEF0709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8ECF504B-3325-7A4A-B030-DF8FF389736A}"/>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
        <p:nvSpPr>
          <p:cNvPr id="32" name="Text Placeholder 17">
            <a:extLst>
              <a:ext uri="{FF2B5EF4-FFF2-40B4-BE49-F238E27FC236}">
                <a16:creationId xmlns:a16="http://schemas.microsoft.com/office/drawing/2014/main" id="{F3012E70-A541-AE4B-94FA-000AAF6B3A11}"/>
              </a:ext>
            </a:extLst>
          </p:cNvPr>
          <p:cNvSpPr>
            <a:spLocks noGrp="1"/>
          </p:cNvSpPr>
          <p:nvPr>
            <p:ph type="body" sz="quarter" idx="36" hasCustomPrompt="1"/>
          </p:nvPr>
        </p:nvSpPr>
        <p:spPr>
          <a:xfrm>
            <a:off x="3510646" y="1211713"/>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
        <p:nvSpPr>
          <p:cNvPr id="2" name="Freeform 169">
            <a:extLst>
              <a:ext uri="{FF2B5EF4-FFF2-40B4-BE49-F238E27FC236}">
                <a16:creationId xmlns:a16="http://schemas.microsoft.com/office/drawing/2014/main" id="{DB688DE1-B13B-ED83-A1BE-DD11500EF461}"/>
              </a:ext>
            </a:extLst>
          </p:cNvPr>
          <p:cNvSpPr>
            <a:spLocks noChangeArrowheads="1"/>
          </p:cNvSpPr>
          <p:nvPr userDrawn="1"/>
        </p:nvSpPr>
        <p:spPr bwMode="auto">
          <a:xfrm>
            <a:off x="8890959" y="2733300"/>
            <a:ext cx="2066436" cy="2071148"/>
          </a:xfrm>
          <a:custGeom>
            <a:avLst/>
            <a:gdLst>
              <a:gd name="T0" fmla="*/ 3867 w 3868"/>
              <a:gd name="T1" fmla="*/ 1932 h 3876"/>
              <a:gd name="T2" fmla="*/ 3867 w 3868"/>
              <a:gd name="T3" fmla="*/ 1932 h 3876"/>
              <a:gd name="T4" fmla="*/ 1933 w 3868"/>
              <a:gd name="T5" fmla="*/ 3875 h 3876"/>
              <a:gd name="T6" fmla="*/ 0 w 3868"/>
              <a:gd name="T7" fmla="*/ 1932 h 3876"/>
              <a:gd name="T8" fmla="*/ 1933 w 3868"/>
              <a:gd name="T9" fmla="*/ 0 h 3876"/>
              <a:gd name="T10" fmla="*/ 3867 w 3868"/>
              <a:gd name="T11" fmla="*/ 1932 h 3876"/>
            </a:gdLst>
            <a:ahLst/>
            <a:cxnLst>
              <a:cxn ang="0">
                <a:pos x="T0" y="T1"/>
              </a:cxn>
              <a:cxn ang="0">
                <a:pos x="T2" y="T3"/>
              </a:cxn>
              <a:cxn ang="0">
                <a:pos x="T4" y="T5"/>
              </a:cxn>
              <a:cxn ang="0">
                <a:pos x="T6" y="T7"/>
              </a:cxn>
              <a:cxn ang="0">
                <a:pos x="T8" y="T9"/>
              </a:cxn>
              <a:cxn ang="0">
                <a:pos x="T10" y="T11"/>
              </a:cxn>
            </a:cxnLst>
            <a:rect l="0" t="0" r="r" b="b"/>
            <a:pathLst>
              <a:path w="3868" h="3876">
                <a:moveTo>
                  <a:pt x="3867" y="1932"/>
                </a:moveTo>
                <a:lnTo>
                  <a:pt x="3867" y="1932"/>
                </a:lnTo>
                <a:cubicBezTo>
                  <a:pt x="3867" y="3007"/>
                  <a:pt x="3000" y="3875"/>
                  <a:pt x="1933" y="3875"/>
                </a:cubicBezTo>
                <a:cubicBezTo>
                  <a:pt x="867" y="3875"/>
                  <a:pt x="0" y="3007"/>
                  <a:pt x="0" y="1932"/>
                </a:cubicBezTo>
                <a:cubicBezTo>
                  <a:pt x="0" y="866"/>
                  <a:pt x="867" y="0"/>
                  <a:pt x="1933" y="0"/>
                </a:cubicBezTo>
                <a:cubicBezTo>
                  <a:pt x="3000" y="0"/>
                  <a:pt x="3867" y="866"/>
                  <a:pt x="3867" y="1932"/>
                </a:cubicBezTo>
              </a:path>
            </a:pathLst>
          </a:custGeom>
          <a:solidFill>
            <a:srgbClr val="7F1C58"/>
          </a:solidFill>
          <a:ln w="9525" cap="flat">
            <a:noFill/>
            <a:bevel/>
            <a:headEnd/>
            <a:tailEnd/>
          </a:ln>
          <a:effectLst/>
        </p:spPr>
        <p:txBody>
          <a:bodyPr wrap="none" anchor="ctr"/>
          <a:lstStyle/>
          <a:p>
            <a:endParaRPr lang="en-US"/>
          </a:p>
        </p:txBody>
      </p:sp>
      <p:sp>
        <p:nvSpPr>
          <p:cNvPr id="3" name="Freeform 174">
            <a:extLst>
              <a:ext uri="{FF2B5EF4-FFF2-40B4-BE49-F238E27FC236}">
                <a16:creationId xmlns:a16="http://schemas.microsoft.com/office/drawing/2014/main" id="{4AD974A8-C65D-B11D-7197-5673CA4002AC}"/>
              </a:ext>
            </a:extLst>
          </p:cNvPr>
          <p:cNvSpPr>
            <a:spLocks noChangeArrowheads="1"/>
          </p:cNvSpPr>
          <p:nvPr userDrawn="1"/>
        </p:nvSpPr>
        <p:spPr bwMode="auto">
          <a:xfrm>
            <a:off x="8615278" y="3861946"/>
            <a:ext cx="791702" cy="791702"/>
          </a:xfrm>
          <a:custGeom>
            <a:avLst/>
            <a:gdLst>
              <a:gd name="T0" fmla="*/ 1482 w 1483"/>
              <a:gd name="T1" fmla="*/ 740 h 1482"/>
              <a:gd name="T2" fmla="*/ 1482 w 1483"/>
              <a:gd name="T3" fmla="*/ 740 h 1482"/>
              <a:gd name="T4" fmla="*/ 741 w 1483"/>
              <a:gd name="T5" fmla="*/ 1481 h 1482"/>
              <a:gd name="T6" fmla="*/ 0 w 1483"/>
              <a:gd name="T7" fmla="*/ 740 h 1482"/>
              <a:gd name="T8" fmla="*/ 741 w 1483"/>
              <a:gd name="T9" fmla="*/ 0 h 1482"/>
              <a:gd name="T10" fmla="*/ 1482 w 1483"/>
              <a:gd name="T11" fmla="*/ 740 h 1482"/>
            </a:gdLst>
            <a:ahLst/>
            <a:cxnLst>
              <a:cxn ang="0">
                <a:pos x="T0" y="T1"/>
              </a:cxn>
              <a:cxn ang="0">
                <a:pos x="T2" y="T3"/>
              </a:cxn>
              <a:cxn ang="0">
                <a:pos x="T4" y="T5"/>
              </a:cxn>
              <a:cxn ang="0">
                <a:pos x="T6" y="T7"/>
              </a:cxn>
              <a:cxn ang="0">
                <a:pos x="T8" y="T9"/>
              </a:cxn>
              <a:cxn ang="0">
                <a:pos x="T10" y="T11"/>
              </a:cxn>
            </a:cxnLst>
            <a:rect l="0" t="0" r="r" b="b"/>
            <a:pathLst>
              <a:path w="1483" h="1482">
                <a:moveTo>
                  <a:pt x="1482" y="740"/>
                </a:moveTo>
                <a:lnTo>
                  <a:pt x="1482" y="740"/>
                </a:lnTo>
                <a:cubicBezTo>
                  <a:pt x="1482" y="1147"/>
                  <a:pt x="1147" y="1481"/>
                  <a:pt x="741" y="1481"/>
                </a:cubicBezTo>
                <a:cubicBezTo>
                  <a:pt x="334" y="1481"/>
                  <a:pt x="0" y="1147"/>
                  <a:pt x="0" y="740"/>
                </a:cubicBezTo>
                <a:cubicBezTo>
                  <a:pt x="0" y="334"/>
                  <a:pt x="334" y="0"/>
                  <a:pt x="741" y="0"/>
                </a:cubicBezTo>
                <a:cubicBezTo>
                  <a:pt x="1147" y="0"/>
                  <a:pt x="1482" y="334"/>
                  <a:pt x="1482" y="740"/>
                </a:cubicBezTo>
              </a:path>
            </a:pathLst>
          </a:custGeom>
          <a:solidFill>
            <a:srgbClr val="7F1C58"/>
          </a:solidFill>
          <a:ln w="9525" cap="flat">
            <a:noFill/>
            <a:bevel/>
            <a:headEnd/>
            <a:tailEnd/>
          </a:ln>
          <a:effectLst/>
        </p:spPr>
        <p:txBody>
          <a:bodyPr wrap="none" anchor="ctr"/>
          <a:lstStyle/>
          <a:p>
            <a:endParaRPr lang="en-US"/>
          </a:p>
        </p:txBody>
      </p:sp>
      <p:sp>
        <p:nvSpPr>
          <p:cNvPr id="4" name="Text Placeholder 17">
            <a:extLst>
              <a:ext uri="{FF2B5EF4-FFF2-40B4-BE49-F238E27FC236}">
                <a16:creationId xmlns:a16="http://schemas.microsoft.com/office/drawing/2014/main" id="{DF4D5362-7136-FC7B-93B7-B2F2A11C57C6}"/>
              </a:ext>
            </a:extLst>
          </p:cNvPr>
          <p:cNvSpPr>
            <a:spLocks noGrp="1"/>
          </p:cNvSpPr>
          <p:nvPr>
            <p:ph type="body" sz="quarter" idx="39" hasCustomPrompt="1"/>
          </p:nvPr>
        </p:nvSpPr>
        <p:spPr>
          <a:xfrm>
            <a:off x="8644695" y="4010853"/>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US" dirty="0"/>
              <a:t>6</a:t>
            </a:r>
          </a:p>
        </p:txBody>
      </p:sp>
      <p:sp>
        <p:nvSpPr>
          <p:cNvPr id="5" name="Text Placeholder 17">
            <a:extLst>
              <a:ext uri="{FF2B5EF4-FFF2-40B4-BE49-F238E27FC236}">
                <a16:creationId xmlns:a16="http://schemas.microsoft.com/office/drawing/2014/main" id="{39D57695-014B-1EE8-51A6-4F954CF311B1}"/>
              </a:ext>
            </a:extLst>
          </p:cNvPr>
          <p:cNvSpPr>
            <a:spLocks noGrp="1"/>
          </p:cNvSpPr>
          <p:nvPr>
            <p:ph type="body" sz="quarter" idx="40" hasCustomPrompt="1"/>
          </p:nvPr>
        </p:nvSpPr>
        <p:spPr>
          <a:xfrm>
            <a:off x="9066461" y="3009494"/>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6" name="Freeform 173">
            <a:extLst>
              <a:ext uri="{FF2B5EF4-FFF2-40B4-BE49-F238E27FC236}">
                <a16:creationId xmlns:a16="http://schemas.microsoft.com/office/drawing/2014/main" id="{8CAA12FB-2297-6208-758E-8DAF604ECB0A}"/>
              </a:ext>
            </a:extLst>
          </p:cNvPr>
          <p:cNvSpPr>
            <a:spLocks noChangeArrowheads="1"/>
          </p:cNvSpPr>
          <p:nvPr userDrawn="1"/>
        </p:nvSpPr>
        <p:spPr bwMode="auto">
          <a:xfrm>
            <a:off x="9990771" y="1184068"/>
            <a:ext cx="1983966" cy="1979254"/>
          </a:xfrm>
          <a:custGeom>
            <a:avLst/>
            <a:gdLst>
              <a:gd name="T0" fmla="*/ 3713 w 3714"/>
              <a:gd name="T1" fmla="*/ 1851 h 3704"/>
              <a:gd name="T2" fmla="*/ 3713 w 3714"/>
              <a:gd name="T3" fmla="*/ 1851 h 3704"/>
              <a:gd name="T4" fmla="*/ 1862 w 3714"/>
              <a:gd name="T5" fmla="*/ 3703 h 3704"/>
              <a:gd name="T6" fmla="*/ 0 w 3714"/>
              <a:gd name="T7" fmla="*/ 1851 h 3704"/>
              <a:gd name="T8" fmla="*/ 1862 w 3714"/>
              <a:gd name="T9" fmla="*/ 0 h 3704"/>
              <a:gd name="T10" fmla="*/ 3713 w 3714"/>
              <a:gd name="T11" fmla="*/ 1851 h 3704"/>
            </a:gdLst>
            <a:ahLst/>
            <a:cxnLst>
              <a:cxn ang="0">
                <a:pos x="T0" y="T1"/>
              </a:cxn>
              <a:cxn ang="0">
                <a:pos x="T2" y="T3"/>
              </a:cxn>
              <a:cxn ang="0">
                <a:pos x="T4" y="T5"/>
              </a:cxn>
              <a:cxn ang="0">
                <a:pos x="T6" y="T7"/>
              </a:cxn>
              <a:cxn ang="0">
                <a:pos x="T8" y="T9"/>
              </a:cxn>
              <a:cxn ang="0">
                <a:pos x="T10" y="T11"/>
              </a:cxn>
            </a:cxnLst>
            <a:rect l="0" t="0" r="r" b="b"/>
            <a:pathLst>
              <a:path w="3714" h="3704">
                <a:moveTo>
                  <a:pt x="3713" y="1851"/>
                </a:moveTo>
                <a:lnTo>
                  <a:pt x="3713" y="1851"/>
                </a:lnTo>
                <a:cubicBezTo>
                  <a:pt x="3713" y="2872"/>
                  <a:pt x="2883" y="3703"/>
                  <a:pt x="1862" y="3703"/>
                </a:cubicBezTo>
                <a:cubicBezTo>
                  <a:pt x="832" y="3703"/>
                  <a:pt x="0" y="2872"/>
                  <a:pt x="0" y="1851"/>
                </a:cubicBezTo>
                <a:cubicBezTo>
                  <a:pt x="0" y="831"/>
                  <a:pt x="832" y="0"/>
                  <a:pt x="1862" y="0"/>
                </a:cubicBezTo>
                <a:cubicBezTo>
                  <a:pt x="2883" y="0"/>
                  <a:pt x="3713" y="831"/>
                  <a:pt x="3713" y="1851"/>
                </a:cubicBezTo>
              </a:path>
            </a:pathLst>
          </a:custGeom>
          <a:solidFill>
            <a:srgbClr val="F16924"/>
          </a:solidFill>
          <a:ln w="9525" cap="flat">
            <a:noFill/>
            <a:bevel/>
            <a:headEnd/>
            <a:tailEnd/>
          </a:ln>
          <a:effectLst/>
        </p:spPr>
        <p:txBody>
          <a:bodyPr wrap="none" anchor="ctr"/>
          <a:lstStyle/>
          <a:p>
            <a:endParaRPr lang="en-US"/>
          </a:p>
        </p:txBody>
      </p:sp>
      <p:sp>
        <p:nvSpPr>
          <p:cNvPr id="7" name="Freeform 176">
            <a:extLst>
              <a:ext uri="{FF2B5EF4-FFF2-40B4-BE49-F238E27FC236}">
                <a16:creationId xmlns:a16="http://schemas.microsoft.com/office/drawing/2014/main" id="{436EED6D-CC8B-DC0A-6D23-D36C89CF8675}"/>
              </a:ext>
            </a:extLst>
          </p:cNvPr>
          <p:cNvSpPr>
            <a:spLocks noChangeArrowheads="1"/>
          </p:cNvSpPr>
          <p:nvPr userDrawn="1"/>
        </p:nvSpPr>
        <p:spPr bwMode="auto">
          <a:xfrm>
            <a:off x="9943646" y="1028555"/>
            <a:ext cx="791702" cy="786989"/>
          </a:xfrm>
          <a:custGeom>
            <a:avLst/>
            <a:gdLst>
              <a:gd name="T0" fmla="*/ 1482 w 1483"/>
              <a:gd name="T1" fmla="*/ 731 h 1473"/>
              <a:gd name="T2" fmla="*/ 1482 w 1483"/>
              <a:gd name="T3" fmla="*/ 731 h 1473"/>
              <a:gd name="T4" fmla="*/ 741 w 1483"/>
              <a:gd name="T5" fmla="*/ 1472 h 1473"/>
              <a:gd name="T6" fmla="*/ 0 w 1483"/>
              <a:gd name="T7" fmla="*/ 731 h 1473"/>
              <a:gd name="T8" fmla="*/ 741 w 1483"/>
              <a:gd name="T9" fmla="*/ 0 h 1473"/>
              <a:gd name="T10" fmla="*/ 1482 w 1483"/>
              <a:gd name="T11" fmla="*/ 731 h 1473"/>
            </a:gdLst>
            <a:ahLst/>
            <a:cxnLst>
              <a:cxn ang="0">
                <a:pos x="T0" y="T1"/>
              </a:cxn>
              <a:cxn ang="0">
                <a:pos x="T2" y="T3"/>
              </a:cxn>
              <a:cxn ang="0">
                <a:pos x="T4" y="T5"/>
              </a:cxn>
              <a:cxn ang="0">
                <a:pos x="T6" y="T7"/>
              </a:cxn>
              <a:cxn ang="0">
                <a:pos x="T8" y="T9"/>
              </a:cxn>
              <a:cxn ang="0">
                <a:pos x="T10" y="T11"/>
              </a:cxn>
            </a:cxnLst>
            <a:rect l="0" t="0" r="r" b="b"/>
            <a:pathLst>
              <a:path w="1483" h="1473">
                <a:moveTo>
                  <a:pt x="1482" y="731"/>
                </a:moveTo>
                <a:lnTo>
                  <a:pt x="1482" y="731"/>
                </a:lnTo>
                <a:cubicBezTo>
                  <a:pt x="1482" y="1147"/>
                  <a:pt x="1148" y="1472"/>
                  <a:pt x="741" y="1472"/>
                </a:cubicBezTo>
                <a:cubicBezTo>
                  <a:pt x="334" y="1472"/>
                  <a:pt x="0" y="1147"/>
                  <a:pt x="0" y="731"/>
                </a:cubicBezTo>
                <a:cubicBezTo>
                  <a:pt x="0" y="325"/>
                  <a:pt x="334" y="0"/>
                  <a:pt x="741" y="0"/>
                </a:cubicBezTo>
                <a:cubicBezTo>
                  <a:pt x="1148" y="0"/>
                  <a:pt x="1482" y="325"/>
                  <a:pt x="1482" y="731"/>
                </a:cubicBezTo>
              </a:path>
            </a:pathLst>
          </a:custGeom>
          <a:solidFill>
            <a:srgbClr val="F16924"/>
          </a:solidFill>
          <a:ln w="9525" cap="flat">
            <a:noFill/>
            <a:bevel/>
            <a:headEnd/>
            <a:tailEnd/>
          </a:ln>
          <a:effectLst/>
        </p:spPr>
        <p:txBody>
          <a:bodyPr wrap="none" anchor="ctr"/>
          <a:lstStyle/>
          <a:p>
            <a:endParaRPr lang="en-US"/>
          </a:p>
        </p:txBody>
      </p:sp>
      <p:sp>
        <p:nvSpPr>
          <p:cNvPr id="8" name="Text Placeholder 17">
            <a:extLst>
              <a:ext uri="{FF2B5EF4-FFF2-40B4-BE49-F238E27FC236}">
                <a16:creationId xmlns:a16="http://schemas.microsoft.com/office/drawing/2014/main" id="{77E13EBC-C77A-1562-84FF-0EC723ACD9A6}"/>
              </a:ext>
            </a:extLst>
          </p:cNvPr>
          <p:cNvSpPr>
            <a:spLocks noGrp="1"/>
          </p:cNvSpPr>
          <p:nvPr>
            <p:ph type="body" sz="quarter" idx="41" hasCustomPrompt="1"/>
          </p:nvPr>
        </p:nvSpPr>
        <p:spPr>
          <a:xfrm>
            <a:off x="10075470" y="1573387"/>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9" name="Text Placeholder 17">
            <a:extLst>
              <a:ext uri="{FF2B5EF4-FFF2-40B4-BE49-F238E27FC236}">
                <a16:creationId xmlns:a16="http://schemas.microsoft.com/office/drawing/2014/main" id="{3218E514-89BB-F72A-4D44-1FEAA44A2973}"/>
              </a:ext>
            </a:extLst>
          </p:cNvPr>
          <p:cNvSpPr>
            <a:spLocks noGrp="1"/>
          </p:cNvSpPr>
          <p:nvPr>
            <p:ph type="body" sz="quarter" idx="42" hasCustomPrompt="1"/>
          </p:nvPr>
        </p:nvSpPr>
        <p:spPr>
          <a:xfrm>
            <a:off x="9991872" y="1075722"/>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a:t>
            </a:r>
            <a:endParaRPr lang="en-US" dirty="0"/>
          </a:p>
        </p:txBody>
      </p:sp>
    </p:spTree>
    <p:extLst>
      <p:ext uri="{BB962C8B-B14F-4D97-AF65-F5344CB8AC3E}">
        <p14:creationId xmlns:p14="http://schemas.microsoft.com/office/powerpoint/2010/main" val="35077142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point number graph with icons ">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FB45A437-6B55-9146-AED4-CA97F69F3CC4}"/>
              </a:ext>
            </a:extLst>
          </p:cNvPr>
          <p:cNvSpPr/>
          <p:nvPr userDrawn="1"/>
        </p:nvSpPr>
        <p:spPr>
          <a:xfrm>
            <a:off x="495393" y="11269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Calibri" panose="020F0502020204030204" pitchFamily="34" charset="0"/>
                <a:cs typeface="Calibri" panose="020F0502020204030204" pitchFamily="34" charset="0"/>
              </a:defRPr>
            </a:lvl1pPr>
          </a:lstStyle>
          <a:p>
            <a:pPr lvl="0"/>
            <a:r>
              <a:rPr lang="en-US" dirty="0"/>
              <a:t>Heading</a:t>
            </a:r>
          </a:p>
        </p:txBody>
      </p:sp>
      <p:sp>
        <p:nvSpPr>
          <p:cNvPr id="33" name="Oval 32">
            <a:extLst>
              <a:ext uri="{FF2B5EF4-FFF2-40B4-BE49-F238E27FC236}">
                <a16:creationId xmlns:a16="http://schemas.microsoft.com/office/drawing/2014/main" id="{7EB02BD7-70AD-D749-AB02-A773D9584280}"/>
              </a:ext>
            </a:extLst>
          </p:cNvPr>
          <p:cNvSpPr/>
          <p:nvPr/>
        </p:nvSpPr>
        <p:spPr>
          <a:xfrm>
            <a:off x="2291885" y="1613764"/>
            <a:ext cx="2664102" cy="266410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9D30D462-B88D-4645-A255-F2108DEBADF2}"/>
              </a:ext>
            </a:extLst>
          </p:cNvPr>
          <p:cNvSpPr/>
          <p:nvPr/>
        </p:nvSpPr>
        <p:spPr>
          <a:xfrm>
            <a:off x="4587111" y="1613764"/>
            <a:ext cx="2664102" cy="266410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9030B4BB-AEAA-B74F-9C0C-375C2CEE4D88}"/>
              </a:ext>
            </a:extLst>
          </p:cNvPr>
          <p:cNvSpPr/>
          <p:nvPr/>
        </p:nvSpPr>
        <p:spPr>
          <a:xfrm>
            <a:off x="6882337" y="1613764"/>
            <a:ext cx="2664102" cy="266410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29A6A2A1-61AE-EA42-82A0-137FB4195E3E}"/>
              </a:ext>
            </a:extLst>
          </p:cNvPr>
          <p:cNvSpPr/>
          <p:nvPr/>
        </p:nvSpPr>
        <p:spPr>
          <a:xfrm>
            <a:off x="9177563" y="1613764"/>
            <a:ext cx="2664102" cy="266410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A9116FB9-51EC-4D4B-AECA-B8C5CE39EA90}"/>
              </a:ext>
            </a:extLst>
          </p:cNvPr>
          <p:cNvSpPr/>
          <p:nvPr/>
        </p:nvSpPr>
        <p:spPr>
          <a:xfrm>
            <a:off x="2660761" y="1171356"/>
            <a:ext cx="1268168" cy="126816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4DAB1F1D-D494-B64C-B788-EA224F69D000}"/>
              </a:ext>
            </a:extLst>
          </p:cNvPr>
          <p:cNvSpPr/>
          <p:nvPr/>
        </p:nvSpPr>
        <p:spPr>
          <a:xfrm>
            <a:off x="4955987" y="1171356"/>
            <a:ext cx="1268168" cy="126816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EACA38CC-B881-B64C-986A-7396F7157B4A}"/>
              </a:ext>
            </a:extLst>
          </p:cNvPr>
          <p:cNvSpPr/>
          <p:nvPr userDrawn="1"/>
        </p:nvSpPr>
        <p:spPr>
          <a:xfrm>
            <a:off x="7251213" y="1171356"/>
            <a:ext cx="1268168" cy="126816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1602613E-7EEE-C347-90CD-3FD01C4F925E}"/>
              </a:ext>
            </a:extLst>
          </p:cNvPr>
          <p:cNvSpPr/>
          <p:nvPr/>
        </p:nvSpPr>
        <p:spPr>
          <a:xfrm>
            <a:off x="9546439" y="1171356"/>
            <a:ext cx="1268168" cy="126816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AE668048-3D1A-0944-9382-E43B157DF0C1}"/>
              </a:ext>
            </a:extLst>
          </p:cNvPr>
          <p:cNvSpPr/>
          <p:nvPr/>
        </p:nvSpPr>
        <p:spPr>
          <a:xfrm>
            <a:off x="2764010" y="1259646"/>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Oval 41">
            <a:extLst>
              <a:ext uri="{FF2B5EF4-FFF2-40B4-BE49-F238E27FC236}">
                <a16:creationId xmlns:a16="http://schemas.microsoft.com/office/drawing/2014/main" id="{3D1DD726-B492-8E44-9918-192EF5BA2D3D}"/>
              </a:ext>
            </a:extLst>
          </p:cNvPr>
          <p:cNvSpPr/>
          <p:nvPr/>
        </p:nvSpPr>
        <p:spPr>
          <a:xfrm>
            <a:off x="5062741" y="1278110"/>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4626D483-2F4C-9149-AE75-A1DB204AF180}"/>
              </a:ext>
            </a:extLst>
          </p:cNvPr>
          <p:cNvSpPr/>
          <p:nvPr/>
        </p:nvSpPr>
        <p:spPr>
          <a:xfrm>
            <a:off x="7357967" y="1278109"/>
            <a:ext cx="1054660" cy="10546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5CC52548-81E9-E848-ACC2-147DFAA24991}"/>
              </a:ext>
            </a:extLst>
          </p:cNvPr>
          <p:cNvSpPr/>
          <p:nvPr/>
        </p:nvSpPr>
        <p:spPr>
          <a:xfrm>
            <a:off x="9653193" y="1278109"/>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615F96DE-6B77-E34D-972D-58623A9BC87D}"/>
              </a:ext>
            </a:extLst>
          </p:cNvPr>
          <p:cNvSpPr/>
          <p:nvPr/>
        </p:nvSpPr>
        <p:spPr>
          <a:xfrm>
            <a:off x="3637375" y="3752248"/>
            <a:ext cx="879736" cy="87973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94673B41-433E-E44D-900C-5050C967F29E}"/>
              </a:ext>
            </a:extLst>
          </p:cNvPr>
          <p:cNvSpPr/>
          <p:nvPr/>
        </p:nvSpPr>
        <p:spPr>
          <a:xfrm>
            <a:off x="6000869" y="3752248"/>
            <a:ext cx="879736" cy="879735"/>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64773E4C-32A9-DB4E-BCDC-F968258A12B8}"/>
              </a:ext>
            </a:extLst>
          </p:cNvPr>
          <p:cNvSpPr/>
          <p:nvPr/>
        </p:nvSpPr>
        <p:spPr>
          <a:xfrm>
            <a:off x="8297827" y="3752248"/>
            <a:ext cx="879736" cy="87973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FF264980-2C35-3447-8873-1AA9114E2FDB}"/>
              </a:ext>
            </a:extLst>
          </p:cNvPr>
          <p:cNvSpPr/>
          <p:nvPr/>
        </p:nvSpPr>
        <p:spPr>
          <a:xfrm>
            <a:off x="10728236" y="3752248"/>
            <a:ext cx="879736" cy="879735"/>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 Placeholder 17">
            <a:extLst>
              <a:ext uri="{FF2B5EF4-FFF2-40B4-BE49-F238E27FC236}">
                <a16:creationId xmlns:a16="http://schemas.microsoft.com/office/drawing/2014/main" id="{6ADBD416-235E-8042-9F21-FF4E75B4608C}"/>
              </a:ext>
            </a:extLst>
          </p:cNvPr>
          <p:cNvSpPr>
            <a:spLocks noGrp="1"/>
          </p:cNvSpPr>
          <p:nvPr userDrawn="1">
            <p:ph type="body" sz="quarter" idx="34" hasCustomPrompt="1"/>
          </p:nvPr>
        </p:nvSpPr>
        <p:spPr>
          <a:xfrm>
            <a:off x="2949937" y="1419577"/>
            <a:ext cx="695250" cy="734798"/>
          </a:xfrm>
        </p:spPr>
        <p:txBody>
          <a:bodyPr/>
          <a:lstStyle>
            <a:lvl1pPr algn="ctr">
              <a:buNone/>
              <a:defRPr sz="48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63" name="Text Placeholder 17">
            <a:extLst>
              <a:ext uri="{FF2B5EF4-FFF2-40B4-BE49-F238E27FC236}">
                <a16:creationId xmlns:a16="http://schemas.microsoft.com/office/drawing/2014/main" id="{2BBAC9AE-474F-0D44-9EBA-0537E6983137}"/>
              </a:ext>
            </a:extLst>
          </p:cNvPr>
          <p:cNvSpPr>
            <a:spLocks noGrp="1"/>
          </p:cNvSpPr>
          <p:nvPr userDrawn="1">
            <p:ph type="body" sz="quarter" idx="35" hasCustomPrompt="1"/>
          </p:nvPr>
        </p:nvSpPr>
        <p:spPr>
          <a:xfrm>
            <a:off x="5266544" y="1422173"/>
            <a:ext cx="695250" cy="734798"/>
          </a:xfrm>
        </p:spPr>
        <p:txBody>
          <a:bodyPr/>
          <a:lstStyle>
            <a:lvl1pPr algn="ctr">
              <a:buNone/>
              <a:defRPr sz="48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64" name="Text Placeholder 17">
            <a:extLst>
              <a:ext uri="{FF2B5EF4-FFF2-40B4-BE49-F238E27FC236}">
                <a16:creationId xmlns:a16="http://schemas.microsoft.com/office/drawing/2014/main" id="{BF9CAB18-1D38-D644-A81F-70E5466D0389}"/>
              </a:ext>
            </a:extLst>
          </p:cNvPr>
          <p:cNvSpPr>
            <a:spLocks noGrp="1"/>
          </p:cNvSpPr>
          <p:nvPr userDrawn="1">
            <p:ph type="body" sz="quarter" idx="36" hasCustomPrompt="1"/>
          </p:nvPr>
        </p:nvSpPr>
        <p:spPr>
          <a:xfrm>
            <a:off x="7540389" y="1435531"/>
            <a:ext cx="695250" cy="734798"/>
          </a:xfrm>
        </p:spPr>
        <p:txBody>
          <a:bodyPr/>
          <a:lstStyle>
            <a:lvl1pPr algn="ctr">
              <a:buNone/>
              <a:defRPr sz="48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
        <p:nvSpPr>
          <p:cNvPr id="65" name="Text Placeholder 17">
            <a:extLst>
              <a:ext uri="{FF2B5EF4-FFF2-40B4-BE49-F238E27FC236}">
                <a16:creationId xmlns:a16="http://schemas.microsoft.com/office/drawing/2014/main" id="{A8A502A8-834D-C94A-9859-BACB55444207}"/>
              </a:ext>
            </a:extLst>
          </p:cNvPr>
          <p:cNvSpPr>
            <a:spLocks noGrp="1"/>
          </p:cNvSpPr>
          <p:nvPr userDrawn="1">
            <p:ph type="body" sz="quarter" idx="37" hasCustomPrompt="1"/>
          </p:nvPr>
        </p:nvSpPr>
        <p:spPr>
          <a:xfrm>
            <a:off x="9856996" y="1438127"/>
            <a:ext cx="695250" cy="734798"/>
          </a:xfrm>
        </p:spPr>
        <p:txBody>
          <a:bodyPr/>
          <a:lstStyle>
            <a:lvl1pPr algn="ctr">
              <a:buNone/>
              <a:defRPr sz="48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70" name="Text Placeholder 17">
            <a:extLst>
              <a:ext uri="{FF2B5EF4-FFF2-40B4-BE49-F238E27FC236}">
                <a16:creationId xmlns:a16="http://schemas.microsoft.com/office/drawing/2014/main" id="{084B4BE7-DD1C-1743-85E4-D3ED17FE67F2}"/>
              </a:ext>
            </a:extLst>
          </p:cNvPr>
          <p:cNvSpPr>
            <a:spLocks noGrp="1"/>
          </p:cNvSpPr>
          <p:nvPr userDrawn="1">
            <p:ph type="body" sz="quarter" idx="21" hasCustomPrompt="1"/>
          </p:nvPr>
        </p:nvSpPr>
        <p:spPr>
          <a:xfrm>
            <a:off x="2493881" y="260853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1" name="Text Placeholder 17">
            <a:extLst>
              <a:ext uri="{FF2B5EF4-FFF2-40B4-BE49-F238E27FC236}">
                <a16:creationId xmlns:a16="http://schemas.microsoft.com/office/drawing/2014/main" id="{5E862C59-ABDF-FB45-866F-C33FB45F9EE7}"/>
              </a:ext>
            </a:extLst>
          </p:cNvPr>
          <p:cNvSpPr>
            <a:spLocks noGrp="1"/>
          </p:cNvSpPr>
          <p:nvPr userDrawn="1">
            <p:ph type="body" sz="quarter" idx="38" hasCustomPrompt="1"/>
          </p:nvPr>
        </p:nvSpPr>
        <p:spPr>
          <a:xfrm>
            <a:off x="4825108" y="258973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2" name="Text Placeholder 17">
            <a:extLst>
              <a:ext uri="{FF2B5EF4-FFF2-40B4-BE49-F238E27FC236}">
                <a16:creationId xmlns:a16="http://schemas.microsoft.com/office/drawing/2014/main" id="{16252092-110B-DF41-BAA1-24D8CA1DA645}"/>
              </a:ext>
            </a:extLst>
          </p:cNvPr>
          <p:cNvSpPr>
            <a:spLocks noGrp="1"/>
          </p:cNvSpPr>
          <p:nvPr userDrawn="1">
            <p:ph type="body" sz="quarter" idx="39" hasCustomPrompt="1"/>
          </p:nvPr>
        </p:nvSpPr>
        <p:spPr>
          <a:xfrm>
            <a:off x="7080366" y="259420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3" name="Text Placeholder 17">
            <a:extLst>
              <a:ext uri="{FF2B5EF4-FFF2-40B4-BE49-F238E27FC236}">
                <a16:creationId xmlns:a16="http://schemas.microsoft.com/office/drawing/2014/main" id="{6BE3560E-17BA-CF47-9892-C7DA0E586994}"/>
              </a:ext>
            </a:extLst>
          </p:cNvPr>
          <p:cNvSpPr>
            <a:spLocks noGrp="1"/>
          </p:cNvSpPr>
          <p:nvPr userDrawn="1">
            <p:ph type="body" sz="quarter" idx="40" hasCustomPrompt="1"/>
          </p:nvPr>
        </p:nvSpPr>
        <p:spPr>
          <a:xfrm>
            <a:off x="9411593" y="257540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0" name="Rectangle 29">
            <a:extLst>
              <a:ext uri="{FF2B5EF4-FFF2-40B4-BE49-F238E27FC236}">
                <a16:creationId xmlns:a16="http://schemas.microsoft.com/office/drawing/2014/main" id="{438284D2-E808-5547-A136-6F12F3B63AA4}"/>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4E1CEB4C-C7AD-E241-A155-72A4E884710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9399968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point icon graph">
    <p:spTree>
      <p:nvGrpSpPr>
        <p:cNvPr id="1" name=""/>
        <p:cNvGrpSpPr/>
        <p:nvPr/>
      </p:nvGrpSpPr>
      <p:grpSpPr>
        <a:xfrm>
          <a:off x="0" y="0"/>
          <a:ext cx="0" cy="0"/>
          <a:chOff x="0" y="0"/>
          <a:chExt cx="0" cy="0"/>
        </a:xfrm>
      </p:grpSpPr>
      <p:sp>
        <p:nvSpPr>
          <p:cNvPr id="49" name="Freeform 48">
            <a:extLst>
              <a:ext uri="{FF2B5EF4-FFF2-40B4-BE49-F238E27FC236}">
                <a16:creationId xmlns:a16="http://schemas.microsoft.com/office/drawing/2014/main" id="{C2DB8636-C798-AD47-8DC9-47814E3387DD}"/>
              </a:ext>
            </a:extLst>
          </p:cNvPr>
          <p:cNvSpPr/>
          <p:nvPr/>
        </p:nvSpPr>
        <p:spPr>
          <a:xfrm>
            <a:off x="4292836"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3"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0" name="Freeform 49">
            <a:extLst>
              <a:ext uri="{FF2B5EF4-FFF2-40B4-BE49-F238E27FC236}">
                <a16:creationId xmlns:a16="http://schemas.microsoft.com/office/drawing/2014/main" id="{A5ECD853-1DE4-6A49-83BF-BE872511E6E0}"/>
              </a:ext>
            </a:extLst>
          </p:cNvPr>
          <p:cNvSpPr/>
          <p:nvPr/>
        </p:nvSpPr>
        <p:spPr>
          <a:xfrm>
            <a:off x="3846806" y="2428576"/>
            <a:ext cx="323830" cy="326885"/>
          </a:xfrm>
          <a:custGeom>
            <a:avLst/>
            <a:gdLst/>
            <a:ahLst/>
            <a:cxnLst>
              <a:cxn ang="3cd4">
                <a:pos x="hc" y="t"/>
              </a:cxn>
              <a:cxn ang="cd2">
                <a:pos x="l" y="vc"/>
              </a:cxn>
              <a:cxn ang="cd4">
                <a:pos x="hc" y="b"/>
              </a:cxn>
              <a:cxn ang="0">
                <a:pos x="r" y="vc"/>
              </a:cxn>
            </a:cxnLst>
            <a:rect l="l" t="t" r="r" b="b"/>
            <a:pathLst>
              <a:path w="213" h="215">
                <a:moveTo>
                  <a:pt x="213" y="107"/>
                </a:moveTo>
                <a:cubicBezTo>
                  <a:pt x="213" y="166"/>
                  <a:pt x="166" y="215"/>
                  <a:pt x="106" y="215"/>
                </a:cubicBezTo>
                <a:cubicBezTo>
                  <a:pt x="48" y="215"/>
                  <a:pt x="0" y="166"/>
                  <a:pt x="0" y="107"/>
                </a:cubicBezTo>
                <a:cubicBezTo>
                  <a:pt x="0" y="48"/>
                  <a:pt x="48" y="0"/>
                  <a:pt x="106" y="0"/>
                </a:cubicBezTo>
                <a:cubicBezTo>
                  <a:pt x="166" y="0"/>
                  <a:pt x="213" y="48"/>
                  <a:pt x="213" y="10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1" name="Freeform 50">
            <a:extLst>
              <a:ext uri="{FF2B5EF4-FFF2-40B4-BE49-F238E27FC236}">
                <a16:creationId xmlns:a16="http://schemas.microsoft.com/office/drawing/2014/main" id="{1FB605EC-FC6D-3D40-A5B0-5C7A5B28222F}"/>
              </a:ext>
            </a:extLst>
          </p:cNvPr>
          <p:cNvSpPr/>
          <p:nvPr/>
        </p:nvSpPr>
        <p:spPr>
          <a:xfrm>
            <a:off x="3912488"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9" y="128"/>
                  <a:pt x="63" y="128"/>
                </a:cubicBezTo>
                <a:cubicBezTo>
                  <a:pt x="28" y="128"/>
                  <a:pt x="0" y="100"/>
                  <a:pt x="0" y="64"/>
                </a:cubicBezTo>
                <a:cubicBezTo>
                  <a:pt x="0" y="30"/>
                  <a:pt x="28" y="0"/>
                  <a:pt x="63" y="0"/>
                </a:cubicBezTo>
                <a:cubicBezTo>
                  <a:pt x="99"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2" name="Freeform 51">
            <a:extLst>
              <a:ext uri="{FF2B5EF4-FFF2-40B4-BE49-F238E27FC236}">
                <a16:creationId xmlns:a16="http://schemas.microsoft.com/office/drawing/2014/main" id="{813784D3-D312-744B-8BF6-8D3D764C1FF8}"/>
              </a:ext>
            </a:extLst>
          </p:cNvPr>
          <p:cNvSpPr/>
          <p:nvPr/>
        </p:nvSpPr>
        <p:spPr>
          <a:xfrm>
            <a:off x="3324401" y="800258"/>
            <a:ext cx="1370167" cy="1510697"/>
          </a:xfrm>
          <a:custGeom>
            <a:avLst/>
            <a:gdLst/>
            <a:ahLst/>
            <a:cxnLst>
              <a:cxn ang="3cd4">
                <a:pos x="hc" y="t"/>
              </a:cxn>
              <a:cxn ang="cd2">
                <a:pos x="l" y="vc"/>
              </a:cxn>
              <a:cxn ang="cd4">
                <a:pos x="hc" y="b"/>
              </a:cxn>
              <a:cxn ang="0">
                <a:pos x="r" y="vc"/>
              </a:cxn>
            </a:cxnLst>
            <a:rect l="l" t="t" r="r" b="b"/>
            <a:pathLst>
              <a:path w="898" h="990">
                <a:moveTo>
                  <a:pt x="898" y="447"/>
                </a:moveTo>
                <a:cubicBezTo>
                  <a:pt x="898" y="649"/>
                  <a:pt x="765" y="819"/>
                  <a:pt x="583" y="875"/>
                </a:cubicBezTo>
                <a:cubicBezTo>
                  <a:pt x="541" y="889"/>
                  <a:pt x="471" y="936"/>
                  <a:pt x="448" y="990"/>
                </a:cubicBezTo>
                <a:cubicBezTo>
                  <a:pt x="427" y="941"/>
                  <a:pt x="357" y="889"/>
                  <a:pt x="314" y="875"/>
                </a:cubicBezTo>
                <a:cubicBezTo>
                  <a:pt x="131" y="817"/>
                  <a:pt x="0" y="649"/>
                  <a:pt x="0" y="447"/>
                </a:cubicBezTo>
                <a:cubicBezTo>
                  <a:pt x="0" y="200"/>
                  <a:pt x="201" y="0"/>
                  <a:pt x="448" y="0"/>
                </a:cubicBezTo>
                <a:cubicBezTo>
                  <a:pt x="696" y="0"/>
                  <a:pt x="898" y="200"/>
                  <a:pt x="898" y="44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3" name="Freeform 52">
            <a:extLst>
              <a:ext uri="{FF2B5EF4-FFF2-40B4-BE49-F238E27FC236}">
                <a16:creationId xmlns:a16="http://schemas.microsoft.com/office/drawing/2014/main" id="{C952250C-2D0F-064B-B9BE-BB9EECA238E4}"/>
              </a:ext>
            </a:extLst>
          </p:cNvPr>
          <p:cNvSpPr/>
          <p:nvPr/>
        </p:nvSpPr>
        <p:spPr>
          <a:xfrm>
            <a:off x="6055570"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5" y="215"/>
                  <a:pt x="106" y="215"/>
                </a:cubicBezTo>
                <a:cubicBezTo>
                  <a:pt x="46" y="215"/>
                  <a:pt x="0" y="166"/>
                  <a:pt x="0" y="107"/>
                </a:cubicBezTo>
                <a:cubicBezTo>
                  <a:pt x="0" y="48"/>
                  <a:pt x="46" y="0"/>
                  <a:pt x="106" y="0"/>
                </a:cubicBezTo>
                <a:cubicBezTo>
                  <a:pt x="165" y="0"/>
                  <a:pt x="214" y="48"/>
                  <a:pt x="214" y="107"/>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4" name="Freeform 53">
            <a:extLst>
              <a:ext uri="{FF2B5EF4-FFF2-40B4-BE49-F238E27FC236}">
                <a16:creationId xmlns:a16="http://schemas.microsoft.com/office/drawing/2014/main" id="{1383608B-3ED7-074D-A0C2-469C4A907A53}"/>
              </a:ext>
            </a:extLst>
          </p:cNvPr>
          <p:cNvSpPr/>
          <p:nvPr/>
        </p:nvSpPr>
        <p:spPr>
          <a:xfrm>
            <a:off x="6119725" y="2494259"/>
            <a:ext cx="193993" cy="193992"/>
          </a:xfrm>
          <a:custGeom>
            <a:avLst/>
            <a:gdLst/>
            <a:ahLst/>
            <a:cxnLst>
              <a:cxn ang="3cd4">
                <a:pos x="hc" y="t"/>
              </a:cxn>
              <a:cxn ang="cd2">
                <a:pos x="l" y="vc"/>
              </a:cxn>
              <a:cxn ang="cd4">
                <a:pos x="hc" y="b"/>
              </a:cxn>
              <a:cxn ang="0">
                <a:pos x="r" y="vc"/>
              </a:cxn>
            </a:cxnLst>
            <a:rect l="l" t="t" r="r" b="b"/>
            <a:pathLst>
              <a:path w="128" h="128">
                <a:moveTo>
                  <a:pt x="128" y="64"/>
                </a:moveTo>
                <a:cubicBezTo>
                  <a:pt x="128" y="100"/>
                  <a:pt x="100" y="128"/>
                  <a:pt x="64" y="128"/>
                </a:cubicBezTo>
                <a:cubicBezTo>
                  <a:pt x="28" y="128"/>
                  <a:pt x="0" y="100"/>
                  <a:pt x="0" y="64"/>
                </a:cubicBezTo>
                <a:cubicBezTo>
                  <a:pt x="0" y="30"/>
                  <a:pt x="28" y="0"/>
                  <a:pt x="64" y="0"/>
                </a:cubicBezTo>
                <a:cubicBezTo>
                  <a:pt x="100" y="0"/>
                  <a:pt x="128" y="30"/>
                  <a:pt x="128"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5" name="Freeform 54">
            <a:extLst>
              <a:ext uri="{FF2B5EF4-FFF2-40B4-BE49-F238E27FC236}">
                <a16:creationId xmlns:a16="http://schemas.microsoft.com/office/drawing/2014/main" id="{49B34B02-D6BF-B143-85D1-021CEA346336}"/>
              </a:ext>
            </a:extLst>
          </p:cNvPr>
          <p:cNvSpPr/>
          <p:nvPr/>
        </p:nvSpPr>
        <p:spPr>
          <a:xfrm>
            <a:off x="5531638" y="2921959"/>
            <a:ext cx="1368640" cy="1512224"/>
          </a:xfrm>
          <a:custGeom>
            <a:avLst/>
            <a:gdLst/>
            <a:ahLst/>
            <a:cxnLst>
              <a:cxn ang="3cd4">
                <a:pos x="hc" y="t"/>
              </a:cxn>
              <a:cxn ang="cd2">
                <a:pos x="l" y="vc"/>
              </a:cxn>
              <a:cxn ang="cd4">
                <a:pos x="hc" y="b"/>
              </a:cxn>
              <a:cxn ang="0">
                <a:pos x="r" y="vc"/>
              </a:cxn>
            </a:cxnLst>
            <a:rect l="l" t="t" r="r" b="b"/>
            <a:pathLst>
              <a:path w="897" h="991">
                <a:moveTo>
                  <a:pt x="897" y="542"/>
                </a:moveTo>
                <a:cubicBezTo>
                  <a:pt x="897" y="341"/>
                  <a:pt x="766" y="172"/>
                  <a:pt x="584" y="114"/>
                </a:cubicBezTo>
                <a:cubicBezTo>
                  <a:pt x="541" y="101"/>
                  <a:pt x="471" y="54"/>
                  <a:pt x="449" y="0"/>
                </a:cubicBezTo>
                <a:cubicBezTo>
                  <a:pt x="426" y="50"/>
                  <a:pt x="357" y="101"/>
                  <a:pt x="315" y="114"/>
                </a:cubicBezTo>
                <a:cubicBezTo>
                  <a:pt x="132" y="172"/>
                  <a:pt x="0" y="342"/>
                  <a:pt x="0" y="542"/>
                </a:cubicBezTo>
                <a:cubicBezTo>
                  <a:pt x="0" y="789"/>
                  <a:pt x="202" y="991"/>
                  <a:pt x="449" y="991"/>
                </a:cubicBezTo>
                <a:cubicBezTo>
                  <a:pt x="697" y="991"/>
                  <a:pt x="897" y="789"/>
                  <a:pt x="897" y="542"/>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6" name="Freeform 55">
            <a:extLst>
              <a:ext uri="{FF2B5EF4-FFF2-40B4-BE49-F238E27FC236}">
                <a16:creationId xmlns:a16="http://schemas.microsoft.com/office/drawing/2014/main" id="{8BCF563E-9283-AC4E-8512-9E60AF0E8397}"/>
              </a:ext>
            </a:extLst>
          </p:cNvPr>
          <p:cNvSpPr/>
          <p:nvPr/>
        </p:nvSpPr>
        <p:spPr>
          <a:xfrm>
            <a:off x="6489380"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4"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7" name="Freeform 56">
            <a:extLst>
              <a:ext uri="{FF2B5EF4-FFF2-40B4-BE49-F238E27FC236}">
                <a16:creationId xmlns:a16="http://schemas.microsoft.com/office/drawing/2014/main" id="{017F71C7-97C2-574F-826D-B09EC5C3194C}"/>
              </a:ext>
            </a:extLst>
          </p:cNvPr>
          <p:cNvSpPr/>
          <p:nvPr/>
        </p:nvSpPr>
        <p:spPr>
          <a:xfrm>
            <a:off x="8249060" y="2428576"/>
            <a:ext cx="326885" cy="326885"/>
          </a:xfrm>
          <a:custGeom>
            <a:avLst/>
            <a:gdLst/>
            <a:ahLst/>
            <a:cxnLst>
              <a:cxn ang="3cd4">
                <a:pos x="hc" y="t"/>
              </a:cxn>
              <a:cxn ang="cd2">
                <a:pos x="l" y="vc"/>
              </a:cxn>
              <a:cxn ang="cd4">
                <a:pos x="hc" y="b"/>
              </a:cxn>
              <a:cxn ang="0">
                <a:pos x="r" y="vc"/>
              </a:cxn>
            </a:cxnLst>
            <a:rect l="l" t="t" r="r" b="b"/>
            <a:pathLst>
              <a:path w="215" h="215">
                <a:moveTo>
                  <a:pt x="215" y="107"/>
                </a:moveTo>
                <a:cubicBezTo>
                  <a:pt x="215" y="166"/>
                  <a:pt x="167" y="215"/>
                  <a:pt x="108" y="215"/>
                </a:cubicBezTo>
                <a:cubicBezTo>
                  <a:pt x="49" y="215"/>
                  <a:pt x="0" y="166"/>
                  <a:pt x="0" y="107"/>
                </a:cubicBezTo>
                <a:cubicBezTo>
                  <a:pt x="0" y="48"/>
                  <a:pt x="49" y="0"/>
                  <a:pt x="108" y="0"/>
                </a:cubicBezTo>
                <a:cubicBezTo>
                  <a:pt x="167" y="0"/>
                  <a:pt x="215" y="48"/>
                  <a:pt x="215" y="10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8" name="Freeform 57">
            <a:extLst>
              <a:ext uri="{FF2B5EF4-FFF2-40B4-BE49-F238E27FC236}">
                <a16:creationId xmlns:a16="http://schemas.microsoft.com/office/drawing/2014/main" id="{96F4A2A0-18C8-F044-A431-537EB66CDFB7}"/>
              </a:ext>
            </a:extLst>
          </p:cNvPr>
          <p:cNvSpPr/>
          <p:nvPr/>
        </p:nvSpPr>
        <p:spPr>
          <a:xfrm>
            <a:off x="8316270"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8" y="128"/>
                  <a:pt x="64" y="128"/>
                </a:cubicBezTo>
                <a:cubicBezTo>
                  <a:pt x="29" y="128"/>
                  <a:pt x="0" y="100"/>
                  <a:pt x="0" y="64"/>
                </a:cubicBezTo>
                <a:cubicBezTo>
                  <a:pt x="0" y="30"/>
                  <a:pt x="29" y="0"/>
                  <a:pt x="64" y="0"/>
                </a:cubicBezTo>
                <a:cubicBezTo>
                  <a:pt x="98"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9" name="Freeform 58">
            <a:extLst>
              <a:ext uri="{FF2B5EF4-FFF2-40B4-BE49-F238E27FC236}">
                <a16:creationId xmlns:a16="http://schemas.microsoft.com/office/drawing/2014/main" id="{4EE984EA-0E9E-E246-B144-9A6FBED36A0D}"/>
              </a:ext>
            </a:extLst>
          </p:cNvPr>
          <p:cNvSpPr/>
          <p:nvPr/>
        </p:nvSpPr>
        <p:spPr>
          <a:xfrm>
            <a:off x="7728183" y="800258"/>
            <a:ext cx="1367112" cy="1510697"/>
          </a:xfrm>
          <a:custGeom>
            <a:avLst/>
            <a:gdLst/>
            <a:ahLst/>
            <a:cxnLst>
              <a:cxn ang="3cd4">
                <a:pos x="hc" y="t"/>
              </a:cxn>
              <a:cxn ang="cd2">
                <a:pos x="l" y="vc"/>
              </a:cxn>
              <a:cxn ang="cd4">
                <a:pos x="hc" y="b"/>
              </a:cxn>
              <a:cxn ang="0">
                <a:pos x="r" y="vc"/>
              </a:cxn>
            </a:cxnLst>
            <a:rect l="l" t="t" r="r" b="b"/>
            <a:pathLst>
              <a:path w="896" h="990">
                <a:moveTo>
                  <a:pt x="896" y="447"/>
                </a:moveTo>
                <a:cubicBezTo>
                  <a:pt x="896" y="649"/>
                  <a:pt x="764" y="819"/>
                  <a:pt x="582" y="875"/>
                </a:cubicBezTo>
                <a:cubicBezTo>
                  <a:pt x="541" y="889"/>
                  <a:pt x="471" y="936"/>
                  <a:pt x="449" y="990"/>
                </a:cubicBezTo>
                <a:cubicBezTo>
                  <a:pt x="427" y="941"/>
                  <a:pt x="357" y="889"/>
                  <a:pt x="314" y="875"/>
                </a:cubicBezTo>
                <a:cubicBezTo>
                  <a:pt x="132" y="817"/>
                  <a:pt x="0" y="649"/>
                  <a:pt x="0" y="447"/>
                </a:cubicBezTo>
                <a:cubicBezTo>
                  <a:pt x="0" y="200"/>
                  <a:pt x="202" y="0"/>
                  <a:pt x="449" y="0"/>
                </a:cubicBezTo>
                <a:cubicBezTo>
                  <a:pt x="696" y="0"/>
                  <a:pt x="896" y="200"/>
                  <a:pt x="896" y="44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0" name="Freeform 59">
            <a:extLst>
              <a:ext uri="{FF2B5EF4-FFF2-40B4-BE49-F238E27FC236}">
                <a16:creationId xmlns:a16="http://schemas.microsoft.com/office/drawing/2014/main" id="{33B7BA85-0535-9D4E-9ABA-CAF119D02F9C}"/>
              </a:ext>
            </a:extLst>
          </p:cNvPr>
          <p:cNvSpPr/>
          <p:nvPr/>
        </p:nvSpPr>
        <p:spPr>
          <a:xfrm>
            <a:off x="8684398" y="2475929"/>
            <a:ext cx="1661920" cy="233707"/>
          </a:xfrm>
          <a:custGeom>
            <a:avLst/>
            <a:gdLst/>
            <a:ahLst/>
            <a:cxnLst>
              <a:cxn ang="3cd4">
                <a:pos x="hc" y="t"/>
              </a:cxn>
              <a:cxn ang="cd2">
                <a:pos x="l" y="vc"/>
              </a:cxn>
              <a:cxn ang="cd4">
                <a:pos x="hc" y="b"/>
              </a:cxn>
              <a:cxn ang="0">
                <a:pos x="r" y="vc"/>
              </a:cxn>
            </a:cxnLst>
            <a:rect l="l" t="t" r="r" b="b"/>
            <a:pathLst>
              <a:path w="1089" h="154">
                <a:moveTo>
                  <a:pt x="1067" y="76"/>
                </a:moveTo>
                <a:cubicBezTo>
                  <a:pt x="1067" y="49"/>
                  <a:pt x="1074" y="23"/>
                  <a:pt x="1088" y="0"/>
                </a:cubicBezTo>
                <a:lnTo>
                  <a:pt x="2" y="0"/>
                </a:lnTo>
                <a:cubicBezTo>
                  <a:pt x="16" y="23"/>
                  <a:pt x="23" y="49"/>
                  <a:pt x="23" y="76"/>
                </a:cubicBezTo>
                <a:cubicBezTo>
                  <a:pt x="23" y="106"/>
                  <a:pt x="14" y="131"/>
                  <a:pt x="0" y="154"/>
                </a:cubicBezTo>
                <a:lnTo>
                  <a:pt x="1089" y="154"/>
                </a:lnTo>
                <a:cubicBezTo>
                  <a:pt x="1074" y="131"/>
                  <a:pt x="1067" y="106"/>
                  <a:pt x="1067" y="76"/>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2" name="Freeform 61">
            <a:extLst>
              <a:ext uri="{FF2B5EF4-FFF2-40B4-BE49-F238E27FC236}">
                <a16:creationId xmlns:a16="http://schemas.microsoft.com/office/drawing/2014/main" id="{02BE76FA-A18A-5C43-8289-F22F35416D17}"/>
              </a:ext>
            </a:extLst>
          </p:cNvPr>
          <p:cNvSpPr/>
          <p:nvPr/>
        </p:nvSpPr>
        <p:spPr>
          <a:xfrm>
            <a:off x="10445605"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7" y="215"/>
                  <a:pt x="108" y="215"/>
                </a:cubicBezTo>
                <a:cubicBezTo>
                  <a:pt x="49" y="215"/>
                  <a:pt x="0" y="166"/>
                  <a:pt x="0" y="107"/>
                </a:cubicBezTo>
                <a:cubicBezTo>
                  <a:pt x="0" y="48"/>
                  <a:pt x="49" y="0"/>
                  <a:pt x="108" y="0"/>
                </a:cubicBezTo>
                <a:cubicBezTo>
                  <a:pt x="167" y="0"/>
                  <a:pt x="214" y="48"/>
                  <a:pt x="214" y="107"/>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6" name="Freeform 65">
            <a:extLst>
              <a:ext uri="{FF2B5EF4-FFF2-40B4-BE49-F238E27FC236}">
                <a16:creationId xmlns:a16="http://schemas.microsoft.com/office/drawing/2014/main" id="{30B312E8-A919-B644-AE39-4333DF830601}"/>
              </a:ext>
            </a:extLst>
          </p:cNvPr>
          <p:cNvSpPr/>
          <p:nvPr/>
        </p:nvSpPr>
        <p:spPr>
          <a:xfrm>
            <a:off x="10512815" y="2494259"/>
            <a:ext cx="190937" cy="193992"/>
          </a:xfrm>
          <a:custGeom>
            <a:avLst/>
            <a:gdLst/>
            <a:ahLst/>
            <a:cxnLst>
              <a:cxn ang="3cd4">
                <a:pos x="hc" y="t"/>
              </a:cxn>
              <a:cxn ang="cd2">
                <a:pos x="l" y="vc"/>
              </a:cxn>
              <a:cxn ang="cd4">
                <a:pos x="hc" y="b"/>
              </a:cxn>
              <a:cxn ang="0">
                <a:pos x="r" y="vc"/>
              </a:cxn>
            </a:cxnLst>
            <a:rect l="l" t="t" r="r" b="b"/>
            <a:pathLst>
              <a:path w="126" h="128">
                <a:moveTo>
                  <a:pt x="126" y="64"/>
                </a:moveTo>
                <a:cubicBezTo>
                  <a:pt x="126" y="100"/>
                  <a:pt x="98" y="128"/>
                  <a:pt x="64" y="128"/>
                </a:cubicBezTo>
                <a:cubicBezTo>
                  <a:pt x="28" y="128"/>
                  <a:pt x="0" y="100"/>
                  <a:pt x="0" y="64"/>
                </a:cubicBezTo>
                <a:cubicBezTo>
                  <a:pt x="0" y="30"/>
                  <a:pt x="28" y="0"/>
                  <a:pt x="64" y="0"/>
                </a:cubicBezTo>
                <a:cubicBezTo>
                  <a:pt x="98" y="0"/>
                  <a:pt x="126" y="30"/>
                  <a:pt x="126"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7" name="Freeform 66">
            <a:extLst>
              <a:ext uri="{FF2B5EF4-FFF2-40B4-BE49-F238E27FC236}">
                <a16:creationId xmlns:a16="http://schemas.microsoft.com/office/drawing/2014/main" id="{F46B9467-BABF-064B-910D-2C704D814251}"/>
              </a:ext>
            </a:extLst>
          </p:cNvPr>
          <p:cNvSpPr/>
          <p:nvPr/>
        </p:nvSpPr>
        <p:spPr>
          <a:xfrm>
            <a:off x="9924727" y="2921959"/>
            <a:ext cx="1367112" cy="1512224"/>
          </a:xfrm>
          <a:custGeom>
            <a:avLst/>
            <a:gdLst/>
            <a:ahLst/>
            <a:cxnLst>
              <a:cxn ang="3cd4">
                <a:pos x="hc" y="t"/>
              </a:cxn>
              <a:cxn ang="cd2">
                <a:pos x="l" y="vc"/>
              </a:cxn>
              <a:cxn ang="cd4">
                <a:pos x="hc" y="b"/>
              </a:cxn>
              <a:cxn ang="0">
                <a:pos x="r" y="vc"/>
              </a:cxn>
            </a:cxnLst>
            <a:rect l="l" t="t" r="r" b="b"/>
            <a:pathLst>
              <a:path w="896" h="991">
                <a:moveTo>
                  <a:pt x="896" y="542"/>
                </a:moveTo>
                <a:cubicBezTo>
                  <a:pt x="896" y="341"/>
                  <a:pt x="764" y="172"/>
                  <a:pt x="582" y="114"/>
                </a:cubicBezTo>
                <a:cubicBezTo>
                  <a:pt x="541" y="101"/>
                  <a:pt x="471" y="54"/>
                  <a:pt x="449" y="0"/>
                </a:cubicBezTo>
                <a:cubicBezTo>
                  <a:pt x="427" y="50"/>
                  <a:pt x="355" y="101"/>
                  <a:pt x="314" y="114"/>
                </a:cubicBezTo>
                <a:cubicBezTo>
                  <a:pt x="132" y="172"/>
                  <a:pt x="0" y="342"/>
                  <a:pt x="0" y="542"/>
                </a:cubicBezTo>
                <a:cubicBezTo>
                  <a:pt x="0" y="789"/>
                  <a:pt x="200" y="991"/>
                  <a:pt x="449" y="991"/>
                </a:cubicBezTo>
                <a:cubicBezTo>
                  <a:pt x="696" y="991"/>
                  <a:pt x="896" y="789"/>
                  <a:pt x="896" y="542"/>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78" name="TextBox 77">
            <a:extLst>
              <a:ext uri="{FF2B5EF4-FFF2-40B4-BE49-F238E27FC236}">
                <a16:creationId xmlns:a16="http://schemas.microsoft.com/office/drawing/2014/main" id="{04634976-744C-254F-BE6F-6EB202B92360}"/>
              </a:ext>
            </a:extLst>
          </p:cNvPr>
          <p:cNvSpPr txBox="1"/>
          <p:nvPr/>
        </p:nvSpPr>
        <p:spPr>
          <a:xfrm>
            <a:off x="5691808" y="1322650"/>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0" name="TextBox 79">
            <a:extLst>
              <a:ext uri="{FF2B5EF4-FFF2-40B4-BE49-F238E27FC236}">
                <a16:creationId xmlns:a16="http://schemas.microsoft.com/office/drawing/2014/main" id="{B0E5118A-8174-6649-9B3B-D77A8707F876}"/>
              </a:ext>
            </a:extLst>
          </p:cNvPr>
          <p:cNvSpPr txBox="1"/>
          <p:nvPr/>
        </p:nvSpPr>
        <p:spPr>
          <a:xfrm>
            <a:off x="9795863" y="1322650"/>
            <a:ext cx="1638589" cy="461665"/>
          </a:xfrm>
          <a:prstGeom prst="rect">
            <a:avLst/>
          </a:prstGeom>
          <a:noFill/>
        </p:spPr>
        <p:txBody>
          <a:bodyPr wrap="none" rtlCol="0">
            <a:spAutoFit/>
          </a:bodyPr>
          <a:lstStyle/>
          <a:p>
            <a:pPr algn="ctr"/>
            <a:r>
              <a:rPr lang="en-US" sz="2400"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4" name="TextBox 83">
            <a:extLst>
              <a:ext uri="{FF2B5EF4-FFF2-40B4-BE49-F238E27FC236}">
                <a16:creationId xmlns:a16="http://schemas.microsoft.com/office/drawing/2014/main" id="{93C43E96-4B36-3748-B67A-4817918F0204}"/>
              </a:ext>
            </a:extLst>
          </p:cNvPr>
          <p:cNvSpPr txBox="1"/>
          <p:nvPr/>
        </p:nvSpPr>
        <p:spPr>
          <a:xfrm>
            <a:off x="7895149" y="3013347"/>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98" name="Text Placeholder 17">
            <a:extLst>
              <a:ext uri="{FF2B5EF4-FFF2-40B4-BE49-F238E27FC236}">
                <a16:creationId xmlns:a16="http://schemas.microsoft.com/office/drawing/2014/main" id="{3DED761C-20FA-594A-9976-CFD8D1D38242}"/>
              </a:ext>
            </a:extLst>
          </p:cNvPr>
          <p:cNvSpPr>
            <a:spLocks noGrp="1"/>
          </p:cNvSpPr>
          <p:nvPr>
            <p:ph type="body" sz="quarter" idx="31" hasCustomPrompt="1"/>
          </p:nvPr>
        </p:nvSpPr>
        <p:spPr>
          <a:xfrm>
            <a:off x="2833955" y="2984923"/>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99" name="Text Placeholder 17">
            <a:extLst>
              <a:ext uri="{FF2B5EF4-FFF2-40B4-BE49-F238E27FC236}">
                <a16:creationId xmlns:a16="http://schemas.microsoft.com/office/drawing/2014/main" id="{ADC51583-6324-9C45-9B98-7374A9499F17}"/>
              </a:ext>
            </a:extLst>
          </p:cNvPr>
          <p:cNvSpPr>
            <a:spLocks noGrp="1"/>
          </p:cNvSpPr>
          <p:nvPr>
            <p:ph type="body" sz="quarter" idx="32" hasCustomPrompt="1"/>
          </p:nvPr>
        </p:nvSpPr>
        <p:spPr>
          <a:xfrm>
            <a:off x="7261647" y="2951026"/>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0" name="Text Placeholder 17">
            <a:extLst>
              <a:ext uri="{FF2B5EF4-FFF2-40B4-BE49-F238E27FC236}">
                <a16:creationId xmlns:a16="http://schemas.microsoft.com/office/drawing/2014/main" id="{5D6484B6-6A23-DA4C-AFB8-4A3877BAEB9C}"/>
              </a:ext>
            </a:extLst>
          </p:cNvPr>
          <p:cNvSpPr>
            <a:spLocks noGrp="1"/>
          </p:cNvSpPr>
          <p:nvPr>
            <p:ph type="body" sz="quarter" idx="33" hasCustomPrompt="1"/>
          </p:nvPr>
        </p:nvSpPr>
        <p:spPr>
          <a:xfrm>
            <a:off x="5051398" y="1028522"/>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1" name="Text Placeholder 17">
            <a:extLst>
              <a:ext uri="{FF2B5EF4-FFF2-40B4-BE49-F238E27FC236}">
                <a16:creationId xmlns:a16="http://schemas.microsoft.com/office/drawing/2014/main" id="{17E014FD-573A-CD4A-8E06-A12C82D41C31}"/>
              </a:ext>
            </a:extLst>
          </p:cNvPr>
          <p:cNvSpPr>
            <a:spLocks noGrp="1"/>
          </p:cNvSpPr>
          <p:nvPr>
            <p:ph type="body" sz="quarter" idx="34" hasCustomPrompt="1"/>
          </p:nvPr>
        </p:nvSpPr>
        <p:spPr>
          <a:xfrm>
            <a:off x="9377489" y="994625"/>
            <a:ext cx="2253709"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5" name="Freeform 104">
            <a:extLst>
              <a:ext uri="{FF2B5EF4-FFF2-40B4-BE49-F238E27FC236}">
                <a16:creationId xmlns:a16="http://schemas.microsoft.com/office/drawing/2014/main" id="{337311E9-3EFE-D343-B68E-E469AF748125}"/>
              </a:ext>
            </a:extLst>
          </p:cNvPr>
          <p:cNvSpPr/>
          <p:nvPr userDrawn="1"/>
        </p:nvSpPr>
        <p:spPr>
          <a:xfrm>
            <a:off x="0" y="2489789"/>
            <a:ext cx="3733642" cy="233707"/>
          </a:xfrm>
          <a:custGeom>
            <a:avLst/>
            <a:gdLst>
              <a:gd name="connsiteX0" fmla="*/ 0 w 3733642"/>
              <a:gd name="connsiteY0" fmla="*/ 0 h 233707"/>
              <a:gd name="connsiteX1" fmla="*/ 2074776 w 3733642"/>
              <a:gd name="connsiteY1" fmla="*/ 0 h 233707"/>
              <a:gd name="connsiteX2" fmla="*/ 2492280 w 3733642"/>
              <a:gd name="connsiteY2" fmla="*/ 0 h 233707"/>
              <a:gd name="connsiteX3" fmla="*/ 3732116 w 3733642"/>
              <a:gd name="connsiteY3" fmla="*/ 0 h 233707"/>
              <a:gd name="connsiteX4" fmla="*/ 3700068 w 3733642"/>
              <a:gd name="connsiteY4" fmla="*/ 115336 h 233707"/>
              <a:gd name="connsiteX5" fmla="*/ 3733642 w 3733642"/>
              <a:gd name="connsiteY5" fmla="*/ 233707 h 233707"/>
              <a:gd name="connsiteX6" fmla="*/ 2494674 w 3733642"/>
              <a:gd name="connsiteY6" fmla="*/ 233707 h 233707"/>
              <a:gd name="connsiteX7" fmla="*/ 2073250 w 3733642"/>
              <a:gd name="connsiteY7" fmla="*/ 233707 h 233707"/>
              <a:gd name="connsiteX8" fmla="*/ 0 w 3733642"/>
              <a:gd name="connsiteY8" fmla="*/ 233707 h 23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33642" h="233707">
                <a:moveTo>
                  <a:pt x="0" y="0"/>
                </a:moveTo>
                <a:lnTo>
                  <a:pt x="2074776" y="0"/>
                </a:lnTo>
                <a:lnTo>
                  <a:pt x="2492280" y="0"/>
                </a:lnTo>
                <a:lnTo>
                  <a:pt x="3732116" y="0"/>
                </a:lnTo>
                <a:cubicBezTo>
                  <a:pt x="3710751" y="34904"/>
                  <a:pt x="3700068" y="74361"/>
                  <a:pt x="3700068" y="115336"/>
                </a:cubicBezTo>
                <a:cubicBezTo>
                  <a:pt x="3700068" y="160863"/>
                  <a:pt x="3713803" y="198803"/>
                  <a:pt x="3733642" y="233707"/>
                </a:cubicBezTo>
                <a:lnTo>
                  <a:pt x="2494674" y="233707"/>
                </a:lnTo>
                <a:lnTo>
                  <a:pt x="2073250" y="233707"/>
                </a:lnTo>
                <a:lnTo>
                  <a:pt x="0" y="233707"/>
                </a:lnTo>
                <a:close/>
              </a:path>
            </a:pathLst>
          </a:custGeom>
          <a:solidFill>
            <a:srgbClr val="7F1C58"/>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7" name="Rectangle 26">
            <a:extLst>
              <a:ext uri="{FF2B5EF4-FFF2-40B4-BE49-F238E27FC236}">
                <a16:creationId xmlns:a16="http://schemas.microsoft.com/office/drawing/2014/main" id="{7A76DD1E-987B-AD47-A6C9-247EDD013618}"/>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8" name="Picture 27" descr="Logo&#10;&#10;Description automatically generated">
            <a:extLst>
              <a:ext uri="{FF2B5EF4-FFF2-40B4-BE49-F238E27FC236}">
                <a16:creationId xmlns:a16="http://schemas.microsoft.com/office/drawing/2014/main" id="{370386F4-A99E-724A-9D3C-C0299560A160}"/>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22026889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8D471C-0C8F-0146-83F3-CAF71642C847}"/>
              </a:ext>
            </a:extLst>
          </p:cNvPr>
          <p:cNvSpPr/>
          <p:nvPr userDrawn="1"/>
        </p:nvSpPr>
        <p:spPr>
          <a:xfrm flipV="1">
            <a:off x="513686" y="-2"/>
            <a:ext cx="6872766" cy="6857999"/>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 name="Rectangle 2">
            <a:extLst>
              <a:ext uri="{FF2B5EF4-FFF2-40B4-BE49-F238E27FC236}">
                <a16:creationId xmlns:a16="http://schemas.microsoft.com/office/drawing/2014/main" id="{6BAE0ABF-E258-15D4-F690-F01280BA86CE}"/>
              </a:ext>
            </a:extLst>
          </p:cNvPr>
          <p:cNvSpPr/>
          <p:nvPr userDrawn="1"/>
        </p:nvSpPr>
        <p:spPr>
          <a:xfrm flipV="1">
            <a:off x="371133" y="5724018"/>
            <a:ext cx="4094282" cy="777330"/>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dirty="0">
              <a:latin typeface="Montserrat Light" charset="0"/>
            </a:endParaRPr>
          </a:p>
        </p:txBody>
      </p:sp>
      <p:sp>
        <p:nvSpPr>
          <p:cNvPr id="39" name="Text Placeholder 17">
            <a:extLst>
              <a:ext uri="{FF2B5EF4-FFF2-40B4-BE49-F238E27FC236}">
                <a16:creationId xmlns:a16="http://schemas.microsoft.com/office/drawing/2014/main" id="{CA4154B1-9F57-7145-879A-8EB247136C2A}"/>
              </a:ext>
            </a:extLst>
          </p:cNvPr>
          <p:cNvSpPr>
            <a:spLocks noGrp="1"/>
          </p:cNvSpPr>
          <p:nvPr>
            <p:ph type="body" sz="quarter" idx="25" hasCustomPrompt="1"/>
          </p:nvPr>
        </p:nvSpPr>
        <p:spPr>
          <a:xfrm>
            <a:off x="1332038" y="3296364"/>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0" name="Text Placeholder 17">
            <a:extLst>
              <a:ext uri="{FF2B5EF4-FFF2-40B4-BE49-F238E27FC236}">
                <a16:creationId xmlns:a16="http://schemas.microsoft.com/office/drawing/2014/main" id="{2FA64BD3-F9F4-3640-81F8-B395DA4BE505}"/>
              </a:ext>
            </a:extLst>
          </p:cNvPr>
          <p:cNvSpPr>
            <a:spLocks noGrp="1"/>
          </p:cNvSpPr>
          <p:nvPr>
            <p:ph type="body" sz="quarter" idx="26" hasCustomPrompt="1"/>
          </p:nvPr>
        </p:nvSpPr>
        <p:spPr>
          <a:xfrm>
            <a:off x="1332038" y="3919323"/>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1" name="Text Placeholder 17">
            <a:extLst>
              <a:ext uri="{FF2B5EF4-FFF2-40B4-BE49-F238E27FC236}">
                <a16:creationId xmlns:a16="http://schemas.microsoft.com/office/drawing/2014/main" id="{428D571D-4380-A147-A90D-48A4C9CE0B59}"/>
              </a:ext>
            </a:extLst>
          </p:cNvPr>
          <p:cNvSpPr>
            <a:spLocks noGrp="1"/>
          </p:cNvSpPr>
          <p:nvPr>
            <p:ph type="body" sz="quarter" idx="27" hasCustomPrompt="1"/>
          </p:nvPr>
        </p:nvSpPr>
        <p:spPr>
          <a:xfrm>
            <a:off x="1340202" y="4562886"/>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50" name="Text Placeholder 23">
            <a:extLst>
              <a:ext uri="{FF2B5EF4-FFF2-40B4-BE49-F238E27FC236}">
                <a16:creationId xmlns:a16="http://schemas.microsoft.com/office/drawing/2014/main" id="{A18A7C8E-C35F-574A-9250-5698E37CE501}"/>
              </a:ext>
            </a:extLst>
          </p:cNvPr>
          <p:cNvSpPr>
            <a:spLocks noGrp="1"/>
          </p:cNvSpPr>
          <p:nvPr>
            <p:ph type="body" sz="quarter" idx="28" hasCustomPrompt="1"/>
          </p:nvPr>
        </p:nvSpPr>
        <p:spPr>
          <a:xfrm>
            <a:off x="567326" y="5747113"/>
            <a:ext cx="2425353" cy="731140"/>
          </a:xfrm>
        </p:spPr>
        <p:txBody>
          <a:bodyPr anchor="ctr">
            <a:normAutofit/>
          </a:bodyPr>
          <a:lstStyle>
            <a:lvl1pPr marL="0" indent="0" algn="l">
              <a:buNone/>
              <a:defRPr sz="2800" baseline="0">
                <a:solidFill>
                  <a:schemeClr val="bg1"/>
                </a:solidFill>
                <a:latin typeface="+mn-lt"/>
              </a:defRPr>
            </a:lvl1pPr>
          </a:lstStyle>
          <a:p>
            <a:pPr lvl="0"/>
            <a:r>
              <a:rPr lang="en-US" dirty="0" err="1"/>
              <a:t>www.secure.eu</a:t>
            </a:r>
            <a:endParaRPr lang="en-US" dirty="0"/>
          </a:p>
        </p:txBody>
      </p:sp>
      <p:sp>
        <p:nvSpPr>
          <p:cNvPr id="15" name="Text Placeholder 23">
            <a:extLst>
              <a:ext uri="{FF2B5EF4-FFF2-40B4-BE49-F238E27FC236}">
                <a16:creationId xmlns:a16="http://schemas.microsoft.com/office/drawing/2014/main" id="{F84B8951-7C9D-9343-B525-1359E5DBCF52}"/>
              </a:ext>
            </a:extLst>
          </p:cNvPr>
          <p:cNvSpPr>
            <a:spLocks noGrp="1"/>
          </p:cNvSpPr>
          <p:nvPr>
            <p:ph type="body" sz="quarter" idx="19" hasCustomPrompt="1"/>
          </p:nvPr>
        </p:nvSpPr>
        <p:spPr>
          <a:xfrm>
            <a:off x="1269930" y="1396872"/>
            <a:ext cx="3195486" cy="731140"/>
          </a:xfr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16" name="Text Placeholder 23">
            <a:extLst>
              <a:ext uri="{FF2B5EF4-FFF2-40B4-BE49-F238E27FC236}">
                <a16:creationId xmlns:a16="http://schemas.microsoft.com/office/drawing/2014/main" id="{C736A845-E210-8B41-86F2-2399C32F4922}"/>
              </a:ext>
            </a:extLst>
          </p:cNvPr>
          <p:cNvSpPr>
            <a:spLocks noGrp="1"/>
          </p:cNvSpPr>
          <p:nvPr>
            <p:ph type="body" sz="quarter" idx="20" hasCustomPrompt="1"/>
          </p:nvPr>
        </p:nvSpPr>
        <p:spPr>
          <a:xfrm>
            <a:off x="1269930" y="510737"/>
            <a:ext cx="3195485" cy="837258"/>
          </a:xfrm>
        </p:spPr>
        <p:txBody>
          <a:bodyPr anchor="ctr">
            <a:normAutofit/>
          </a:bodyPr>
          <a:lstStyle>
            <a:lvl1pPr marL="0" indent="0" algn="l">
              <a:buNone/>
              <a:defRPr sz="5000" b="1" baseline="0">
                <a:solidFill>
                  <a:srgbClr val="F16924"/>
                </a:solidFill>
                <a:latin typeface="+mn-lt"/>
              </a:defRPr>
            </a:lvl1pPr>
          </a:lstStyle>
          <a:p>
            <a:pPr lvl="0"/>
            <a:r>
              <a:rPr lang="en-US" dirty="0"/>
              <a:t>Thank You</a:t>
            </a:r>
          </a:p>
        </p:txBody>
      </p:sp>
      <p:pic>
        <p:nvPicPr>
          <p:cNvPr id="20" name="Picture 19" descr="Icon&#10;&#10;Description automatically generated">
            <a:extLst>
              <a:ext uri="{FF2B5EF4-FFF2-40B4-BE49-F238E27FC236}">
                <a16:creationId xmlns:a16="http://schemas.microsoft.com/office/drawing/2014/main" id="{5EEB26E1-71B5-2844-85F3-152C393D122D}"/>
              </a:ext>
            </a:extLst>
          </p:cNvPr>
          <p:cNvPicPr/>
          <p:nvPr userDrawn="1"/>
        </p:nvPicPr>
        <p:blipFill rotWithShape="1">
          <a:blip r:embed="rId2">
            <a:extLst>
              <a:ext uri="{28A0092B-C50C-407E-A947-70E740481C1C}">
                <a14:useLocalDpi xmlns:a14="http://schemas.microsoft.com/office/drawing/2010/main"/>
              </a:ext>
            </a:extLst>
          </a:blip>
          <a:srcRect l="-5634" t="8478" r="38806" b="9640"/>
          <a:stretch/>
        </p:blipFill>
        <p:spPr>
          <a:xfrm>
            <a:off x="2766729" y="68820"/>
            <a:ext cx="6056868" cy="6817011"/>
          </a:xfrm>
          <a:prstGeom prst="rect">
            <a:avLst/>
          </a:prstGeom>
        </p:spPr>
      </p:pic>
      <p:grpSp>
        <p:nvGrpSpPr>
          <p:cNvPr id="22" name="Group 21">
            <a:extLst>
              <a:ext uri="{FF2B5EF4-FFF2-40B4-BE49-F238E27FC236}">
                <a16:creationId xmlns:a16="http://schemas.microsoft.com/office/drawing/2014/main" id="{0A2D618D-BFF0-D647-A63C-67B5EFE2275A}"/>
              </a:ext>
            </a:extLst>
          </p:cNvPr>
          <p:cNvGrpSpPr/>
          <p:nvPr userDrawn="1"/>
        </p:nvGrpSpPr>
        <p:grpSpPr>
          <a:xfrm>
            <a:off x="9246505" y="5773010"/>
            <a:ext cx="2735993" cy="679345"/>
            <a:chOff x="0" y="0"/>
            <a:chExt cx="2301694" cy="571500"/>
          </a:xfrm>
        </p:grpSpPr>
        <p:sp>
          <p:nvSpPr>
            <p:cNvPr id="23" name="Rectangle 22">
              <a:extLst>
                <a:ext uri="{FF2B5EF4-FFF2-40B4-BE49-F238E27FC236}">
                  <a16:creationId xmlns:a16="http://schemas.microsoft.com/office/drawing/2014/main" id="{0AD4EC1D-50EE-7343-A5F9-2FDC354C015B}"/>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24" name="Picture 23">
              <a:extLst>
                <a:ext uri="{FF2B5EF4-FFF2-40B4-BE49-F238E27FC236}">
                  <a16:creationId xmlns:a16="http://schemas.microsoft.com/office/drawing/2014/main" id="{DFE99017-514D-8644-B8A2-53292AD975E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5" name="Picture 24" descr="Logo&#10;&#10;Description automatically generated">
            <a:extLst>
              <a:ext uri="{FF2B5EF4-FFF2-40B4-BE49-F238E27FC236}">
                <a16:creationId xmlns:a16="http://schemas.microsoft.com/office/drawing/2014/main" id="{8DFD7000-E928-0F4D-9EE1-350654B4F32C}"/>
              </a:ext>
            </a:extLst>
          </p:cNvPr>
          <p:cNvPicPr/>
          <p:nvPr userDrawn="1"/>
        </p:nvPicPr>
        <p:blipFill>
          <a:blip r:embed="rId4" cstate="screen">
            <a:extLst>
              <a:ext uri="{28A0092B-C50C-407E-A947-70E740481C1C}">
                <a14:useLocalDpi xmlns:a14="http://schemas.microsoft.com/office/drawing/2010/main"/>
              </a:ext>
            </a:extLst>
          </a:blip>
          <a:stretch>
            <a:fillRect/>
          </a:stretch>
        </p:blipFill>
        <p:spPr>
          <a:xfrm>
            <a:off x="8336063" y="416024"/>
            <a:ext cx="3343990" cy="1711988"/>
          </a:xfrm>
          <a:prstGeom prst="rect">
            <a:avLst/>
          </a:prstGeom>
        </p:spPr>
      </p:pic>
    </p:spTree>
    <p:extLst>
      <p:ext uri="{BB962C8B-B14F-4D97-AF65-F5344CB8AC3E}">
        <p14:creationId xmlns:p14="http://schemas.microsoft.com/office/powerpoint/2010/main" val="22900917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Slide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EEE40F-C46E-CB4F-B81C-0FF051ACB56C}"/>
              </a:ext>
            </a:extLst>
          </p:cNvPr>
          <p:cNvSpPr/>
          <p:nvPr userDrawn="1"/>
        </p:nvSpPr>
        <p:spPr>
          <a:xfrm>
            <a:off x="4123" y="2578879"/>
            <a:ext cx="12187877" cy="301737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13" name="Text Placeholder 23">
            <a:extLst>
              <a:ext uri="{FF2B5EF4-FFF2-40B4-BE49-F238E27FC236}">
                <a16:creationId xmlns:a16="http://schemas.microsoft.com/office/drawing/2014/main" id="{A1E95CA9-83EC-F34D-A49B-33A8C4FAF9FF}"/>
              </a:ext>
            </a:extLst>
          </p:cNvPr>
          <p:cNvSpPr>
            <a:spLocks noGrp="1"/>
          </p:cNvSpPr>
          <p:nvPr>
            <p:ph type="body" sz="quarter" idx="15" hasCustomPrompt="1"/>
          </p:nvPr>
        </p:nvSpPr>
        <p:spPr>
          <a:xfrm>
            <a:off x="778986" y="4248810"/>
            <a:ext cx="5278651" cy="697353"/>
          </a:xfrm>
        </p:spPr>
        <p:txBody>
          <a:bodyPr anchor="b">
            <a:noAutofit/>
          </a:bodyPr>
          <a:lstStyle>
            <a:lvl1pPr marL="0" indent="0" algn="l">
              <a:buNone/>
              <a:defRPr sz="5400" b="1" baseline="0">
                <a:solidFill>
                  <a:schemeClr val="bg1"/>
                </a:solidFill>
                <a:latin typeface="+mn-lt"/>
              </a:defRPr>
            </a:lvl1pPr>
          </a:lstStyle>
          <a:p>
            <a:pPr lvl="0"/>
            <a:r>
              <a:rPr lang="en-US" dirty="0"/>
              <a:t>POWERPIONT</a:t>
            </a:r>
          </a:p>
        </p:txBody>
      </p:sp>
      <p:sp>
        <p:nvSpPr>
          <p:cNvPr id="14" name="Text Placeholder 23">
            <a:extLst>
              <a:ext uri="{FF2B5EF4-FFF2-40B4-BE49-F238E27FC236}">
                <a16:creationId xmlns:a16="http://schemas.microsoft.com/office/drawing/2014/main" id="{360251AF-B8B8-4240-A631-F35ADF8DEC23}"/>
              </a:ext>
            </a:extLst>
          </p:cNvPr>
          <p:cNvSpPr>
            <a:spLocks noGrp="1"/>
          </p:cNvSpPr>
          <p:nvPr>
            <p:ph type="body" sz="quarter" idx="16" hasCustomPrompt="1"/>
          </p:nvPr>
        </p:nvSpPr>
        <p:spPr>
          <a:xfrm>
            <a:off x="778987" y="3229416"/>
            <a:ext cx="5278651" cy="697353"/>
          </a:xfrm>
        </p:spPr>
        <p:txBody>
          <a:bodyPr anchor="b">
            <a:normAutofit/>
          </a:bodyPr>
          <a:lstStyle>
            <a:lvl1pPr marL="0" indent="0" algn="l">
              <a:buNone/>
              <a:defRPr sz="3600" b="0" i="0">
                <a:solidFill>
                  <a:schemeClr val="bg1"/>
                </a:solidFill>
                <a:latin typeface="+mn-lt"/>
              </a:defRPr>
            </a:lvl1pPr>
          </a:lstStyle>
          <a:p>
            <a:pPr lvl="0"/>
            <a:r>
              <a:rPr lang="en-US" dirty="0"/>
              <a:t>Cover Design 1</a:t>
            </a:r>
          </a:p>
        </p:txBody>
      </p:sp>
      <p:grpSp>
        <p:nvGrpSpPr>
          <p:cNvPr id="15" name="Group 14">
            <a:extLst>
              <a:ext uri="{FF2B5EF4-FFF2-40B4-BE49-F238E27FC236}">
                <a16:creationId xmlns:a16="http://schemas.microsoft.com/office/drawing/2014/main" id="{6B19ACD3-270D-F149-9B8D-A452C5A7080B}"/>
              </a:ext>
            </a:extLst>
          </p:cNvPr>
          <p:cNvGrpSpPr/>
          <p:nvPr userDrawn="1"/>
        </p:nvGrpSpPr>
        <p:grpSpPr>
          <a:xfrm>
            <a:off x="551257" y="5868451"/>
            <a:ext cx="2735993" cy="679345"/>
            <a:chOff x="0" y="0"/>
            <a:chExt cx="2301694" cy="571500"/>
          </a:xfrm>
        </p:grpSpPr>
        <p:sp>
          <p:nvSpPr>
            <p:cNvPr id="16" name="Rectangle 15">
              <a:extLst>
                <a:ext uri="{FF2B5EF4-FFF2-40B4-BE49-F238E27FC236}">
                  <a16:creationId xmlns:a16="http://schemas.microsoft.com/office/drawing/2014/main" id="{5DEEA99F-D23F-6A4E-93A2-4B04553909A4}"/>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17" name="Picture 16">
              <a:extLst>
                <a:ext uri="{FF2B5EF4-FFF2-40B4-BE49-F238E27FC236}">
                  <a16:creationId xmlns:a16="http://schemas.microsoft.com/office/drawing/2014/main" id="{42F1A516-FC4E-2E43-86A7-025339A3E0F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
        <p:nvSpPr>
          <p:cNvPr id="4" name="Picture Placeholder 3">
            <a:extLst>
              <a:ext uri="{FF2B5EF4-FFF2-40B4-BE49-F238E27FC236}">
                <a16:creationId xmlns:a16="http://schemas.microsoft.com/office/drawing/2014/main" id="{C73D3263-48BF-A442-9520-3D9695E54CED}"/>
              </a:ext>
            </a:extLst>
          </p:cNvPr>
          <p:cNvSpPr>
            <a:spLocks noGrp="1"/>
          </p:cNvSpPr>
          <p:nvPr>
            <p:ph type="pic" sz="quarter" idx="17"/>
          </p:nvPr>
        </p:nvSpPr>
        <p:spPr>
          <a:xfrm>
            <a:off x="6571280" y="0"/>
            <a:ext cx="5620719" cy="6858000"/>
          </a:xfrm>
        </p:spPr>
        <p:txBody>
          <a:bodyPr/>
          <a:lstStyle/>
          <a:p>
            <a:endParaRPr lang="en-US"/>
          </a:p>
        </p:txBody>
      </p:sp>
      <p:pic>
        <p:nvPicPr>
          <p:cNvPr id="11" name="Picture 10" descr="Logo&#10;&#10;Description automatically generated">
            <a:extLst>
              <a:ext uri="{FF2B5EF4-FFF2-40B4-BE49-F238E27FC236}">
                <a16:creationId xmlns:a16="http://schemas.microsoft.com/office/drawing/2014/main" id="{89B15627-EA51-8F44-B958-CD6B8808ECA9}"/>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899711" y="313686"/>
            <a:ext cx="3343990" cy="1711988"/>
          </a:xfrm>
          <a:prstGeom prst="rect">
            <a:avLst/>
          </a:prstGeom>
        </p:spPr>
      </p:pic>
    </p:spTree>
    <p:extLst>
      <p:ext uri="{BB962C8B-B14F-4D97-AF65-F5344CB8AC3E}">
        <p14:creationId xmlns:p14="http://schemas.microsoft.com/office/powerpoint/2010/main" val="12731185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id="{5E239D8E-AA39-3D49-8E9D-3122689104D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id="{D28415DF-AA54-5549-8A85-BBFC831E167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19082206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ext / Photo Slide - Pur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1" y="0"/>
            <a:ext cx="12191998" cy="175701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4" y="2114549"/>
            <a:ext cx="8137823" cy="3937212"/>
          </a:xfrm>
        </p:spPr>
        <p:txBody>
          <a:bodyPr>
            <a:normAutofit/>
          </a:bodyPr>
          <a:lstStyle>
            <a:lvl1pPr>
              <a:lnSpc>
                <a:spcPts val="2280"/>
              </a:lnSpc>
              <a:spcBef>
                <a:spcPts val="0"/>
              </a:spcBef>
              <a:buNone/>
              <a:defRPr sz="2200" b="0" i="0" spc="0">
                <a:solidFill>
                  <a:srgbClr val="61616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9401174" y="0"/>
            <a:ext cx="2790825" cy="68580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9224B230-825F-464D-818B-C48C81BE9E2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C0E45D6A-D725-0E40-8A9C-04FD779E67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5265229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ext only MASTER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087794-A3B2-6ECD-43B7-1E09EEBD3F8D}"/>
              </a:ext>
            </a:extLst>
          </p:cNvPr>
          <p:cNvSpPr/>
          <p:nvPr userDrawn="1"/>
        </p:nvSpPr>
        <p:spPr>
          <a:xfrm>
            <a:off x="0" y="1"/>
            <a:ext cx="12192000" cy="136173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7">
            <a:extLst>
              <a:ext uri="{FF2B5EF4-FFF2-40B4-BE49-F238E27FC236}">
                <a16:creationId xmlns:a16="http://schemas.microsoft.com/office/drawing/2014/main" id="{F65C73A9-FE78-B440-AFB3-1081F93D7B79}"/>
              </a:ext>
            </a:extLst>
          </p:cNvPr>
          <p:cNvSpPr>
            <a:spLocks noGrp="1"/>
          </p:cNvSpPr>
          <p:nvPr>
            <p:ph type="body" sz="quarter" idx="18" hasCustomPrompt="1"/>
          </p:nvPr>
        </p:nvSpPr>
        <p:spPr>
          <a:xfrm>
            <a:off x="529759" y="1757011"/>
            <a:ext cx="11073662" cy="3867704"/>
          </a:xfrm>
        </p:spPr>
        <p:txBody>
          <a:bodyPr>
            <a:normAutofit/>
          </a:bodyPr>
          <a:lstStyle>
            <a:lvl1pPr>
              <a:lnSpc>
                <a:spcPts val="2280"/>
              </a:lnSpc>
              <a:spcBef>
                <a:spcPts val="0"/>
              </a:spcBef>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6" name="Text Placeholder 23">
            <a:extLst>
              <a:ext uri="{FF2B5EF4-FFF2-40B4-BE49-F238E27FC236}">
                <a16:creationId xmlns:a16="http://schemas.microsoft.com/office/drawing/2014/main" id="{F1A9A1BB-6827-E947-B0CD-732DD5E35F37}"/>
              </a:ext>
            </a:extLst>
          </p:cNvPr>
          <p:cNvSpPr>
            <a:spLocks noGrp="1"/>
          </p:cNvSpPr>
          <p:nvPr>
            <p:ph type="body" sz="quarter" idx="16" hasCustomPrompt="1"/>
          </p:nvPr>
        </p:nvSpPr>
        <p:spPr>
          <a:xfrm>
            <a:off x="529760" y="507036"/>
            <a:ext cx="11073661"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995E0C5B-A0BB-1F4A-9CE1-5EBE027AF22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6ED607DE-E931-A941-A8E1-5409FA6218E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3910940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verview/Content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8DF3840-EDCD-4B47-B492-D9F24116159A}"/>
              </a:ext>
            </a:extLst>
          </p:cNvPr>
          <p:cNvSpPr/>
          <p:nvPr userDrawn="1"/>
        </p:nvSpPr>
        <p:spPr>
          <a:xfrm flipV="1">
            <a:off x="511072" y="-2"/>
            <a:ext cx="5240006" cy="6892757"/>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6" name="Text Placeholder 17">
            <a:extLst>
              <a:ext uri="{FF2B5EF4-FFF2-40B4-BE49-F238E27FC236}">
                <a16:creationId xmlns:a16="http://schemas.microsoft.com/office/drawing/2014/main" id="{8EC99E19-5C6F-0E42-9D44-703CC975D6EF}"/>
              </a:ext>
            </a:extLst>
          </p:cNvPr>
          <p:cNvSpPr>
            <a:spLocks noGrp="1"/>
          </p:cNvSpPr>
          <p:nvPr>
            <p:ph type="body" sz="quarter" idx="18" hasCustomPrompt="1"/>
          </p:nvPr>
        </p:nvSpPr>
        <p:spPr>
          <a:xfrm>
            <a:off x="956478" y="1899687"/>
            <a:ext cx="4306395" cy="3280643"/>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7" name="Text Placeholder 23">
            <a:extLst>
              <a:ext uri="{FF2B5EF4-FFF2-40B4-BE49-F238E27FC236}">
                <a16:creationId xmlns:a16="http://schemas.microsoft.com/office/drawing/2014/main" id="{5BC66613-CDA2-A74A-9395-2463EF11F2BF}"/>
              </a:ext>
            </a:extLst>
          </p:cNvPr>
          <p:cNvSpPr>
            <a:spLocks noGrp="1"/>
          </p:cNvSpPr>
          <p:nvPr>
            <p:ph type="body" sz="quarter" idx="16" hasCustomPrompt="1"/>
          </p:nvPr>
        </p:nvSpPr>
        <p:spPr>
          <a:xfrm>
            <a:off x="918629" y="628636"/>
            <a:ext cx="4378451" cy="603631"/>
          </a:xfrm>
        </p:spPr>
        <p:txBody>
          <a:bodyPr>
            <a:normAutofit/>
          </a:bodyPr>
          <a:lstStyle>
            <a:lvl1pPr marL="0" indent="0" algn="l">
              <a:buNone/>
              <a:defRPr sz="3600" b="0" i="0">
                <a:solidFill>
                  <a:schemeClr val="bg1"/>
                </a:solidFill>
                <a:latin typeface="+mn-lt"/>
              </a:defRPr>
            </a:lvl1pPr>
          </a:lstStyle>
          <a:p>
            <a:pPr lvl="0"/>
            <a:r>
              <a:rPr lang="en-US" dirty="0"/>
              <a:t>Overview Slide</a:t>
            </a:r>
          </a:p>
        </p:txBody>
      </p:sp>
      <p:sp>
        <p:nvSpPr>
          <p:cNvPr id="21" name="Text Placeholder 25">
            <a:extLst>
              <a:ext uri="{FF2B5EF4-FFF2-40B4-BE49-F238E27FC236}">
                <a16:creationId xmlns:a16="http://schemas.microsoft.com/office/drawing/2014/main" id="{5A1E8056-B0BB-444E-9F56-12D2DD4B8542}"/>
              </a:ext>
            </a:extLst>
          </p:cNvPr>
          <p:cNvSpPr>
            <a:spLocks noGrp="1"/>
          </p:cNvSpPr>
          <p:nvPr>
            <p:ph type="body" sz="quarter" idx="14" hasCustomPrompt="1"/>
          </p:nvPr>
        </p:nvSpPr>
        <p:spPr>
          <a:xfrm>
            <a:off x="6940248" y="60153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36" name="Text Placeholder 25">
            <a:extLst>
              <a:ext uri="{FF2B5EF4-FFF2-40B4-BE49-F238E27FC236}">
                <a16:creationId xmlns:a16="http://schemas.microsoft.com/office/drawing/2014/main" id="{F2455212-2D5D-E648-802A-B9EB354595FE}"/>
              </a:ext>
            </a:extLst>
          </p:cNvPr>
          <p:cNvSpPr>
            <a:spLocks noGrp="1"/>
          </p:cNvSpPr>
          <p:nvPr>
            <p:ph type="body" sz="quarter" idx="20" hasCustomPrompt="1"/>
          </p:nvPr>
        </p:nvSpPr>
        <p:spPr>
          <a:xfrm>
            <a:off x="6940248" y="167616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0" name="Text Placeholder 25">
            <a:extLst>
              <a:ext uri="{FF2B5EF4-FFF2-40B4-BE49-F238E27FC236}">
                <a16:creationId xmlns:a16="http://schemas.microsoft.com/office/drawing/2014/main" id="{3EBAF954-82F2-CC42-82E9-A19064755653}"/>
              </a:ext>
            </a:extLst>
          </p:cNvPr>
          <p:cNvSpPr>
            <a:spLocks noGrp="1"/>
          </p:cNvSpPr>
          <p:nvPr>
            <p:ph type="body" sz="quarter" idx="22" hasCustomPrompt="1"/>
          </p:nvPr>
        </p:nvSpPr>
        <p:spPr>
          <a:xfrm>
            <a:off x="6940248" y="273592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4" name="Text Placeholder 25">
            <a:extLst>
              <a:ext uri="{FF2B5EF4-FFF2-40B4-BE49-F238E27FC236}">
                <a16:creationId xmlns:a16="http://schemas.microsoft.com/office/drawing/2014/main" id="{5A47AF7F-E736-2640-98D0-99CBD669AFBF}"/>
              </a:ext>
            </a:extLst>
          </p:cNvPr>
          <p:cNvSpPr>
            <a:spLocks noGrp="1"/>
          </p:cNvSpPr>
          <p:nvPr>
            <p:ph type="body" sz="quarter" idx="24" hasCustomPrompt="1"/>
          </p:nvPr>
        </p:nvSpPr>
        <p:spPr>
          <a:xfrm>
            <a:off x="6926393" y="379411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8" name="Text Placeholder 25">
            <a:extLst>
              <a:ext uri="{FF2B5EF4-FFF2-40B4-BE49-F238E27FC236}">
                <a16:creationId xmlns:a16="http://schemas.microsoft.com/office/drawing/2014/main" id="{41215D43-08A5-AA4E-8D46-F8BEBABD637B}"/>
              </a:ext>
            </a:extLst>
          </p:cNvPr>
          <p:cNvSpPr>
            <a:spLocks noGrp="1"/>
          </p:cNvSpPr>
          <p:nvPr>
            <p:ph type="body" sz="quarter" idx="26" hasCustomPrompt="1"/>
          </p:nvPr>
        </p:nvSpPr>
        <p:spPr>
          <a:xfrm>
            <a:off x="6940248" y="4871413"/>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7" name="Text Placeholder 25">
            <a:extLst>
              <a:ext uri="{FF2B5EF4-FFF2-40B4-BE49-F238E27FC236}">
                <a16:creationId xmlns:a16="http://schemas.microsoft.com/office/drawing/2014/main" id="{CEA47DC5-0C78-A74E-A7A9-CD3ED853F3AB}"/>
              </a:ext>
            </a:extLst>
          </p:cNvPr>
          <p:cNvSpPr>
            <a:spLocks noGrp="1"/>
          </p:cNvSpPr>
          <p:nvPr>
            <p:ph type="body" sz="quarter" idx="15" hasCustomPrompt="1"/>
          </p:nvPr>
        </p:nvSpPr>
        <p:spPr>
          <a:xfrm>
            <a:off x="6210339" y="65873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1</a:t>
            </a:r>
          </a:p>
        </p:txBody>
      </p:sp>
      <p:sp>
        <p:nvSpPr>
          <p:cNvPr id="28" name="Text Placeholder 25">
            <a:extLst>
              <a:ext uri="{FF2B5EF4-FFF2-40B4-BE49-F238E27FC236}">
                <a16:creationId xmlns:a16="http://schemas.microsoft.com/office/drawing/2014/main" id="{AA8E11CA-9DA4-0249-B606-2B7FFE2BA82C}"/>
              </a:ext>
            </a:extLst>
          </p:cNvPr>
          <p:cNvSpPr>
            <a:spLocks noGrp="1"/>
          </p:cNvSpPr>
          <p:nvPr>
            <p:ph type="body" sz="quarter" idx="19" hasCustomPrompt="1"/>
          </p:nvPr>
        </p:nvSpPr>
        <p:spPr>
          <a:xfrm>
            <a:off x="6210339" y="173335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2</a:t>
            </a:r>
          </a:p>
        </p:txBody>
      </p:sp>
      <p:sp>
        <p:nvSpPr>
          <p:cNvPr id="29" name="Text Placeholder 25">
            <a:extLst>
              <a:ext uri="{FF2B5EF4-FFF2-40B4-BE49-F238E27FC236}">
                <a16:creationId xmlns:a16="http://schemas.microsoft.com/office/drawing/2014/main" id="{AE120B59-D85B-514D-97D0-27A154FE39AC}"/>
              </a:ext>
            </a:extLst>
          </p:cNvPr>
          <p:cNvSpPr>
            <a:spLocks noGrp="1"/>
          </p:cNvSpPr>
          <p:nvPr>
            <p:ph type="body" sz="quarter" idx="21" hasCustomPrompt="1"/>
          </p:nvPr>
        </p:nvSpPr>
        <p:spPr>
          <a:xfrm>
            <a:off x="6210339" y="279312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3</a:t>
            </a:r>
          </a:p>
        </p:txBody>
      </p:sp>
      <p:sp>
        <p:nvSpPr>
          <p:cNvPr id="30" name="Text Placeholder 25">
            <a:extLst>
              <a:ext uri="{FF2B5EF4-FFF2-40B4-BE49-F238E27FC236}">
                <a16:creationId xmlns:a16="http://schemas.microsoft.com/office/drawing/2014/main" id="{0D41AA05-EA2C-EF40-9AF1-7D82150DCEDA}"/>
              </a:ext>
            </a:extLst>
          </p:cNvPr>
          <p:cNvSpPr>
            <a:spLocks noGrp="1"/>
          </p:cNvSpPr>
          <p:nvPr>
            <p:ph type="body" sz="quarter" idx="23" hasCustomPrompt="1"/>
          </p:nvPr>
        </p:nvSpPr>
        <p:spPr>
          <a:xfrm>
            <a:off x="6196484" y="385130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4</a:t>
            </a:r>
          </a:p>
        </p:txBody>
      </p:sp>
      <p:sp>
        <p:nvSpPr>
          <p:cNvPr id="32" name="Text Placeholder 25">
            <a:extLst>
              <a:ext uri="{FF2B5EF4-FFF2-40B4-BE49-F238E27FC236}">
                <a16:creationId xmlns:a16="http://schemas.microsoft.com/office/drawing/2014/main" id="{EE047BD5-1129-9340-8F15-98064CD2202E}"/>
              </a:ext>
            </a:extLst>
          </p:cNvPr>
          <p:cNvSpPr>
            <a:spLocks noGrp="1"/>
          </p:cNvSpPr>
          <p:nvPr>
            <p:ph type="body" sz="quarter" idx="25" hasCustomPrompt="1"/>
          </p:nvPr>
        </p:nvSpPr>
        <p:spPr>
          <a:xfrm>
            <a:off x="6210339" y="4928608"/>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5</a:t>
            </a:r>
          </a:p>
        </p:txBody>
      </p:sp>
      <p:sp>
        <p:nvSpPr>
          <p:cNvPr id="49" name="Rectangle 48">
            <a:extLst>
              <a:ext uri="{FF2B5EF4-FFF2-40B4-BE49-F238E27FC236}">
                <a16:creationId xmlns:a16="http://schemas.microsoft.com/office/drawing/2014/main" id="{EFF71558-928C-3D40-B48E-F1D3A220489E}"/>
              </a:ext>
            </a:extLst>
          </p:cNvPr>
          <p:cNvSpPr/>
          <p:nvPr userDrawn="1"/>
        </p:nvSpPr>
        <p:spPr>
          <a:xfrm>
            <a:off x="6940247" y="6106331"/>
            <a:ext cx="4754536" cy="484748"/>
          </a:xfrm>
          <a:prstGeom prst="rect">
            <a:avLst/>
          </a:prstGeom>
        </p:spPr>
        <p:txBody>
          <a:bodyPr wrap="square">
            <a:spAutoFit/>
          </a:bodyPr>
          <a:lstStyle/>
          <a:p>
            <a:pPr algn="just">
              <a:tabLst>
                <a:tab pos="2865755" algn="ctr"/>
                <a:tab pos="5731510" algn="r"/>
              </a:tabLst>
            </a:pPr>
            <a:r>
              <a:rPr lang="en-US" sz="850" dirty="0">
                <a:solidFill>
                  <a:srgbClr val="595959"/>
                </a:solidFill>
                <a:effectLst/>
                <a:latin typeface="+mn-lt"/>
                <a:ea typeface="Times New Roman" panose="02020603050405020304" pitchFamily="18" charset="0"/>
                <a:cs typeface="Poppins" pitchFamily="2" charset="77"/>
              </a:rPr>
              <a:t>This </a:t>
            </a:r>
            <a:r>
              <a:rPr lang="en-US" sz="850" dirty="0" err="1">
                <a:solidFill>
                  <a:srgbClr val="595959"/>
                </a:solidFill>
                <a:effectLst/>
                <a:latin typeface="+mn-lt"/>
                <a:ea typeface="Times New Roman" panose="02020603050405020304" pitchFamily="18" charset="0"/>
                <a:cs typeface="Poppins" pitchFamily="2" charset="77"/>
              </a:rPr>
              <a:t>programme</a:t>
            </a:r>
            <a:r>
              <a:rPr lang="en-US" sz="850" dirty="0">
                <a:solidFill>
                  <a:srgbClr val="595959"/>
                </a:solidFill>
                <a:effectLst/>
                <a:latin typeface="+mn-lt"/>
                <a:ea typeface="Times New Roman" panose="02020603050405020304" pitchFamily="18" charset="0"/>
                <a:cs typeface="Poppins" pitchFamily="2" charset="77"/>
              </a:rPr>
              <a:t> has been funded with support from the European Commission. The author is solely responsible for this publication (communication)</a:t>
            </a:r>
            <a:r>
              <a:rPr lang="en-IE" sz="850" dirty="0">
                <a:solidFill>
                  <a:srgbClr val="595959"/>
                </a:solidFill>
                <a:effectLst/>
                <a:latin typeface="+mn-lt"/>
                <a:ea typeface="Calibri" panose="020F0502020204030204" pitchFamily="34" charset="0"/>
                <a:cs typeface="Poppins" pitchFamily="2" charset="77"/>
              </a:rPr>
              <a:t>  </a:t>
            </a:r>
            <a:r>
              <a:rPr lang="en-US" sz="850" dirty="0">
                <a:solidFill>
                  <a:srgbClr val="595959"/>
                </a:solidFill>
                <a:effectLst/>
                <a:latin typeface="+mn-lt"/>
                <a:ea typeface="Times New Roman" panose="02020603050405020304" pitchFamily="18" charset="0"/>
                <a:cs typeface="Poppins" pitchFamily="2" charset="77"/>
              </a:rPr>
              <a:t>and the Commission accepts no responsibility for any use that may be made of the information contained therein </a:t>
            </a:r>
            <a:endParaRPr lang="en-IE" sz="850" dirty="0">
              <a:solidFill>
                <a:srgbClr val="595959"/>
              </a:solidFill>
              <a:effectLst/>
              <a:latin typeface="+mn-lt"/>
              <a:ea typeface="Calibri" panose="020F0502020204030204" pitchFamily="34" charset="0"/>
              <a:cs typeface="Poppins" pitchFamily="2" charset="77"/>
            </a:endParaRPr>
          </a:p>
        </p:txBody>
      </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 Purpl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EAF48B3-E7B5-7641-833B-378C695D566F}"/>
              </a:ext>
            </a:extLst>
          </p:cNvPr>
          <p:cNvSpPr/>
          <p:nvPr userDrawn="1"/>
        </p:nvSpPr>
        <p:spPr>
          <a:xfrm>
            <a:off x="241300" y="367062"/>
            <a:ext cx="11696700" cy="569531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23">
            <a:extLst>
              <a:ext uri="{FF2B5EF4-FFF2-40B4-BE49-F238E27FC236}">
                <a16:creationId xmlns:a16="http://schemas.microsoft.com/office/drawing/2014/main" id="{F41CDBC0-08A5-F448-AC04-E4772440B4A9}"/>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2" name="Text Placeholder 23">
            <a:extLst>
              <a:ext uri="{FF2B5EF4-FFF2-40B4-BE49-F238E27FC236}">
                <a16:creationId xmlns:a16="http://schemas.microsoft.com/office/drawing/2014/main" id="{8F9FAF20-AC16-CB44-ADCA-1C0885F1D045}"/>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3" name="Text Placeholder 23">
            <a:extLst>
              <a:ext uri="{FF2B5EF4-FFF2-40B4-BE49-F238E27FC236}">
                <a16:creationId xmlns:a16="http://schemas.microsoft.com/office/drawing/2014/main" id="{3AA3C8DA-9E0D-7B43-AC87-D758512C0F6E}"/>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4" name="Picture Placeholder 2">
            <a:extLst>
              <a:ext uri="{FF2B5EF4-FFF2-40B4-BE49-F238E27FC236}">
                <a16:creationId xmlns:a16="http://schemas.microsoft.com/office/drawing/2014/main" id="{EEFE5111-747B-724F-8393-4A43AB5BE01B}"/>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sp>
        <p:nvSpPr>
          <p:cNvPr id="18" name="Rectangle 17">
            <a:extLst>
              <a:ext uri="{FF2B5EF4-FFF2-40B4-BE49-F238E27FC236}">
                <a16:creationId xmlns:a16="http://schemas.microsoft.com/office/drawing/2014/main" id="{0695EC4B-D743-3448-9111-F9F16A524067}"/>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9" name="Picture 8" descr="Logo&#10;&#10;Description automatically generated">
            <a:extLst>
              <a:ext uri="{FF2B5EF4-FFF2-40B4-BE49-F238E27FC236}">
                <a16:creationId xmlns:a16="http://schemas.microsoft.com/office/drawing/2014/main" id="{5CCBA5CE-075C-C643-9254-44EDE46A7504}"/>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FDAF665-EE03-6044-9639-71664DFD3DE2}"/>
              </a:ext>
            </a:extLst>
          </p:cNvPr>
          <p:cNvSpPr/>
          <p:nvPr userDrawn="1"/>
        </p:nvSpPr>
        <p:spPr>
          <a:xfrm>
            <a:off x="241300" y="367062"/>
            <a:ext cx="11696700" cy="569531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23">
            <a:extLst>
              <a:ext uri="{FF2B5EF4-FFF2-40B4-BE49-F238E27FC236}">
                <a16:creationId xmlns:a16="http://schemas.microsoft.com/office/drawing/2014/main" id="{8EC4C1ED-7EA2-6C4A-94C7-CF47B5F8A4F7}"/>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3" name="Text Placeholder 23">
            <a:extLst>
              <a:ext uri="{FF2B5EF4-FFF2-40B4-BE49-F238E27FC236}">
                <a16:creationId xmlns:a16="http://schemas.microsoft.com/office/drawing/2014/main" id="{CFDEFC83-4E7F-0B42-8CBB-BB2773CE2E52}"/>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4" name="Text Placeholder 23">
            <a:extLst>
              <a:ext uri="{FF2B5EF4-FFF2-40B4-BE49-F238E27FC236}">
                <a16:creationId xmlns:a16="http://schemas.microsoft.com/office/drawing/2014/main" id="{DBACDF2D-9408-0F4A-80FE-F136BB5FB971}"/>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5" name="Picture Placeholder 2">
            <a:extLst>
              <a:ext uri="{FF2B5EF4-FFF2-40B4-BE49-F238E27FC236}">
                <a16:creationId xmlns:a16="http://schemas.microsoft.com/office/drawing/2014/main" id="{6E9E00B5-321C-4A4C-A2E9-01807253008D}"/>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sp>
        <p:nvSpPr>
          <p:cNvPr id="16" name="Rectangle 15">
            <a:extLst>
              <a:ext uri="{FF2B5EF4-FFF2-40B4-BE49-F238E27FC236}">
                <a16:creationId xmlns:a16="http://schemas.microsoft.com/office/drawing/2014/main" id="{DE777C89-ECEE-0B4D-B282-1EC1FFF23F2E}"/>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1EC68814-2725-5648-9CBE-5ACB929B5B6F}"/>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492094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665DC88-D3E6-567E-5F5B-EA9B8C6B035F}"/>
              </a:ext>
            </a:extLst>
          </p:cNvPr>
          <p:cNvSpPr/>
          <p:nvPr userDrawn="1"/>
        </p:nvSpPr>
        <p:spPr>
          <a:xfrm>
            <a:off x="0" y="863792"/>
            <a:ext cx="12192000" cy="480858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3">
            <a:extLst>
              <a:ext uri="{FF2B5EF4-FFF2-40B4-BE49-F238E27FC236}">
                <a16:creationId xmlns:a16="http://schemas.microsoft.com/office/drawing/2014/main" id="{A2A4A94E-E8A2-BA2D-8006-691E7F2E6CC5}"/>
              </a:ext>
            </a:extLst>
          </p:cNvPr>
          <p:cNvSpPr>
            <a:spLocks noGrp="1"/>
          </p:cNvSpPr>
          <p:nvPr>
            <p:ph type="body" sz="quarter" idx="16" hasCustomPrompt="1"/>
          </p:nvPr>
        </p:nvSpPr>
        <p:spPr>
          <a:xfrm>
            <a:off x="2149154" y="1379071"/>
            <a:ext cx="4235894" cy="3833009"/>
          </a:xfrm>
        </p:spPr>
        <p:txBody>
          <a:bodyPr>
            <a:normAutofit/>
          </a:bodyPr>
          <a:lstStyle>
            <a:lvl1pPr marL="0" indent="0" algn="l">
              <a:lnSpc>
                <a:spcPts val="4860"/>
              </a:lnSpc>
              <a:spcBef>
                <a:spcPts val="0"/>
              </a:spcBef>
              <a:buNone/>
              <a:defRPr sz="4800" b="0" i="0">
                <a:solidFill>
                  <a:schemeClr val="bg1"/>
                </a:solidFill>
                <a:latin typeface="+mn-lt"/>
              </a:defRPr>
            </a:lvl1pPr>
          </a:lstStyle>
          <a:p>
            <a:pPr lvl="0"/>
            <a:r>
              <a:rPr lang="en-US" dirty="0"/>
              <a:t>Divider</a:t>
            </a:r>
          </a:p>
        </p:txBody>
      </p:sp>
      <p:sp>
        <p:nvSpPr>
          <p:cNvPr id="4" name="Rectangle 3">
            <a:extLst>
              <a:ext uri="{FF2B5EF4-FFF2-40B4-BE49-F238E27FC236}">
                <a16:creationId xmlns:a16="http://schemas.microsoft.com/office/drawing/2014/main" id="{4FDD78B4-1711-6C59-C0BD-43A0306FBD29}"/>
              </a:ext>
            </a:extLst>
          </p:cNvPr>
          <p:cNvSpPr/>
          <p:nvPr userDrawn="1"/>
        </p:nvSpPr>
        <p:spPr>
          <a:xfrm rot="5400000" flipV="1">
            <a:off x="1159154" y="1545828"/>
            <a:ext cx="144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5" name="Rectangle 4">
            <a:extLst>
              <a:ext uri="{FF2B5EF4-FFF2-40B4-BE49-F238E27FC236}">
                <a16:creationId xmlns:a16="http://schemas.microsoft.com/office/drawing/2014/main" id="{141A6271-4A4F-B341-4329-0CCBD6BA92F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6" name="Picture 5" descr="Icon&#10;&#10;Description automatically generated">
            <a:extLst>
              <a:ext uri="{FF2B5EF4-FFF2-40B4-BE49-F238E27FC236}">
                <a16:creationId xmlns:a16="http://schemas.microsoft.com/office/drawing/2014/main" id="{D7B8487F-FD8B-AC84-ABFD-9094189476C7}"/>
              </a:ext>
            </a:extLst>
          </p:cNvPr>
          <p:cNvPicPr/>
          <p:nvPr userDrawn="1"/>
        </p:nvPicPr>
        <p:blipFill rotWithShape="1">
          <a:blip r:embed="rId2" cstate="screen">
            <a:extLst>
              <a:ext uri="{28A0092B-C50C-407E-A947-70E740481C1C}">
                <a14:useLocalDpi xmlns:a14="http://schemas.microsoft.com/office/drawing/2010/main"/>
              </a:ext>
            </a:extLst>
          </a:blip>
          <a:srcRect l="6291" t="19337" r="13258" b="10881"/>
          <a:stretch/>
        </p:blipFill>
        <p:spPr>
          <a:xfrm>
            <a:off x="6282784" y="863792"/>
            <a:ext cx="6035215" cy="4808588"/>
          </a:xfrm>
          <a:prstGeom prst="rect">
            <a:avLst/>
          </a:prstGeom>
        </p:spPr>
      </p:pic>
      <p:pic>
        <p:nvPicPr>
          <p:cNvPr id="7" name="Picture 6" descr="Logo&#10;&#10;Description automatically generated">
            <a:extLst>
              <a:ext uri="{FF2B5EF4-FFF2-40B4-BE49-F238E27FC236}">
                <a16:creationId xmlns:a16="http://schemas.microsoft.com/office/drawing/2014/main" id="{6207D942-EFB5-15D0-57CC-779280770E7E}"/>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
        <p:nvSpPr>
          <p:cNvPr id="10" name="Text Placeholder 23">
            <a:extLst>
              <a:ext uri="{FF2B5EF4-FFF2-40B4-BE49-F238E27FC236}">
                <a16:creationId xmlns:a16="http://schemas.microsoft.com/office/drawing/2014/main" id="{B15E448D-9194-3FEC-6F5E-7CB710191AD4}"/>
              </a:ext>
            </a:extLst>
          </p:cNvPr>
          <p:cNvSpPr>
            <a:spLocks noGrp="1"/>
          </p:cNvSpPr>
          <p:nvPr>
            <p:ph type="body" sz="quarter" idx="17" hasCustomPrompt="1"/>
          </p:nvPr>
        </p:nvSpPr>
        <p:spPr>
          <a:xfrm>
            <a:off x="1" y="1087961"/>
            <a:ext cx="1609154" cy="582220"/>
          </a:xfrm>
        </p:spPr>
        <p:txBody>
          <a:bodyPr>
            <a:noAutofit/>
          </a:bodyPr>
          <a:lstStyle>
            <a:lvl1pPr marL="0" indent="0" algn="r">
              <a:buNone/>
              <a:defRPr sz="8800" b="0" i="0">
                <a:solidFill>
                  <a:schemeClr val="bg1"/>
                </a:solidFill>
                <a:latin typeface="+mn-lt"/>
              </a:defRPr>
            </a:lvl1pPr>
          </a:lstStyle>
          <a:p>
            <a:pPr lvl="0"/>
            <a:r>
              <a:rPr lang="en-US" dirty="0"/>
              <a:t>01</a:t>
            </a:r>
          </a:p>
        </p:txBody>
      </p:sp>
    </p:spTree>
    <p:extLst>
      <p:ext uri="{BB962C8B-B14F-4D97-AF65-F5344CB8AC3E}">
        <p14:creationId xmlns:p14="http://schemas.microsoft.com/office/powerpoint/2010/main" val="2204121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79342ED-9DF4-064D-8213-3A81D137086C}"/>
              </a:ext>
            </a:extLst>
          </p:cNvPr>
          <p:cNvSpPr/>
          <p:nvPr userDrawn="1"/>
        </p:nvSpPr>
        <p:spPr>
          <a:xfrm>
            <a:off x="0" y="863792"/>
            <a:ext cx="12192000" cy="480858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3">
            <a:extLst>
              <a:ext uri="{FF2B5EF4-FFF2-40B4-BE49-F238E27FC236}">
                <a16:creationId xmlns:a16="http://schemas.microsoft.com/office/drawing/2014/main" id="{12BAB650-108E-0942-978D-774C8074DE2B}"/>
              </a:ext>
            </a:extLst>
          </p:cNvPr>
          <p:cNvSpPr>
            <a:spLocks noGrp="1"/>
          </p:cNvSpPr>
          <p:nvPr>
            <p:ph type="body" sz="quarter" idx="16" hasCustomPrompt="1"/>
          </p:nvPr>
        </p:nvSpPr>
        <p:spPr>
          <a:xfrm>
            <a:off x="2149154" y="1379071"/>
            <a:ext cx="4235894" cy="582221"/>
          </a:xfrm>
        </p:spPr>
        <p:txBody>
          <a:bodyPr>
            <a:normAutofit/>
          </a:bodyPr>
          <a:lstStyle>
            <a:lvl1pPr marL="0" indent="0" algn="l">
              <a:buNone/>
              <a:defRPr sz="4800" b="0" i="0">
                <a:solidFill>
                  <a:schemeClr val="bg1"/>
                </a:solidFill>
                <a:latin typeface="+mn-lt"/>
              </a:defRPr>
            </a:lvl1pPr>
          </a:lstStyle>
          <a:p>
            <a:pPr lvl="0"/>
            <a:r>
              <a:rPr lang="en-US" dirty="0"/>
              <a:t>Divider</a:t>
            </a:r>
          </a:p>
        </p:txBody>
      </p:sp>
      <p:sp>
        <p:nvSpPr>
          <p:cNvPr id="15" name="Text Placeholder 23">
            <a:extLst>
              <a:ext uri="{FF2B5EF4-FFF2-40B4-BE49-F238E27FC236}">
                <a16:creationId xmlns:a16="http://schemas.microsoft.com/office/drawing/2014/main" id="{448A984E-CA05-DD42-B714-15E0FE47A2D3}"/>
              </a:ext>
            </a:extLst>
          </p:cNvPr>
          <p:cNvSpPr>
            <a:spLocks noGrp="1"/>
          </p:cNvSpPr>
          <p:nvPr>
            <p:ph type="body" sz="quarter" idx="17" hasCustomPrompt="1"/>
          </p:nvPr>
        </p:nvSpPr>
        <p:spPr>
          <a:xfrm>
            <a:off x="704603" y="1379072"/>
            <a:ext cx="904551" cy="582221"/>
          </a:xfrm>
        </p:spPr>
        <p:txBody>
          <a:bodyPr>
            <a:normAutofit/>
          </a:bodyPr>
          <a:lstStyle>
            <a:lvl1pPr marL="0" indent="0" algn="l">
              <a:buNone/>
              <a:defRPr sz="4800" b="0" i="0">
                <a:solidFill>
                  <a:schemeClr val="bg1"/>
                </a:solidFill>
                <a:latin typeface="+mn-lt"/>
              </a:defRPr>
            </a:lvl1pPr>
          </a:lstStyle>
          <a:p>
            <a:pPr lvl="0"/>
            <a:r>
              <a:rPr lang="en-US" dirty="0"/>
              <a:t>01</a:t>
            </a:r>
          </a:p>
        </p:txBody>
      </p:sp>
      <p:sp>
        <p:nvSpPr>
          <p:cNvPr id="17" name="Rectangle 16">
            <a:extLst>
              <a:ext uri="{FF2B5EF4-FFF2-40B4-BE49-F238E27FC236}">
                <a16:creationId xmlns:a16="http://schemas.microsoft.com/office/drawing/2014/main" id="{C1D862D4-F913-4F4B-932F-CEC309A3EB60}"/>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8" name="Picture 17" descr="Icon&#10;&#10;Description automatically generated">
            <a:extLst>
              <a:ext uri="{FF2B5EF4-FFF2-40B4-BE49-F238E27FC236}">
                <a16:creationId xmlns:a16="http://schemas.microsoft.com/office/drawing/2014/main" id="{D525F11B-4DF0-7441-AB7E-37829DE6C436}"/>
              </a:ext>
            </a:extLst>
          </p:cNvPr>
          <p:cNvPicPr/>
          <p:nvPr userDrawn="1"/>
        </p:nvPicPr>
        <p:blipFill rotWithShape="1">
          <a:blip r:embed="rId2" cstate="screen">
            <a:extLst>
              <a:ext uri="{28A0092B-C50C-407E-A947-70E740481C1C}">
                <a14:useLocalDpi xmlns:a14="http://schemas.microsoft.com/office/drawing/2010/main"/>
              </a:ext>
            </a:extLst>
          </a:blip>
          <a:srcRect l="6291" t="19337" r="13258" b="10881"/>
          <a:stretch/>
        </p:blipFill>
        <p:spPr>
          <a:xfrm>
            <a:off x="6574708" y="863792"/>
            <a:ext cx="6035215" cy="4808588"/>
          </a:xfrm>
          <a:prstGeom prst="rect">
            <a:avLst/>
          </a:prstGeom>
        </p:spPr>
      </p:pic>
      <p:pic>
        <p:nvPicPr>
          <p:cNvPr id="19" name="Picture 18" descr="Logo&#10;&#10;Description automatically generated">
            <a:extLst>
              <a:ext uri="{FF2B5EF4-FFF2-40B4-BE49-F238E27FC236}">
                <a16:creationId xmlns:a16="http://schemas.microsoft.com/office/drawing/2014/main" id="{B7BBE6B0-F76A-C541-8417-4278538578B7}"/>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5339404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F337BB-9F57-1B43-913A-21BC65FFB7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70557024-83C6-E440-928C-6196DF32B1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124A238-6532-A840-B650-EB91262EE67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7FD578-4D8C-F94D-9569-CDE05732EEA7}" type="datetimeFigureOut">
              <a:rPr lang="en-US" smtClean="0"/>
              <a:t>11/7/2022</a:t>
            </a:fld>
            <a:endParaRPr lang="en-US"/>
          </a:p>
        </p:txBody>
      </p:sp>
      <p:sp>
        <p:nvSpPr>
          <p:cNvPr id="5" name="Footer Placeholder 4">
            <a:extLst>
              <a:ext uri="{FF2B5EF4-FFF2-40B4-BE49-F238E27FC236}">
                <a16:creationId xmlns:a16="http://schemas.microsoft.com/office/drawing/2014/main" id="{2229FE06-AD7A-EE46-8712-1181F535E69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26DBF10-9497-BF4E-8AAE-86407B91845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760C49-C21F-C349-B509-93C281143DFD}" type="slidenum">
              <a:rPr lang="en-US" smtClean="0"/>
              <a:t>‹Nº›</a:t>
            </a:fld>
            <a:endParaRPr lang="en-US"/>
          </a:p>
        </p:txBody>
      </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30" r:id="rId4"/>
    <p:sldLayoutId id="2147483842" r:id="rId5"/>
    <p:sldLayoutId id="2147483840" r:id="rId6"/>
    <p:sldLayoutId id="2147483841" r:id="rId7"/>
    <p:sldLayoutId id="2147483861" r:id="rId8"/>
    <p:sldLayoutId id="2147483862" r:id="rId9"/>
    <p:sldLayoutId id="2147483863" r:id="rId10"/>
    <p:sldLayoutId id="2147483835" r:id="rId11"/>
    <p:sldLayoutId id="2147483836" r:id="rId12"/>
    <p:sldLayoutId id="2147483831" r:id="rId13"/>
    <p:sldLayoutId id="2147483846" r:id="rId14"/>
    <p:sldLayoutId id="2147483873" r:id="rId15"/>
    <p:sldLayoutId id="2147483834" r:id="rId16"/>
    <p:sldLayoutId id="2147483845" r:id="rId17"/>
    <p:sldLayoutId id="2147483869" r:id="rId18"/>
    <p:sldLayoutId id="2147483866" r:id="rId19"/>
    <p:sldLayoutId id="2147483833" r:id="rId20"/>
    <p:sldLayoutId id="2147483847" r:id="rId21"/>
    <p:sldLayoutId id="2147483871" r:id="rId22"/>
    <p:sldLayoutId id="2147483875" r:id="rId23"/>
    <p:sldLayoutId id="2147483837" r:id="rId24"/>
    <p:sldLayoutId id="2147483838" r:id="rId25"/>
    <p:sldLayoutId id="2147483844" r:id="rId26"/>
    <p:sldLayoutId id="2147483848" r:id="rId27"/>
    <p:sldLayoutId id="2147483849" r:id="rId28"/>
    <p:sldLayoutId id="2147483851" r:id="rId29"/>
    <p:sldLayoutId id="2147483854" r:id="rId30"/>
    <p:sldLayoutId id="2147483855" r:id="rId31"/>
    <p:sldLayoutId id="2147483856" r:id="rId32"/>
    <p:sldLayoutId id="2147483857" r:id="rId33"/>
    <p:sldLayoutId id="2147483864" r:id="rId34"/>
    <p:sldLayoutId id="2147483852" r:id="rId35"/>
    <p:sldLayoutId id="2147483858" r:id="rId36"/>
    <p:sldLayoutId id="2147483859" r:id="rId37"/>
    <p:sldLayoutId id="2147483860" r:id="rId38"/>
    <p:sldLayoutId id="2147483874" r:id="rId39"/>
    <p:sldLayoutId id="2147483876" r:id="rId40"/>
    <p:sldLayoutId id="2147483878" r:id="rId41"/>
    <p:sldLayoutId id="2147483879" r:id="rId4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4.xml"/><Relationship Id="rId5" Type="http://schemas.openxmlformats.org/officeDocument/2006/relationships/image" Target="../media/image12.png"/><Relationship Id="rId4" Type="http://schemas.openxmlformats.org/officeDocument/2006/relationships/hyperlink" Target="https://www.onlinedoctranslator.com/es/?utm_source=onlinedoctranslator&amp;utm_medium=pptx&amp;utm_campaign=attribution"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hyperlink" Target="https://www.youtube.com/watch?v=SEfgCqnMl5E&amp;t=198s" TargetMode="External"/><Relationship Id="rId2" Type="http://schemas.openxmlformats.org/officeDocument/2006/relationships/slideLayout" Target="../slideLayouts/slideLayout20.xml"/><Relationship Id="rId1" Type="http://schemas.openxmlformats.org/officeDocument/2006/relationships/tags" Target="../tags/tag1.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hyperlink" Target="https://youtu.be/Cxf_SRCcaGo" TargetMode="External"/><Relationship Id="rId2" Type="http://schemas.openxmlformats.org/officeDocument/2006/relationships/image" Target="../media/image21.png"/><Relationship Id="rId1" Type="http://schemas.openxmlformats.org/officeDocument/2006/relationships/slideLayout" Target="../slideLayouts/slideLayout20.xml"/><Relationship Id="rId4" Type="http://schemas.openxmlformats.org/officeDocument/2006/relationships/hyperlink" Target="https://www.youtube.com/watch?v=Cxf_SRCcaGo"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hyperlink" Target="https://www.youtube.com/watch?v=heRCxqQmrGQ" TargetMode="External"/><Relationship Id="rId2" Type="http://schemas.openxmlformats.org/officeDocument/2006/relationships/image" Target="../media/image22.png"/><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7.xml"/><Relationship Id="rId1" Type="http://schemas.openxmlformats.org/officeDocument/2006/relationships/tags" Target="../tags/tag2.xml"/><Relationship Id="rId6" Type="http://schemas.openxmlformats.org/officeDocument/2006/relationships/image" Target="../media/image23.png"/><Relationship Id="rId5" Type="http://schemas.openxmlformats.org/officeDocument/2006/relationships/image" Target="../media/image19.emf"/><Relationship Id="rId4" Type="http://schemas.openxmlformats.org/officeDocument/2006/relationships/oleObject" Target="../embeddings/oleObject2.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hyperlink" Target="https://www.smecrisistoolkit.eu/framework-en/" TargetMode="Externa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2" Type="http://schemas.openxmlformats.org/officeDocument/2006/relationships/hyperlink" Target="https://f24.com/en/the-importance-of-teamwork-during-an-emergency-or-crisis/" TargetMode="Externa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hyperlink" Target="https://trainingindustry.com/blog/leadership/7-things-the-best-leaders-do-in-times-of-crisis/" TargetMode="External"/><Relationship Id="rId2" Type="http://schemas.openxmlformats.org/officeDocument/2006/relationships/notesSlide" Target="../notesSlides/notesSlide18.xml"/><Relationship Id="rId1" Type="http://schemas.openxmlformats.org/officeDocument/2006/relationships/slideLayout" Target="../slideLayouts/slideLayout19.xml"/><Relationship Id="rId4" Type="http://schemas.openxmlformats.org/officeDocument/2006/relationships/image" Target="../media/image24.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5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hyperlink" Target="https://www.entrepreneur.com/leadership/10-popular-myths-about-leadership-and-how-to-overcome-them/330198#:~:text=10%20Popular%20Myths%20About%20Leadership%20and%20How%20to,always%20tell%20me%20the%20truth.%20...%20More%20items" TargetMode="External"/><Relationship Id="rId2" Type="http://schemas.openxmlformats.org/officeDocument/2006/relationships/notesSlide" Target="../notesSlides/notesSlide1.xml"/><Relationship Id="rId1" Type="http://schemas.openxmlformats.org/officeDocument/2006/relationships/slideLayout" Target="../slideLayouts/slideLayout19.xml"/><Relationship Id="rId4" Type="http://schemas.openxmlformats.org/officeDocument/2006/relationships/image" Target="../media/image14.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hyperlink" Target="https://www.ted.com/playlists?topics%5b%5d=leadership" TargetMode="External"/><Relationship Id="rId2" Type="http://schemas.openxmlformats.org/officeDocument/2006/relationships/notesSlide" Target="../notesSlides/notesSlide2.xml"/><Relationship Id="rId1" Type="http://schemas.openxmlformats.org/officeDocument/2006/relationships/slideLayout" Target="../slideLayouts/slideLayout19.xml"/><Relationship Id="rId4" Type="http://schemas.openxmlformats.org/officeDocument/2006/relationships/image" Target="../media/image15.png"/></Relationships>
</file>

<file path=ppt/slides/_rels/slide7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7.xml"/></Relationships>
</file>

<file path=ppt/slides/_rels/slide7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7.xml"/></Relationships>
</file>

<file path=ppt/slides/_rels/slide72.xml.rels><?xml version="1.0" encoding="UTF-8" standalone="yes"?>
<Relationships xmlns="http://schemas.openxmlformats.org/package/2006/relationships"><Relationship Id="rId3" Type="http://schemas.openxmlformats.org/officeDocument/2006/relationships/hyperlink" Target="https://twitter.com/SECure_Project" TargetMode="External"/><Relationship Id="rId2" Type="http://schemas.openxmlformats.org/officeDocument/2006/relationships/hyperlink" Target="https://www.facebook.com/SECure.ErasmusProject" TargetMode="External"/><Relationship Id="rId1" Type="http://schemas.openxmlformats.org/officeDocument/2006/relationships/slideLayout" Target="../slideLayouts/slideLayout39.xml"/><Relationship Id="rId4" Type="http://schemas.openxmlformats.org/officeDocument/2006/relationships/hyperlink" Target="https://www.linkedin.com/company/secure-project/"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EE31D6-3015-BF40-A01F-F259544C7E1A}"/>
              </a:ext>
            </a:extLst>
          </p:cNvPr>
          <p:cNvSpPr>
            <a:spLocks noGrp="1"/>
          </p:cNvSpPr>
          <p:nvPr>
            <p:ph type="body" sz="quarter" idx="16"/>
          </p:nvPr>
        </p:nvSpPr>
        <p:spPr>
          <a:xfrm>
            <a:off x="735749" y="2786223"/>
            <a:ext cx="6026832" cy="2403642"/>
          </a:xfrm>
        </p:spPr>
        <p:txBody>
          <a:bodyPr anchor="t">
            <a:normAutofit/>
          </a:bodyPr>
          <a:lstStyle/>
          <a:p>
            <a:pPr algn="l" rtl="0"/>
            <a:r>
              <a:rPr lang="en-US" sz="4000" b="1" dirty="0"/>
              <a:t>MÓDULO 4</a:t>
            </a:r>
            <a:endParaRPr lang="en-US" sz="4000" b="1"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10" name="Picture 9" descr="Icon  Description automatically generated">
            <a:extLst>
              <a:ext uri="{FF2B5EF4-FFF2-40B4-BE49-F238E27FC236}">
                <a16:creationId xmlns:a16="http://schemas.microsoft.com/office/drawing/2014/main" id="{34DF4380-9FA9-C942-95CE-8E68EE0BAE52}"/>
              </a:ext>
            </a:extLst>
          </p:cNvPr>
          <p:cNvPicPr/>
          <p:nvPr/>
        </p:nvPicPr>
        <p:blipFill rotWithShape="1">
          <a:blip r:embed="rId2" cstate="screen">
            <a:extLst>
              <a:ext uri="{28A0092B-C50C-407E-A947-70E740481C1C}">
                <a14:useLocalDpi xmlns:a14="http://schemas.microsoft.com/office/drawing/2010/main"/>
              </a:ext>
            </a:extLst>
          </a:blip>
          <a:srcRect l="-11025" t="-318" r="25497" b="15717"/>
          <a:stretch/>
        </p:blipFill>
        <p:spPr>
          <a:xfrm>
            <a:off x="7770233" y="2840234"/>
            <a:ext cx="4421766" cy="4017766"/>
          </a:xfrm>
          <a:prstGeom prst="rect">
            <a:avLst/>
          </a:prstGeom>
        </p:spPr>
      </p:pic>
      <p:pic>
        <p:nvPicPr>
          <p:cNvPr id="7" name="Picture Placeholder 6" descr="Stopwatch">
            <a:extLst>
              <a:ext uri="{FF2B5EF4-FFF2-40B4-BE49-F238E27FC236}">
                <a16:creationId xmlns:a16="http://schemas.microsoft.com/office/drawing/2014/main" id="{B153D999-4808-4695-B1F8-A7087627975A}"/>
              </a:ext>
            </a:extLst>
          </p:cNvPr>
          <p:cNvPicPr>
            <a:picLocks noGrp="1" noChangeAspect="1"/>
          </p:cNvPicPr>
          <p:nvPr>
            <p:ph type="pic" sz="quarter" idx="17"/>
          </p:nvPr>
        </p:nvPicPr>
        <p:blipFill>
          <a:blip r:embed="rId3" cstate="screen">
            <a:extLst>
              <a:ext uri="{28A0092B-C50C-407E-A947-70E740481C1C}">
                <a14:useLocalDpi xmlns:a14="http://schemas.microsoft.com/office/drawing/2010/main"/>
              </a:ext>
            </a:extLst>
          </a:blip>
          <a:srcRect l="25926" r="25926"/>
          <a:stretch>
            <a:fillRect/>
          </a:stretch>
        </p:blipFill>
        <p:spPr/>
      </p:pic>
      <p:sp>
        <p:nvSpPr>
          <p:cNvPr id="9" name="TextBox 8">
            <a:extLst>
              <a:ext uri="{FF2B5EF4-FFF2-40B4-BE49-F238E27FC236}">
                <a16:creationId xmlns:a16="http://schemas.microsoft.com/office/drawing/2014/main" id="{E47E8D49-C9B4-9A47-D4E3-45D5EB4A7C46}"/>
              </a:ext>
            </a:extLst>
          </p:cNvPr>
          <p:cNvSpPr txBox="1"/>
          <p:nvPr/>
        </p:nvSpPr>
        <p:spPr>
          <a:xfrm>
            <a:off x="6450778" y="235419"/>
            <a:ext cx="5741222" cy="1384995"/>
          </a:xfrm>
          <a:prstGeom prst="rect">
            <a:avLst/>
          </a:prstGeom>
          <a:noFill/>
        </p:spPr>
        <p:txBody>
          <a:bodyPr wrap="square">
            <a:spAutoFit/>
          </a:bodyPr>
          <a:lstStyle/>
          <a:p>
            <a:pPr algn="l" rtl="0"/>
            <a:r>
              <a:rPr lang="en-GB" sz="2800" dirty="0">
                <a:solidFill>
                  <a:schemeClr val="bg1"/>
                </a:solidFill>
                <a:highlight>
                  <a:srgbClr val="F16924"/>
                </a:highlight>
              </a:rPr>
              <a:t> SECURE CURRÍCULO Y VETERINARIO</a:t>
            </a:r>
            <a:r>
              <a:rPr lang="en-GB" sz="2800" dirty="0">
                <a:solidFill>
                  <a:srgbClr val="F16924"/>
                </a:solidFill>
                <a:highlight>
                  <a:srgbClr val="F16924"/>
                </a:highlight>
              </a:rPr>
              <a:t>.</a:t>
            </a:r>
            <a:r>
              <a:rPr lang="en-GB" sz="2800" dirty="0">
                <a:solidFill>
                  <a:schemeClr val="bg1"/>
                </a:solidFill>
                <a:highlight>
                  <a:srgbClr val="F16924"/>
                </a:highlight>
              </a:rPr>
              <a:t>PAQUETE DE ENTRENAMIENTO</a:t>
            </a:r>
          </a:p>
        </p:txBody>
      </p:sp>
      <p:sp>
        <p:nvSpPr>
          <p:cNvPr id="2" name="Rectangle 1">
            <a:extLst>
              <a:ext uri="{FF2B5EF4-FFF2-40B4-BE49-F238E27FC236}">
                <a16:creationId xmlns:a16="http://schemas.microsoft.com/office/drawing/2014/main" id="{D5358F07-AB48-6218-7D5A-E2CF2178774E}"/>
              </a:ext>
            </a:extLst>
          </p:cNvPr>
          <p:cNvSpPr/>
          <p:nvPr/>
        </p:nvSpPr>
        <p:spPr>
          <a:xfrm>
            <a:off x="735749" y="3572308"/>
            <a:ext cx="288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Calibri" panose="020F0502020204030204" pitchFamily="34" charset="0"/>
              <a:cs typeface="Calibri" panose="020F0502020204030204" pitchFamily="34" charset="0"/>
            </a:endParaRPr>
          </a:p>
        </p:txBody>
      </p:sp>
      <p:sp>
        <p:nvSpPr>
          <p:cNvPr id="4" name="Text Placeholder 2">
            <a:extLst>
              <a:ext uri="{FF2B5EF4-FFF2-40B4-BE49-F238E27FC236}">
                <a16:creationId xmlns:a16="http://schemas.microsoft.com/office/drawing/2014/main" id="{EF51B361-828C-FA55-D7BA-CCADDD8C730A}"/>
              </a:ext>
            </a:extLst>
          </p:cNvPr>
          <p:cNvSpPr txBox="1">
            <a:spLocks/>
          </p:cNvSpPr>
          <p:nvPr/>
        </p:nvSpPr>
        <p:spPr>
          <a:xfrm>
            <a:off x="735749" y="3760839"/>
            <a:ext cx="5835530" cy="2066198"/>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sz="4000" dirty="0">
                <a:latin typeface="Calibri" panose="020F0502020204030204" pitchFamily="34" charset="0"/>
                <a:ea typeface="Calibri" panose="020F0502020204030204" pitchFamily="34" charset="0"/>
                <a:cs typeface="Calibri" panose="020F0502020204030204" pitchFamily="34" charset="0"/>
              </a:rPr>
              <a:t>Cultura de Liderazgo, Gestión de Grupos de Interés y Comunicaciones</a:t>
            </a:r>
          </a:p>
        </p:txBody>
      </p:sp>
      <p:sp>
        <p:nvSpPr>
          <p:cNvPr id="100010001" name="ODT_ATTR_LBL_SHAPE">
            <a:extLst>
              <a:ext uri="{FF2B5EF4-FFF2-40B4-BE49-F238E27FC236}">
                <a16:creationId xmlns:a16="http://schemas.microsoft.com/office/drawing/2014/main" id="{ADCB8724-23CD-4EE8-B5B5-3CB2DDF8932E}"/>
              </a:ext>
            </a:extLst>
          </p:cNvPr>
          <p:cNvSpPr txBox="1"/>
          <p:nvPr/>
        </p:nvSpPr>
        <p:spPr>
          <a:xfrm>
            <a:off x="0" y="0"/>
            <a:ext cx="5000000" cy="276999"/>
          </a:xfrm>
          <a:prstGeom prst="rect">
            <a:avLst/>
          </a:prstGeom>
          <a:solidFill>
            <a:srgbClr val="FAFAFA"/>
          </a:solidFill>
        </p:spPr>
        <p:txBody>
          <a:bodyPr wrap="none" lIns="288000">
            <a:spAutoFit/>
          </a:bodyPr>
          <a:lstStyle/>
          <a:p>
            <a:pPr rtl="0"/>
            <a:r>
              <a:rPr lang="en-US" sz="1000" dirty="0">
                <a:solidFill>
                  <a:srgbClr val="0F2B46"/>
                </a:solidFill>
                <a:effectLst/>
                <a:latin typeface="Roboto" panose="02000000000000000000" pitchFamily="2" charset="0"/>
              </a:rPr>
              <a:t>Traducido del inglés al español - </a:t>
            </a:r>
            <a:r>
              <a:rPr lang="en-US" sz="1000" u="sng" dirty="0">
                <a:solidFill>
                  <a:srgbClr val="0F2B46"/>
                </a:solidFill>
                <a:effectLst/>
                <a:latin typeface="Roboto" panose="02000000000000000000" pitchFamily="2" charset="0"/>
                <a:hlinkClick r:id="rId4" tooltip="Doc Translator - www.onlinedoctranslator.com"/>
              </a:rPr>
              <a:t>www.onlinedoctranslator.com</a:t>
            </a:r>
            <a:endParaRPr lang="en-US" sz="1000" dirty="0"/>
          </a:p>
        </p:txBody>
      </p:sp>
      <p:pic>
        <p:nvPicPr>
          <p:cNvPr id="1000100002" name="ODT_ATTR_LBL_LOGO">
            <a:extLst>
              <a:ext uri="{FF2B5EF4-FFF2-40B4-BE49-F238E27FC236}">
                <a16:creationId xmlns:a16="http://schemas.microsoft.com/office/drawing/2014/main" id="{B066AC4A-9A1C-4C10-800A-DAF9F2764385}"/>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0" y="36000"/>
            <a:ext cx="316230" cy="179705"/>
          </a:xfrm>
          <a:prstGeom prst="rect">
            <a:avLst/>
          </a:prstGeom>
        </p:spPr>
      </p:pic>
    </p:spTree>
    <p:extLst>
      <p:ext uri="{BB962C8B-B14F-4D97-AF65-F5344CB8AC3E}">
        <p14:creationId xmlns:p14="http://schemas.microsoft.com/office/powerpoint/2010/main" val="8276630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4"/>
            <a:ext cx="4598894" cy="685329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ext Placeholder 1">
            <a:extLst>
              <a:ext uri="{FF2B5EF4-FFF2-40B4-BE49-F238E27FC236}">
                <a16:creationId xmlns:a16="http://schemas.microsoft.com/office/drawing/2014/main" id="{369FF674-8478-CA64-7E80-603F8A2D78A0}"/>
              </a:ext>
            </a:extLst>
          </p:cNvPr>
          <p:cNvSpPr>
            <a:spLocks noGrp="1"/>
          </p:cNvSpPr>
          <p:nvPr>
            <p:ph type="body" sz="quarter" idx="16"/>
          </p:nvPr>
        </p:nvSpPr>
        <p:spPr>
          <a:xfrm>
            <a:off x="486727" y="470886"/>
            <a:ext cx="3156125" cy="2144503"/>
          </a:xfrm>
        </p:spPr>
        <p:txBody>
          <a:bodyPr>
            <a:normAutofit/>
          </a:bodyPr>
          <a:lstStyle/>
          <a:p>
            <a:pPr algn="l" rtl="0"/>
            <a:r>
              <a:rPr lang="en-GB" dirty="0">
                <a:solidFill>
                  <a:schemeClr val="bg1"/>
                </a:solidFill>
              </a:rPr>
              <a:t>7 observaciones sobre el liderazgo</a:t>
            </a:r>
          </a:p>
        </p:txBody>
      </p:sp>
      <p:sp>
        <p:nvSpPr>
          <p:cNvPr id="12" name="Subtitle 2">
            <a:extLst>
              <a:ext uri="{FF2B5EF4-FFF2-40B4-BE49-F238E27FC236}">
                <a16:creationId xmlns:a16="http://schemas.microsoft.com/office/drawing/2014/main" id="{0FD12F78-6B45-1196-CDCF-232E2EC11FA5}"/>
              </a:ext>
            </a:extLst>
          </p:cNvPr>
          <p:cNvSpPr txBox="1">
            <a:spLocks/>
          </p:cNvSpPr>
          <p:nvPr/>
        </p:nvSpPr>
        <p:spPr>
          <a:xfrm>
            <a:off x="4941345" y="650189"/>
            <a:ext cx="6962366" cy="571603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344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Liderazgo no es gestión</a:t>
            </a:r>
          </a:p>
          <a:p>
            <a:pPr algn="l" rtl="0">
              <a:lnSpc>
                <a:spcPts val="344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rtl="0">
              <a:lnSpc>
                <a:spcPts val="344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Es un deporte de contacto (completo) (¡y ya estás en el juego!)</a:t>
            </a:r>
          </a:p>
          <a:p>
            <a:pPr algn="l" rtl="0">
              <a:lnSpc>
                <a:spcPts val="344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rtl="0">
              <a:lnSpc>
                <a:spcPts val="344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No hay un solo estilo</a:t>
            </a:r>
          </a:p>
          <a:p>
            <a:pPr algn="l" rtl="0">
              <a:lnSpc>
                <a:spcPts val="344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rtl="0">
              <a:lnSpc>
                <a:spcPts val="344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siempre es situacional</a:t>
            </a:r>
          </a:p>
          <a:p>
            <a:pPr algn="l" rtl="0">
              <a:lnSpc>
                <a:spcPts val="344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rtl="0">
              <a:lnSpc>
                <a:spcPts val="344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es bueno o malo</a:t>
            </a:r>
          </a:p>
          <a:p>
            <a:pPr algn="l" rtl="0">
              <a:lnSpc>
                <a:spcPts val="344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rtl="0">
              <a:lnSpc>
                <a:spcPts val="344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nunca dejas de aprender</a:t>
            </a:r>
          </a:p>
          <a:p>
            <a:pPr algn="l" rtl="0">
              <a:lnSpc>
                <a:spcPts val="344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rtl="0">
              <a:lnSpc>
                <a:spcPts val="344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Puedes liderar sirviendo</a:t>
            </a:r>
          </a:p>
        </p:txBody>
      </p:sp>
      <p:grpSp>
        <p:nvGrpSpPr>
          <p:cNvPr id="16" name="Group 15">
            <a:extLst>
              <a:ext uri="{FF2B5EF4-FFF2-40B4-BE49-F238E27FC236}">
                <a16:creationId xmlns:a16="http://schemas.microsoft.com/office/drawing/2014/main" id="{34FAAF69-2385-1C45-0C64-1DDF3A1E720E}"/>
              </a:ext>
            </a:extLst>
          </p:cNvPr>
          <p:cNvGrpSpPr/>
          <p:nvPr/>
        </p:nvGrpSpPr>
        <p:grpSpPr>
          <a:xfrm>
            <a:off x="4148703" y="520386"/>
            <a:ext cx="701992" cy="701724"/>
            <a:chOff x="7037107" y="1407878"/>
            <a:chExt cx="701992" cy="701724"/>
          </a:xfrm>
        </p:grpSpPr>
        <p:sp>
          <p:nvSpPr>
            <p:cNvPr id="17" name="Freeform 16">
              <a:extLst>
                <a:ext uri="{FF2B5EF4-FFF2-40B4-BE49-F238E27FC236}">
                  <a16:creationId xmlns:a16="http://schemas.microsoft.com/office/drawing/2014/main" id="{757E75C7-B5DE-6E3F-35BD-5D5D94C2F9E5}"/>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18" name="Freeform 17">
              <a:extLst>
                <a:ext uri="{FF2B5EF4-FFF2-40B4-BE49-F238E27FC236}">
                  <a16:creationId xmlns:a16="http://schemas.microsoft.com/office/drawing/2014/main" id="{9EBB93D9-5563-8A3E-F5A4-C059BA3FA6C1}"/>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19" name="TextBox 18">
              <a:extLst>
                <a:ext uri="{FF2B5EF4-FFF2-40B4-BE49-F238E27FC236}">
                  <a16:creationId xmlns:a16="http://schemas.microsoft.com/office/drawing/2014/main" id="{B5B4FBE2-163F-DFB7-3BE0-02E7A9CABCCD}"/>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pic>
        <p:nvPicPr>
          <p:cNvPr id="20" name="Picture 19" descr="Icon  Description automatically generated">
            <a:extLst>
              <a:ext uri="{FF2B5EF4-FFF2-40B4-BE49-F238E27FC236}">
                <a16:creationId xmlns:a16="http://schemas.microsoft.com/office/drawing/2014/main" id="{06FC529E-6AFC-E194-3AC7-6FE534A8081E}"/>
              </a:ext>
            </a:extLst>
          </p:cNvPr>
          <p:cNvPicPr/>
          <p:nvPr/>
        </p:nvPicPr>
        <p:blipFill rotWithShape="1">
          <a:blip r:embed="rId3" cstate="screen">
            <a:extLst>
              <a:ext uri="{28A0092B-C50C-407E-A947-70E740481C1C}">
                <a14:useLocalDpi xmlns:a14="http://schemas.microsoft.com/office/drawing/2010/main"/>
              </a:ext>
            </a:extLst>
          </a:blip>
          <a:srcRect l="201" t="2764" r="22935" b="35941"/>
          <a:stretch/>
        </p:blipFill>
        <p:spPr>
          <a:xfrm>
            <a:off x="-405925" y="4678070"/>
            <a:ext cx="4666129" cy="3418087"/>
          </a:xfrm>
          <a:prstGeom prst="rect">
            <a:avLst/>
          </a:prstGeom>
        </p:spPr>
      </p:pic>
      <p:cxnSp>
        <p:nvCxnSpPr>
          <p:cNvPr id="21" name="Straight Connector 20">
            <a:extLst>
              <a:ext uri="{FF2B5EF4-FFF2-40B4-BE49-F238E27FC236}">
                <a16:creationId xmlns:a16="http://schemas.microsoft.com/office/drawing/2014/main" id="{385A4FDB-7456-E4C6-F600-BE3779B9BEC9}"/>
              </a:ext>
            </a:extLst>
          </p:cNvPr>
          <p:cNvCxnSpPr>
            <a:cxnSpLocks/>
          </p:cNvCxnSpPr>
          <p:nvPr/>
        </p:nvCxnSpPr>
        <p:spPr>
          <a:xfrm>
            <a:off x="4598894" y="1278682"/>
            <a:ext cx="761467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A82F0E4-AD89-B7A1-BFC7-9187B2394984}"/>
              </a:ext>
            </a:extLst>
          </p:cNvPr>
          <p:cNvCxnSpPr>
            <a:cxnSpLocks/>
          </p:cNvCxnSpPr>
          <p:nvPr/>
        </p:nvCxnSpPr>
        <p:spPr>
          <a:xfrm>
            <a:off x="4598894" y="3942286"/>
            <a:ext cx="761467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BAB62746-1033-0D32-7C9F-E0AC77F196A5}"/>
              </a:ext>
            </a:extLst>
          </p:cNvPr>
          <p:cNvGrpSpPr/>
          <p:nvPr/>
        </p:nvGrpSpPr>
        <p:grpSpPr>
          <a:xfrm>
            <a:off x="4148703" y="2257606"/>
            <a:ext cx="701992" cy="701724"/>
            <a:chOff x="7037107" y="1407878"/>
            <a:chExt cx="701992" cy="701724"/>
          </a:xfrm>
        </p:grpSpPr>
        <p:sp>
          <p:nvSpPr>
            <p:cNvPr id="28" name="Freeform 27">
              <a:extLst>
                <a:ext uri="{FF2B5EF4-FFF2-40B4-BE49-F238E27FC236}">
                  <a16:creationId xmlns:a16="http://schemas.microsoft.com/office/drawing/2014/main" id="{58B4E7E4-43FD-CE6A-686C-8599CAF3DF2B}"/>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30" name="Freeform 29">
              <a:extLst>
                <a:ext uri="{FF2B5EF4-FFF2-40B4-BE49-F238E27FC236}">
                  <a16:creationId xmlns:a16="http://schemas.microsoft.com/office/drawing/2014/main" id="{B2653B97-4F76-2381-1017-7195409B855A}"/>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32" name="TextBox 31">
              <a:extLst>
                <a:ext uri="{FF2B5EF4-FFF2-40B4-BE49-F238E27FC236}">
                  <a16:creationId xmlns:a16="http://schemas.microsoft.com/office/drawing/2014/main" id="{2C14FDA1-4E3D-C9BD-C63E-2B38B5F490A0}"/>
                </a:ext>
              </a:extLst>
            </p:cNvPr>
            <p:cNvSpPr txBox="1"/>
            <p:nvPr/>
          </p:nvSpPr>
          <p:spPr>
            <a:xfrm>
              <a:off x="7123230" y="1483724"/>
              <a:ext cx="560940" cy="523220"/>
            </a:xfrm>
            <a:prstGeom prst="rect">
              <a:avLst/>
            </a:prstGeom>
            <a:noFill/>
          </p:spPr>
          <p:txBody>
            <a:bodyPr wrap="square" rtlCol="0">
              <a:spAutoFit/>
            </a:bodyPr>
            <a:lstStyle/>
            <a:p>
              <a:pPr algn="l" rtl="0"/>
              <a:r>
                <a:rPr lang="en-US" sz="2800" b="1" dirty="0">
                  <a:ln/>
                  <a:solidFill>
                    <a:srgbClr val="B41F7A"/>
                  </a:solidFill>
                  <a:latin typeface="Calibri" panose="020F0502020204030204" pitchFamily="34" charset="0"/>
                  <a:cs typeface="Calibri" panose="020F0502020204030204" pitchFamily="34" charset="0"/>
                  <a:sym typeface="Montserrat-ExtraBold"/>
                  <a:rtl val="0"/>
                </a:rPr>
                <a:t>03</a:t>
              </a:r>
              <a:endParaRPr lang="en-US" sz="2800" b="1" spc="0" baseline="0" dirty="0">
                <a:ln/>
                <a:solidFill>
                  <a:srgbClr val="B41F7A"/>
                </a:solidFill>
                <a:latin typeface="Calibri" panose="020F0502020204030204" pitchFamily="34" charset="0"/>
                <a:cs typeface="Calibri" panose="020F0502020204030204" pitchFamily="34" charset="0"/>
                <a:sym typeface="Montserrat-ExtraBold"/>
                <a:rtl val="0"/>
              </a:endParaRPr>
            </a:p>
          </p:txBody>
        </p:sp>
      </p:grpSp>
      <p:grpSp>
        <p:nvGrpSpPr>
          <p:cNvPr id="33" name="Group 32">
            <a:extLst>
              <a:ext uri="{FF2B5EF4-FFF2-40B4-BE49-F238E27FC236}">
                <a16:creationId xmlns:a16="http://schemas.microsoft.com/office/drawing/2014/main" id="{A7479112-69FA-2648-DF5C-199359FB8105}"/>
              </a:ext>
            </a:extLst>
          </p:cNvPr>
          <p:cNvGrpSpPr/>
          <p:nvPr/>
        </p:nvGrpSpPr>
        <p:grpSpPr>
          <a:xfrm>
            <a:off x="4148703" y="4863436"/>
            <a:ext cx="701992" cy="701724"/>
            <a:chOff x="7037107" y="1407878"/>
            <a:chExt cx="701992" cy="701724"/>
          </a:xfrm>
        </p:grpSpPr>
        <p:sp>
          <p:nvSpPr>
            <p:cNvPr id="36" name="Freeform 35">
              <a:extLst>
                <a:ext uri="{FF2B5EF4-FFF2-40B4-BE49-F238E27FC236}">
                  <a16:creationId xmlns:a16="http://schemas.microsoft.com/office/drawing/2014/main" id="{5695FD6F-DB06-1D73-80AA-16B56A144610}"/>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37" name="Freeform 36">
              <a:extLst>
                <a:ext uri="{FF2B5EF4-FFF2-40B4-BE49-F238E27FC236}">
                  <a16:creationId xmlns:a16="http://schemas.microsoft.com/office/drawing/2014/main" id="{88161821-8143-A215-8373-0673EC331F5D}"/>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38" name="TextBox 37">
              <a:extLst>
                <a:ext uri="{FF2B5EF4-FFF2-40B4-BE49-F238E27FC236}">
                  <a16:creationId xmlns:a16="http://schemas.microsoft.com/office/drawing/2014/main" id="{3DAD1C4E-8A37-3950-A4E1-42085D60D4D0}"/>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6</a:t>
              </a:r>
            </a:p>
          </p:txBody>
        </p:sp>
      </p:grpSp>
      <p:sp>
        <p:nvSpPr>
          <p:cNvPr id="4" name="Rectangle 3">
            <a:extLst>
              <a:ext uri="{FF2B5EF4-FFF2-40B4-BE49-F238E27FC236}">
                <a16:creationId xmlns:a16="http://schemas.microsoft.com/office/drawing/2014/main" id="{533F2B48-ECF0-8382-FDCF-E0AFCC41F005}"/>
              </a:ext>
            </a:extLst>
          </p:cNvPr>
          <p:cNvSpPr/>
          <p:nvPr/>
        </p:nvSpPr>
        <p:spPr>
          <a:xfrm>
            <a:off x="601247" y="229408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5" name="Text Placeholder 3">
            <a:extLst>
              <a:ext uri="{FF2B5EF4-FFF2-40B4-BE49-F238E27FC236}">
                <a16:creationId xmlns:a16="http://schemas.microsoft.com/office/drawing/2014/main" id="{9806714C-BB73-839A-8799-FEE1F2E796E5}"/>
              </a:ext>
            </a:extLst>
          </p:cNvPr>
          <p:cNvSpPr>
            <a:spLocks noGrp="1"/>
          </p:cNvSpPr>
          <p:nvPr>
            <p:ph type="body" sz="quarter" idx="18"/>
          </p:nvPr>
        </p:nvSpPr>
        <p:spPr>
          <a:xfrm>
            <a:off x="465575" y="2555869"/>
            <a:ext cx="3156125" cy="3867704"/>
          </a:xfrm>
        </p:spPr>
        <p:txBody>
          <a:bodyPr>
            <a:normAutofit/>
          </a:bodyPr>
          <a:lstStyle/>
          <a:p>
            <a:pPr marL="14288" indent="0" algn="l" rtl="0">
              <a:lnSpc>
                <a:spcPts val="2280"/>
              </a:lnSpc>
              <a:spcBef>
                <a:spcPts val="0"/>
              </a:spcBef>
              <a:buClr>
                <a:srgbClr val="F16924"/>
              </a:buClr>
            </a:pPr>
            <a:r>
              <a:rPr lang="en-US" sz="2200" dirty="0">
                <a:solidFill>
                  <a:schemeClr val="bg1"/>
                </a:solidFill>
              </a:rPr>
              <a:t>Esta no es una transición fácil. Los que están a cargo serán probados en áreas donde no han desarrollado completamente sus músculos de liderazgo, y la curva de aprendizaje será empinada.</a:t>
            </a:r>
          </a:p>
          <a:p>
            <a:pPr marL="14288" indent="0" algn="l" rtl="0">
              <a:lnSpc>
                <a:spcPts val="2280"/>
              </a:lnSpc>
              <a:spcBef>
                <a:spcPts val="0"/>
              </a:spcBef>
              <a:buClr>
                <a:srgbClr val="F16924"/>
              </a:buClr>
            </a:pPr>
            <a:endParaRPr lang="en-US" sz="2200" dirty="0">
              <a:solidFill>
                <a:schemeClr val="bg1"/>
              </a:solidFill>
            </a:endParaRPr>
          </a:p>
        </p:txBody>
      </p:sp>
      <p:grpSp>
        <p:nvGrpSpPr>
          <p:cNvPr id="7" name="Group 6">
            <a:extLst>
              <a:ext uri="{FF2B5EF4-FFF2-40B4-BE49-F238E27FC236}">
                <a16:creationId xmlns:a16="http://schemas.microsoft.com/office/drawing/2014/main" id="{336CFB3C-6FCD-A72D-D2FA-D60CEB116F51}"/>
              </a:ext>
            </a:extLst>
          </p:cNvPr>
          <p:cNvGrpSpPr/>
          <p:nvPr/>
        </p:nvGrpSpPr>
        <p:grpSpPr>
          <a:xfrm>
            <a:off x="4148703" y="1388996"/>
            <a:ext cx="701992" cy="701724"/>
            <a:chOff x="7037107" y="1407878"/>
            <a:chExt cx="701992" cy="701724"/>
          </a:xfrm>
        </p:grpSpPr>
        <p:sp>
          <p:nvSpPr>
            <p:cNvPr id="8" name="Freeform 7">
              <a:extLst>
                <a:ext uri="{FF2B5EF4-FFF2-40B4-BE49-F238E27FC236}">
                  <a16:creationId xmlns:a16="http://schemas.microsoft.com/office/drawing/2014/main" id="{9D6CA364-C202-3B5D-71B7-82EA6D0EBAF7}"/>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9" name="Freeform 8">
              <a:extLst>
                <a:ext uri="{FF2B5EF4-FFF2-40B4-BE49-F238E27FC236}">
                  <a16:creationId xmlns:a16="http://schemas.microsoft.com/office/drawing/2014/main" id="{17BCE015-9563-87C3-310C-536B83036B56}"/>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10" name="TextBox 9">
              <a:extLst>
                <a:ext uri="{FF2B5EF4-FFF2-40B4-BE49-F238E27FC236}">
                  <a16:creationId xmlns:a16="http://schemas.microsoft.com/office/drawing/2014/main" id="{11FEC399-84AF-2D0E-C744-01DF26121402}"/>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11" name="Group 10">
            <a:extLst>
              <a:ext uri="{FF2B5EF4-FFF2-40B4-BE49-F238E27FC236}">
                <a16:creationId xmlns:a16="http://schemas.microsoft.com/office/drawing/2014/main" id="{901FEC3A-5525-AA98-DA11-A49DDA45847B}"/>
              </a:ext>
            </a:extLst>
          </p:cNvPr>
          <p:cNvGrpSpPr/>
          <p:nvPr/>
        </p:nvGrpSpPr>
        <p:grpSpPr>
          <a:xfrm>
            <a:off x="4148703" y="5732046"/>
            <a:ext cx="701992" cy="701724"/>
            <a:chOff x="7037107" y="1407878"/>
            <a:chExt cx="701992" cy="701724"/>
          </a:xfrm>
        </p:grpSpPr>
        <p:sp>
          <p:nvSpPr>
            <p:cNvPr id="13" name="Freeform 12">
              <a:extLst>
                <a:ext uri="{FF2B5EF4-FFF2-40B4-BE49-F238E27FC236}">
                  <a16:creationId xmlns:a16="http://schemas.microsoft.com/office/drawing/2014/main" id="{C319BC52-E3E8-6D0B-978F-F893998D287B}"/>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14" name="Freeform 13">
              <a:extLst>
                <a:ext uri="{FF2B5EF4-FFF2-40B4-BE49-F238E27FC236}">
                  <a16:creationId xmlns:a16="http://schemas.microsoft.com/office/drawing/2014/main" id="{DF39A746-9B8D-568A-ACE2-0B2F285A58DF}"/>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15" name="TextBox 14">
              <a:extLst>
                <a:ext uri="{FF2B5EF4-FFF2-40B4-BE49-F238E27FC236}">
                  <a16:creationId xmlns:a16="http://schemas.microsoft.com/office/drawing/2014/main" id="{2AA29CAD-9128-C95A-D8C0-F1D1BFC97B0A}"/>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7</a:t>
              </a:r>
            </a:p>
          </p:txBody>
        </p:sp>
      </p:grpSp>
      <p:grpSp>
        <p:nvGrpSpPr>
          <p:cNvPr id="22" name="Group 21">
            <a:extLst>
              <a:ext uri="{FF2B5EF4-FFF2-40B4-BE49-F238E27FC236}">
                <a16:creationId xmlns:a16="http://schemas.microsoft.com/office/drawing/2014/main" id="{A8F65544-5A70-7570-2207-443B0D319CB7}"/>
              </a:ext>
            </a:extLst>
          </p:cNvPr>
          <p:cNvGrpSpPr/>
          <p:nvPr/>
        </p:nvGrpSpPr>
        <p:grpSpPr>
          <a:xfrm>
            <a:off x="4148703" y="3994826"/>
            <a:ext cx="701992" cy="701724"/>
            <a:chOff x="7037107" y="1407878"/>
            <a:chExt cx="701992" cy="701724"/>
          </a:xfrm>
        </p:grpSpPr>
        <p:sp>
          <p:nvSpPr>
            <p:cNvPr id="24" name="Freeform 23">
              <a:extLst>
                <a:ext uri="{FF2B5EF4-FFF2-40B4-BE49-F238E27FC236}">
                  <a16:creationId xmlns:a16="http://schemas.microsoft.com/office/drawing/2014/main" id="{75D74739-239B-145C-6F92-82F079650EE7}"/>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26" name="Freeform 25">
              <a:extLst>
                <a:ext uri="{FF2B5EF4-FFF2-40B4-BE49-F238E27FC236}">
                  <a16:creationId xmlns:a16="http://schemas.microsoft.com/office/drawing/2014/main" id="{30F953E1-BA57-4112-9398-8B8B2C11FAE6}"/>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29" name="TextBox 28">
              <a:extLst>
                <a:ext uri="{FF2B5EF4-FFF2-40B4-BE49-F238E27FC236}">
                  <a16:creationId xmlns:a16="http://schemas.microsoft.com/office/drawing/2014/main" id="{CF6788CF-8709-B043-55FA-4A7C25D43095}"/>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nvGrpSpPr>
          <p:cNvPr id="31" name="Group 30">
            <a:extLst>
              <a:ext uri="{FF2B5EF4-FFF2-40B4-BE49-F238E27FC236}">
                <a16:creationId xmlns:a16="http://schemas.microsoft.com/office/drawing/2014/main" id="{A6D2AD01-570E-BAF2-C842-7B9E00A33F6E}"/>
              </a:ext>
            </a:extLst>
          </p:cNvPr>
          <p:cNvGrpSpPr/>
          <p:nvPr/>
        </p:nvGrpSpPr>
        <p:grpSpPr>
          <a:xfrm>
            <a:off x="4148703" y="3126216"/>
            <a:ext cx="701992" cy="701724"/>
            <a:chOff x="7037107" y="1407878"/>
            <a:chExt cx="701992" cy="701724"/>
          </a:xfrm>
        </p:grpSpPr>
        <p:sp>
          <p:nvSpPr>
            <p:cNvPr id="34" name="Freeform 33">
              <a:extLst>
                <a:ext uri="{FF2B5EF4-FFF2-40B4-BE49-F238E27FC236}">
                  <a16:creationId xmlns:a16="http://schemas.microsoft.com/office/drawing/2014/main" id="{C2BDEE85-F86A-78E4-469A-E68409B42F02}"/>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35" name="Freeform 34">
              <a:extLst>
                <a:ext uri="{FF2B5EF4-FFF2-40B4-BE49-F238E27FC236}">
                  <a16:creationId xmlns:a16="http://schemas.microsoft.com/office/drawing/2014/main" id="{BA2E6110-A222-B942-1A9A-1EA1832443F3}"/>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39" name="TextBox 38">
              <a:extLst>
                <a:ext uri="{FF2B5EF4-FFF2-40B4-BE49-F238E27FC236}">
                  <a16:creationId xmlns:a16="http://schemas.microsoft.com/office/drawing/2014/main" id="{C1659BCB-9236-3EC5-A8D5-A1837E4BD286}"/>
                </a:ext>
              </a:extLst>
            </p:cNvPr>
            <p:cNvSpPr txBox="1"/>
            <p:nvPr/>
          </p:nvSpPr>
          <p:spPr>
            <a:xfrm>
              <a:off x="7123230" y="1483724"/>
              <a:ext cx="560940" cy="523220"/>
            </a:xfrm>
            <a:prstGeom prst="rect">
              <a:avLst/>
            </a:prstGeom>
            <a:noFill/>
          </p:spPr>
          <p:txBody>
            <a:bodyPr wrap="square" rtlCol="0">
              <a:spAutoFit/>
            </a:bodyPr>
            <a:lstStyle/>
            <a:p>
              <a:pPr algn="l" rtl="0"/>
              <a:r>
                <a:rPr lang="en-US" sz="2800" b="1" dirty="0">
                  <a:ln/>
                  <a:solidFill>
                    <a:srgbClr val="B41F7A"/>
                  </a:solidFill>
                  <a:latin typeface="Calibri" panose="020F0502020204030204" pitchFamily="34" charset="0"/>
                  <a:cs typeface="Calibri" panose="020F0502020204030204" pitchFamily="34" charset="0"/>
                  <a:sym typeface="Montserrat-ExtraBold"/>
                  <a:rtl val="0"/>
                </a:rPr>
                <a:t>04</a:t>
              </a:r>
              <a:endParaRPr lang="en-US" sz="2800" b="1" spc="0" baseline="0" dirty="0">
                <a:ln/>
                <a:solidFill>
                  <a:srgbClr val="B41F7A"/>
                </a:solidFill>
                <a:latin typeface="Calibri" panose="020F0502020204030204" pitchFamily="34" charset="0"/>
                <a:cs typeface="Calibri" panose="020F0502020204030204" pitchFamily="34" charset="0"/>
                <a:sym typeface="Montserrat-ExtraBold"/>
                <a:rtl val="0"/>
              </a:endParaRPr>
            </a:p>
          </p:txBody>
        </p:sp>
      </p:grpSp>
      <p:cxnSp>
        <p:nvCxnSpPr>
          <p:cNvPr id="41" name="Straight Connector 40">
            <a:extLst>
              <a:ext uri="{FF2B5EF4-FFF2-40B4-BE49-F238E27FC236}">
                <a16:creationId xmlns:a16="http://schemas.microsoft.com/office/drawing/2014/main" id="{180118F6-D00D-5317-8A39-E6A247FD61A1}"/>
              </a:ext>
            </a:extLst>
          </p:cNvPr>
          <p:cNvCxnSpPr>
            <a:cxnSpLocks/>
          </p:cNvCxnSpPr>
          <p:nvPr/>
        </p:nvCxnSpPr>
        <p:spPr>
          <a:xfrm>
            <a:off x="4577326" y="3061858"/>
            <a:ext cx="761467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3151E67-936F-B98E-E7C3-8735DB2C6ACA}"/>
              </a:ext>
            </a:extLst>
          </p:cNvPr>
          <p:cNvCxnSpPr>
            <a:cxnSpLocks/>
          </p:cNvCxnSpPr>
          <p:nvPr/>
        </p:nvCxnSpPr>
        <p:spPr>
          <a:xfrm>
            <a:off x="4577326" y="2207996"/>
            <a:ext cx="761467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01B51F7-7DD5-3C55-B7F1-03AB6C089E2B}"/>
              </a:ext>
            </a:extLst>
          </p:cNvPr>
          <p:cNvCxnSpPr>
            <a:cxnSpLocks/>
          </p:cNvCxnSpPr>
          <p:nvPr/>
        </p:nvCxnSpPr>
        <p:spPr>
          <a:xfrm>
            <a:off x="4598894" y="4799078"/>
            <a:ext cx="761467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CED64D7-ABCC-D661-1B31-3444CDA5FD0B}"/>
              </a:ext>
            </a:extLst>
          </p:cNvPr>
          <p:cNvCxnSpPr>
            <a:cxnSpLocks/>
          </p:cNvCxnSpPr>
          <p:nvPr/>
        </p:nvCxnSpPr>
        <p:spPr>
          <a:xfrm>
            <a:off x="4577326" y="5658306"/>
            <a:ext cx="761467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47069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4"/>
            <a:ext cx="5035028" cy="685329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ext Placeholder 1">
            <a:extLst>
              <a:ext uri="{FF2B5EF4-FFF2-40B4-BE49-F238E27FC236}">
                <a16:creationId xmlns:a16="http://schemas.microsoft.com/office/drawing/2014/main" id="{369FF674-8478-CA64-7E80-603F8A2D78A0}"/>
              </a:ext>
            </a:extLst>
          </p:cNvPr>
          <p:cNvSpPr>
            <a:spLocks noGrp="1"/>
          </p:cNvSpPr>
          <p:nvPr>
            <p:ph type="body" sz="quarter" idx="16"/>
          </p:nvPr>
        </p:nvSpPr>
        <p:spPr>
          <a:xfrm>
            <a:off x="514069" y="453878"/>
            <a:ext cx="3288472" cy="1965103"/>
          </a:xfrm>
        </p:spPr>
        <p:txBody>
          <a:bodyPr>
            <a:normAutofit/>
          </a:bodyPr>
          <a:lstStyle/>
          <a:p>
            <a:pPr algn="l" rtl="0"/>
            <a:r>
              <a:rPr lang="en-GB" dirty="0">
                <a:solidFill>
                  <a:schemeClr val="bg1"/>
                </a:solidFill>
              </a:rPr>
              <a:t>Liderazgo vs Gestión</a:t>
            </a:r>
          </a:p>
        </p:txBody>
      </p:sp>
      <p:sp>
        <p:nvSpPr>
          <p:cNvPr id="3" name="Text Placeholder 2">
            <a:extLst>
              <a:ext uri="{FF2B5EF4-FFF2-40B4-BE49-F238E27FC236}">
                <a16:creationId xmlns:a16="http://schemas.microsoft.com/office/drawing/2014/main" id="{E0A0BA27-80CD-5C1F-73E7-C0BC0CF0B40F}"/>
              </a:ext>
            </a:extLst>
          </p:cNvPr>
          <p:cNvSpPr>
            <a:spLocks noGrp="1"/>
          </p:cNvSpPr>
          <p:nvPr>
            <p:ph type="body" sz="quarter" idx="18"/>
          </p:nvPr>
        </p:nvSpPr>
        <p:spPr>
          <a:xfrm>
            <a:off x="514069" y="2293871"/>
            <a:ext cx="3684497" cy="4370330"/>
          </a:xfrm>
        </p:spPr>
        <p:txBody>
          <a:bodyPr>
            <a:normAutofit/>
          </a:bodyPr>
          <a:lstStyle/>
          <a:p>
            <a:pPr marL="12700" indent="-12700" algn="l" rtl="0">
              <a:lnSpc>
                <a:spcPts val="2280"/>
              </a:lnSpc>
              <a:spcBef>
                <a:spcPts val="0"/>
              </a:spcBef>
            </a:pPr>
            <a:r>
              <a:rPr lang="en-US" sz="2200" b="1" dirty="0">
                <a:solidFill>
                  <a:schemeClr val="bg1"/>
                </a:solidFill>
              </a:rPr>
              <a:t>Se hacen algunas preguntas.</a:t>
            </a:r>
          </a:p>
          <a:p>
            <a:pPr marL="342900" indent="-342900" algn="l" rtl="0">
              <a:lnSpc>
                <a:spcPts val="2280"/>
              </a:lnSpc>
              <a:spcBef>
                <a:spcPts val="0"/>
              </a:spcBef>
              <a:buClr>
                <a:srgbClr val="EDA13E"/>
              </a:buClr>
              <a:buFont typeface="Arial" panose="020B0604020202020204" pitchFamily="34" charset="0"/>
              <a:buChar char="•"/>
            </a:pPr>
            <a:r>
              <a:rPr lang="en-US" sz="2200" dirty="0">
                <a:solidFill>
                  <a:schemeClr val="bg1"/>
                </a:solidFill>
              </a:rPr>
              <a:t>¿Un gerente también tiene que ser un líder?</a:t>
            </a:r>
          </a:p>
          <a:p>
            <a:pPr marL="342900" indent="-342900" algn="l" rtl="0">
              <a:lnSpc>
                <a:spcPts val="2280"/>
              </a:lnSpc>
              <a:spcBef>
                <a:spcPts val="0"/>
              </a:spcBef>
              <a:buClr>
                <a:srgbClr val="EDA13E"/>
              </a:buClr>
              <a:buFont typeface="Arial" panose="020B0604020202020204" pitchFamily="34" charset="0"/>
              <a:buChar char="•"/>
            </a:pPr>
            <a:r>
              <a:rPr lang="en-US" sz="2200" dirty="0">
                <a:solidFill>
                  <a:schemeClr val="bg1"/>
                </a:solidFill>
              </a:rPr>
              <a:t>¿Un líder tiene que ser un gerente también?</a:t>
            </a:r>
          </a:p>
          <a:p>
            <a:pPr marL="12700" indent="-12700" algn="l" rtl="0">
              <a:lnSpc>
                <a:spcPts val="2280"/>
              </a:lnSpc>
              <a:spcBef>
                <a:spcPts val="0"/>
              </a:spcBef>
            </a:pPr>
            <a:endParaRPr lang="en-US" sz="2200" dirty="0">
              <a:solidFill>
                <a:schemeClr val="bg1"/>
              </a:solidFill>
            </a:endParaRPr>
          </a:p>
          <a:p>
            <a:pPr marL="12700" indent="-12700" algn="l" rtl="0">
              <a:lnSpc>
                <a:spcPts val="2280"/>
              </a:lnSpc>
              <a:spcBef>
                <a:spcPts val="0"/>
              </a:spcBef>
            </a:pPr>
            <a:r>
              <a:rPr lang="en-US" sz="2200" dirty="0">
                <a:solidFill>
                  <a:schemeClr val="bg1"/>
                </a:solidFill>
              </a:rPr>
              <a:t>Es posible ser jefe en una empresa sin ser líder. Los gerentes son designados pero los líderes pueden ser designados o emerger.</a:t>
            </a:r>
          </a:p>
        </p:txBody>
      </p:sp>
      <p:sp>
        <p:nvSpPr>
          <p:cNvPr id="4" name="Rectangle 3">
            <a:extLst>
              <a:ext uri="{FF2B5EF4-FFF2-40B4-BE49-F238E27FC236}">
                <a16:creationId xmlns:a16="http://schemas.microsoft.com/office/drawing/2014/main" id="{D471AC1A-B17C-908B-5B71-30E440AD085B}"/>
              </a:ext>
            </a:extLst>
          </p:cNvPr>
          <p:cNvSpPr/>
          <p:nvPr/>
        </p:nvSpPr>
        <p:spPr>
          <a:xfrm>
            <a:off x="514069" y="185163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29" name="Hexagon 1">
            <a:extLst>
              <a:ext uri="{FF2B5EF4-FFF2-40B4-BE49-F238E27FC236}">
                <a16:creationId xmlns:a16="http://schemas.microsoft.com/office/drawing/2014/main" id="{4EE3691B-00E7-F7DA-5EE1-B613982CB47F}"/>
              </a:ext>
            </a:extLst>
          </p:cNvPr>
          <p:cNvSpPr/>
          <p:nvPr/>
        </p:nvSpPr>
        <p:spPr>
          <a:xfrm>
            <a:off x="4291063" y="453878"/>
            <a:ext cx="1448335" cy="1248564"/>
          </a:xfrm>
          <a:prstGeom prst="hexagon">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700" dirty="0">
              <a:solidFill>
                <a:srgbClr val="595959"/>
              </a:solidFill>
              <a:latin typeface="Roboto Light" panose="02000000000000000000" pitchFamily="2" charset="0"/>
            </a:endParaRPr>
          </a:p>
        </p:txBody>
      </p:sp>
      <p:cxnSp>
        <p:nvCxnSpPr>
          <p:cNvPr id="6" name="Straight Connector 11">
            <a:extLst>
              <a:ext uri="{FF2B5EF4-FFF2-40B4-BE49-F238E27FC236}">
                <a16:creationId xmlns:a16="http://schemas.microsoft.com/office/drawing/2014/main" id="{673F6553-F6E0-D799-5C42-5714A824DAF6}"/>
              </a:ext>
            </a:extLst>
          </p:cNvPr>
          <p:cNvCxnSpPr>
            <a:cxnSpLocks/>
          </p:cNvCxnSpPr>
          <p:nvPr/>
        </p:nvCxnSpPr>
        <p:spPr>
          <a:xfrm flipH="1">
            <a:off x="5387510" y="850275"/>
            <a:ext cx="591631" cy="0"/>
          </a:xfrm>
          <a:prstGeom prst="line">
            <a:avLst/>
          </a:prstGeom>
          <a:ln w="38100">
            <a:solidFill>
              <a:srgbClr val="F16924"/>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1" name="Hexagon 2">
            <a:extLst>
              <a:ext uri="{FF2B5EF4-FFF2-40B4-BE49-F238E27FC236}">
                <a16:creationId xmlns:a16="http://schemas.microsoft.com/office/drawing/2014/main" id="{9F49E895-6B88-4B58-C880-33AC09C55E05}"/>
              </a:ext>
            </a:extLst>
          </p:cNvPr>
          <p:cNvSpPr/>
          <p:nvPr/>
        </p:nvSpPr>
        <p:spPr>
          <a:xfrm>
            <a:off x="4335887" y="3447222"/>
            <a:ext cx="1448335" cy="1248564"/>
          </a:xfrm>
          <a:prstGeom prst="hexagon">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700" dirty="0">
              <a:solidFill>
                <a:srgbClr val="595959"/>
              </a:solidFill>
              <a:latin typeface="Roboto Light" panose="02000000000000000000" pitchFamily="2" charset="0"/>
            </a:endParaRPr>
          </a:p>
        </p:txBody>
      </p:sp>
      <p:cxnSp>
        <p:nvCxnSpPr>
          <p:cNvPr id="8" name="Straight Connector 11">
            <a:extLst>
              <a:ext uri="{FF2B5EF4-FFF2-40B4-BE49-F238E27FC236}">
                <a16:creationId xmlns:a16="http://schemas.microsoft.com/office/drawing/2014/main" id="{11F8C896-7684-B9A9-B8FA-4B89620D292D}"/>
              </a:ext>
            </a:extLst>
          </p:cNvPr>
          <p:cNvCxnSpPr>
            <a:cxnSpLocks/>
          </p:cNvCxnSpPr>
          <p:nvPr/>
        </p:nvCxnSpPr>
        <p:spPr>
          <a:xfrm flipH="1">
            <a:off x="5443584" y="3766704"/>
            <a:ext cx="591631" cy="0"/>
          </a:xfrm>
          <a:prstGeom prst="line">
            <a:avLst/>
          </a:prstGeom>
          <a:ln w="38100">
            <a:solidFill>
              <a:srgbClr val="F16924"/>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0FD12F78-6B45-1196-CDCF-232E2EC11FA5}"/>
              </a:ext>
            </a:extLst>
          </p:cNvPr>
          <p:cNvSpPr txBox="1">
            <a:spLocks/>
          </p:cNvSpPr>
          <p:nvPr/>
        </p:nvSpPr>
        <p:spPr>
          <a:xfrm>
            <a:off x="6217518" y="689242"/>
            <a:ext cx="5460413" cy="572565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ct val="100000"/>
              </a:lnSpc>
              <a:spcBef>
                <a:spcPts val="0"/>
              </a:spcBef>
              <a:buClr>
                <a:srgbClr val="F16924"/>
              </a:buClr>
            </a:pPr>
            <a:r>
              <a:rPr lang="en-GB" sz="2200" b="1" dirty="0">
                <a:solidFill>
                  <a:srgbClr val="F16924"/>
                </a:solidFill>
                <a:latin typeface="+mn-lt"/>
                <a:ea typeface="Open Sans Light" panose="020B0306030504020204" pitchFamily="34" charset="0"/>
                <a:cs typeface="Open Sans Light" panose="020B0306030504020204" pitchFamily="34" charset="0"/>
              </a:rPr>
              <a:t>Administración -</a:t>
            </a:r>
            <a:r>
              <a:rPr lang="en-GB" sz="2200" dirty="0">
                <a:solidFill>
                  <a:srgbClr val="F16924"/>
                </a:solidFill>
                <a:latin typeface="+mn-lt"/>
                <a:ea typeface="Open Sans Light" panose="020B0306030504020204" pitchFamily="34" charset="0"/>
                <a:cs typeface="Open Sans Light" panose="020B0306030504020204" pitchFamily="34" charset="0"/>
              </a:rPr>
              <a:t>La gestión se trata de hacer frente a la complejidad</a:t>
            </a:r>
            <a:br>
              <a:rPr lang="en-GB" sz="2200" dirty="0">
                <a:solidFill>
                  <a:srgbClr val="F16924"/>
                </a:solidFill>
                <a:latin typeface="+mn-lt"/>
                <a:ea typeface="Open Sans Light" panose="020B0306030504020204" pitchFamily="34" charset="0"/>
                <a:cs typeface="Open Sans Light" panose="020B0306030504020204" pitchFamily="34" charset="0"/>
              </a:rPr>
            </a:br>
            <a:endParaRPr lang="en-GB" sz="800" dirty="0">
              <a:solidFill>
                <a:srgbClr val="F16924"/>
              </a:solidFill>
              <a:latin typeface="+mn-lt"/>
              <a:ea typeface="Open Sans Light" panose="020B0306030504020204" pitchFamily="34" charset="0"/>
              <a:cs typeface="Open Sans Light" panose="020B0306030504020204" pitchFamily="34" charset="0"/>
            </a:endParaRPr>
          </a:p>
          <a:p>
            <a:pPr algn="l" rtl="0">
              <a:lnSpc>
                <a:spcPts val="228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Los gerentes dependen de su autoridad posicional para dirigir a los subordinados. Los líderes pueden influir en los seguidores más allá de su autoridad formal. Los gerentes son personas que hacen las cosas bien y los líderes son personas que hacen lo correcto.</a:t>
            </a:r>
          </a:p>
          <a:p>
            <a:pPr algn="l" rtl="0">
              <a:lnSpc>
                <a:spcPct val="100000"/>
              </a:lnSpc>
              <a:spcBef>
                <a:spcPts val="0"/>
              </a:spcBef>
              <a:buClr>
                <a:srgbClr val="F16924"/>
              </a:buClr>
            </a:pPr>
            <a:endParaRPr lang="en-GB" sz="1800" dirty="0">
              <a:solidFill>
                <a:srgbClr val="595959"/>
              </a:solidFill>
              <a:latin typeface="+mn-lt"/>
              <a:ea typeface="Open Sans Light" panose="020B0306030504020204" pitchFamily="34" charset="0"/>
              <a:cs typeface="Open Sans Light" panose="020B0306030504020204" pitchFamily="34" charset="0"/>
            </a:endParaRPr>
          </a:p>
          <a:p>
            <a:pPr algn="l" rtl="0">
              <a:lnSpc>
                <a:spcPts val="228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rtl="0">
              <a:lnSpc>
                <a:spcPts val="2280"/>
              </a:lnSpc>
              <a:spcBef>
                <a:spcPts val="0"/>
              </a:spcBef>
              <a:buClr>
                <a:srgbClr val="F16924"/>
              </a:buClr>
            </a:pPr>
            <a:r>
              <a:rPr lang="en-GB" sz="2200" b="1" dirty="0">
                <a:solidFill>
                  <a:srgbClr val="F16924"/>
                </a:solidFill>
                <a:latin typeface="+mn-lt"/>
                <a:ea typeface="Open Sans Light" panose="020B0306030504020204" pitchFamily="34" charset="0"/>
                <a:cs typeface="Open Sans Light" panose="020B0306030504020204" pitchFamily="34" charset="0"/>
              </a:rPr>
              <a:t>Liderazgo -</a:t>
            </a:r>
            <a:r>
              <a:rPr lang="en-GB" sz="2200" dirty="0">
                <a:solidFill>
                  <a:srgbClr val="F16924"/>
                </a:solidFill>
                <a:latin typeface="+mn-lt"/>
                <a:ea typeface="Open Sans Light" panose="020B0306030504020204" pitchFamily="34" charset="0"/>
                <a:cs typeface="Open Sans Light" panose="020B0306030504020204" pitchFamily="34" charset="0"/>
              </a:rPr>
              <a:t>El liderazgo consiste en hacer frente al cambio</a:t>
            </a:r>
          </a:p>
          <a:p>
            <a:pPr algn="l" rtl="0">
              <a:lnSpc>
                <a:spcPct val="100000"/>
              </a:lnSpc>
              <a:spcBef>
                <a:spcPts val="0"/>
              </a:spcBef>
              <a:buClr>
                <a:srgbClr val="F16924"/>
              </a:buClr>
            </a:pPr>
            <a:endParaRPr lang="en-GB" sz="800" dirty="0">
              <a:solidFill>
                <a:srgbClr val="F16924"/>
              </a:solidFill>
              <a:latin typeface="+mn-lt"/>
              <a:ea typeface="Open Sans Light" panose="020B0306030504020204" pitchFamily="34" charset="0"/>
              <a:cs typeface="Open Sans Light" panose="020B0306030504020204" pitchFamily="34" charset="0"/>
            </a:endParaRPr>
          </a:p>
          <a:p>
            <a:pPr algn="l" rtl="0">
              <a:lnSpc>
                <a:spcPts val="228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Liderazgo y gestión deben ir de la mano. No són la misma cosa. Pero están necesariamente vinculados y son complementarios. Es probable que cualquier esfuerzo por separar los dos cause más problemas de los que resuelve. Un buen gerente debe poseer cualidades de liderazgo.</a:t>
            </a:r>
          </a:p>
        </p:txBody>
      </p:sp>
      <p:grpSp>
        <p:nvGrpSpPr>
          <p:cNvPr id="13" name="Graphic 2">
            <a:extLst>
              <a:ext uri="{FF2B5EF4-FFF2-40B4-BE49-F238E27FC236}">
                <a16:creationId xmlns:a16="http://schemas.microsoft.com/office/drawing/2014/main" id="{E961CD0D-4EEE-ABF1-EEAA-DA7EECA3E785}"/>
              </a:ext>
            </a:extLst>
          </p:cNvPr>
          <p:cNvGrpSpPr/>
          <p:nvPr/>
        </p:nvGrpSpPr>
        <p:grpSpPr>
          <a:xfrm>
            <a:off x="4592261" y="618690"/>
            <a:ext cx="885534" cy="895928"/>
            <a:chOff x="7190753" y="5365577"/>
            <a:chExt cx="745522" cy="754273"/>
          </a:xfrm>
          <a:solidFill>
            <a:schemeClr val="bg1"/>
          </a:solidFill>
        </p:grpSpPr>
        <p:sp>
          <p:nvSpPr>
            <p:cNvPr id="14" name="Freeform 13">
              <a:extLst>
                <a:ext uri="{FF2B5EF4-FFF2-40B4-BE49-F238E27FC236}">
                  <a16:creationId xmlns:a16="http://schemas.microsoft.com/office/drawing/2014/main" id="{E590E24C-0692-0C7D-FF46-ED01E8F0385F}"/>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8">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15" name="Freeform 14">
              <a:extLst>
                <a:ext uri="{FF2B5EF4-FFF2-40B4-BE49-F238E27FC236}">
                  <a16:creationId xmlns:a16="http://schemas.microsoft.com/office/drawing/2014/main" id="{F89F2A34-23D6-D026-307C-516AF0018D69}"/>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16" name="Freeform 15">
              <a:extLst>
                <a:ext uri="{FF2B5EF4-FFF2-40B4-BE49-F238E27FC236}">
                  <a16:creationId xmlns:a16="http://schemas.microsoft.com/office/drawing/2014/main" id="{033F752E-18EF-47F2-2856-12E45E8F2E03}"/>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2">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17" name="Freeform 16">
              <a:extLst>
                <a:ext uri="{FF2B5EF4-FFF2-40B4-BE49-F238E27FC236}">
                  <a16:creationId xmlns:a16="http://schemas.microsoft.com/office/drawing/2014/main" id="{D8607BB9-18C3-53B6-36F3-DD2D9E24FFC1}"/>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18" name="Freeform 17">
              <a:extLst>
                <a:ext uri="{FF2B5EF4-FFF2-40B4-BE49-F238E27FC236}">
                  <a16:creationId xmlns:a16="http://schemas.microsoft.com/office/drawing/2014/main" id="{05E4673A-5E6C-0982-DE18-6B8E69031577}"/>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6FA69C75-1577-5BD5-67CC-05D2E6F41F2D}"/>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20" name="Freeform 19">
              <a:extLst>
                <a:ext uri="{FF2B5EF4-FFF2-40B4-BE49-F238E27FC236}">
                  <a16:creationId xmlns:a16="http://schemas.microsoft.com/office/drawing/2014/main" id="{6390DBBD-6B6A-C144-A894-0C9D0B16E040}"/>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21" name="Freeform 20">
              <a:extLst>
                <a:ext uri="{FF2B5EF4-FFF2-40B4-BE49-F238E27FC236}">
                  <a16:creationId xmlns:a16="http://schemas.microsoft.com/office/drawing/2014/main" id="{761B9871-8962-3A41-BDBE-B3CC5AE36BC3}"/>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22" name="Freeform 21">
              <a:extLst>
                <a:ext uri="{FF2B5EF4-FFF2-40B4-BE49-F238E27FC236}">
                  <a16:creationId xmlns:a16="http://schemas.microsoft.com/office/drawing/2014/main" id="{9F6A28D0-8920-1947-063C-85926D44B14E}"/>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grpSp>
      <p:grpSp>
        <p:nvGrpSpPr>
          <p:cNvPr id="28" name="Graphic 3">
            <a:extLst>
              <a:ext uri="{FF2B5EF4-FFF2-40B4-BE49-F238E27FC236}">
                <a16:creationId xmlns:a16="http://schemas.microsoft.com/office/drawing/2014/main" id="{1CC53FC6-C9B0-2E7B-0BAF-115C689F1758}"/>
              </a:ext>
            </a:extLst>
          </p:cNvPr>
          <p:cNvGrpSpPr/>
          <p:nvPr/>
        </p:nvGrpSpPr>
        <p:grpSpPr>
          <a:xfrm>
            <a:off x="4643414" y="3587765"/>
            <a:ext cx="856994" cy="865193"/>
            <a:chOff x="6582714" y="331356"/>
            <a:chExt cx="1146476" cy="1157445"/>
          </a:xfrm>
          <a:solidFill>
            <a:schemeClr val="bg1"/>
          </a:solidFill>
        </p:grpSpPr>
        <p:sp>
          <p:nvSpPr>
            <p:cNvPr id="30" name="Freeform 29">
              <a:extLst>
                <a:ext uri="{FF2B5EF4-FFF2-40B4-BE49-F238E27FC236}">
                  <a16:creationId xmlns:a16="http://schemas.microsoft.com/office/drawing/2014/main" id="{8D40CBDB-4769-85F4-4E69-C030F5432799}"/>
                </a:ext>
              </a:extLst>
            </p:cNvPr>
            <p:cNvSpPr/>
            <p:nvPr/>
          </p:nvSpPr>
          <p:spPr>
            <a:xfrm>
              <a:off x="6582714" y="424610"/>
              <a:ext cx="1146476" cy="1064191"/>
            </a:xfrm>
            <a:custGeom>
              <a:avLst/>
              <a:gdLst>
                <a:gd name="connsiteX0" fmla="*/ 1023052 w 1146476"/>
                <a:gd name="connsiteY0" fmla="*/ 811858 h 1064191"/>
                <a:gd name="connsiteX1" fmla="*/ 1061451 w 1146476"/>
                <a:gd name="connsiteY1" fmla="*/ 724089 h 1064191"/>
                <a:gd name="connsiteX2" fmla="*/ 959969 w 1146476"/>
                <a:gd name="connsiteY2" fmla="*/ 606150 h 1064191"/>
                <a:gd name="connsiteX3" fmla="*/ 959969 w 1146476"/>
                <a:gd name="connsiteY3" fmla="*/ 556781 h 1064191"/>
                <a:gd name="connsiteX4" fmla="*/ 910599 w 1146476"/>
                <a:gd name="connsiteY4" fmla="*/ 507411 h 1064191"/>
                <a:gd name="connsiteX5" fmla="*/ 584209 w 1146476"/>
                <a:gd name="connsiteY5" fmla="*/ 507411 h 1064191"/>
                <a:gd name="connsiteX6" fmla="*/ 584209 w 1146476"/>
                <a:gd name="connsiteY6" fmla="*/ 433356 h 1064191"/>
                <a:gd name="connsiteX7" fmla="*/ 619865 w 1146476"/>
                <a:gd name="connsiteY7" fmla="*/ 433356 h 1064191"/>
                <a:gd name="connsiteX8" fmla="*/ 663750 w 1146476"/>
                <a:gd name="connsiteY8" fmla="*/ 389472 h 1064191"/>
                <a:gd name="connsiteX9" fmla="*/ 663750 w 1146476"/>
                <a:gd name="connsiteY9" fmla="*/ 356559 h 1064191"/>
                <a:gd name="connsiteX10" fmla="*/ 652778 w 1146476"/>
                <a:gd name="connsiteY10" fmla="*/ 326389 h 1064191"/>
                <a:gd name="connsiteX11" fmla="*/ 685692 w 1146476"/>
                <a:gd name="connsiteY11" fmla="*/ 274276 h 1064191"/>
                <a:gd name="connsiteX12" fmla="*/ 729575 w 1146476"/>
                <a:gd name="connsiteY12" fmla="*/ 164566 h 1064191"/>
                <a:gd name="connsiteX13" fmla="*/ 729575 w 1146476"/>
                <a:gd name="connsiteY13" fmla="*/ 150852 h 1064191"/>
                <a:gd name="connsiteX14" fmla="*/ 710377 w 1146476"/>
                <a:gd name="connsiteY14" fmla="*/ 134395 h 1064191"/>
                <a:gd name="connsiteX15" fmla="*/ 693920 w 1146476"/>
                <a:gd name="connsiteY15" fmla="*/ 153595 h 1064191"/>
                <a:gd name="connsiteX16" fmla="*/ 693920 w 1146476"/>
                <a:gd name="connsiteY16" fmla="*/ 164566 h 1064191"/>
                <a:gd name="connsiteX17" fmla="*/ 661006 w 1146476"/>
                <a:gd name="connsiteY17" fmla="*/ 249591 h 1064191"/>
                <a:gd name="connsiteX18" fmla="*/ 622609 w 1146476"/>
                <a:gd name="connsiteY18" fmla="*/ 309932 h 1064191"/>
                <a:gd name="connsiteX19" fmla="*/ 518384 w 1146476"/>
                <a:gd name="connsiteY19" fmla="*/ 309932 h 1064191"/>
                <a:gd name="connsiteX20" fmla="*/ 479984 w 1146476"/>
                <a:gd name="connsiteY20" fmla="*/ 249591 h 1064191"/>
                <a:gd name="connsiteX21" fmla="*/ 444329 w 1146476"/>
                <a:gd name="connsiteY21" fmla="*/ 161823 h 1064191"/>
                <a:gd name="connsiteX22" fmla="*/ 570495 w 1146476"/>
                <a:gd name="connsiteY22" fmla="*/ 35656 h 1064191"/>
                <a:gd name="connsiteX23" fmla="*/ 570495 w 1146476"/>
                <a:gd name="connsiteY23" fmla="*/ 35656 h 1064191"/>
                <a:gd name="connsiteX24" fmla="*/ 669236 w 1146476"/>
                <a:gd name="connsiteY24" fmla="*/ 82283 h 1064191"/>
                <a:gd name="connsiteX25" fmla="*/ 693920 w 1146476"/>
                <a:gd name="connsiteY25" fmla="*/ 85026 h 1064191"/>
                <a:gd name="connsiteX26" fmla="*/ 696664 w 1146476"/>
                <a:gd name="connsiteY26" fmla="*/ 60341 h 1064191"/>
                <a:gd name="connsiteX27" fmla="*/ 570495 w 1146476"/>
                <a:gd name="connsiteY27" fmla="*/ 0 h 1064191"/>
                <a:gd name="connsiteX28" fmla="*/ 570495 w 1146476"/>
                <a:gd name="connsiteY28" fmla="*/ 0 h 1064191"/>
                <a:gd name="connsiteX29" fmla="*/ 411415 w 1146476"/>
                <a:gd name="connsiteY29" fmla="*/ 159080 h 1064191"/>
                <a:gd name="connsiteX30" fmla="*/ 455299 w 1146476"/>
                <a:gd name="connsiteY30" fmla="*/ 268791 h 1064191"/>
                <a:gd name="connsiteX31" fmla="*/ 488212 w 1146476"/>
                <a:gd name="connsiteY31" fmla="*/ 318160 h 1064191"/>
                <a:gd name="connsiteX32" fmla="*/ 477242 w 1146476"/>
                <a:gd name="connsiteY32" fmla="*/ 348331 h 1064191"/>
                <a:gd name="connsiteX33" fmla="*/ 477242 w 1146476"/>
                <a:gd name="connsiteY33" fmla="*/ 381244 h 1064191"/>
                <a:gd name="connsiteX34" fmla="*/ 521126 w 1146476"/>
                <a:gd name="connsiteY34" fmla="*/ 425128 h 1064191"/>
                <a:gd name="connsiteX35" fmla="*/ 556781 w 1146476"/>
                <a:gd name="connsiteY35" fmla="*/ 425128 h 1064191"/>
                <a:gd name="connsiteX36" fmla="*/ 556781 w 1146476"/>
                <a:gd name="connsiteY36" fmla="*/ 499183 h 1064191"/>
                <a:gd name="connsiteX37" fmla="*/ 230393 w 1146476"/>
                <a:gd name="connsiteY37" fmla="*/ 499183 h 1064191"/>
                <a:gd name="connsiteX38" fmla="*/ 181022 w 1146476"/>
                <a:gd name="connsiteY38" fmla="*/ 548552 h 1064191"/>
                <a:gd name="connsiteX39" fmla="*/ 181022 w 1146476"/>
                <a:gd name="connsiteY39" fmla="*/ 597922 h 1064191"/>
                <a:gd name="connsiteX40" fmla="*/ 79541 w 1146476"/>
                <a:gd name="connsiteY40" fmla="*/ 715861 h 1064191"/>
                <a:gd name="connsiteX41" fmla="*/ 117939 w 1146476"/>
                <a:gd name="connsiteY41" fmla="*/ 803629 h 1064191"/>
                <a:gd name="connsiteX42" fmla="*/ 68569 w 1146476"/>
                <a:gd name="connsiteY42" fmla="*/ 822829 h 1064191"/>
                <a:gd name="connsiteX43" fmla="*/ 63083 w 1146476"/>
                <a:gd name="connsiteY43" fmla="*/ 847513 h 1064191"/>
                <a:gd name="connsiteX44" fmla="*/ 87769 w 1146476"/>
                <a:gd name="connsiteY44" fmla="*/ 852999 h 1064191"/>
                <a:gd name="connsiteX45" fmla="*/ 153594 w 1146476"/>
                <a:gd name="connsiteY45" fmla="*/ 833800 h 1064191"/>
                <a:gd name="connsiteX46" fmla="*/ 249591 w 1146476"/>
                <a:gd name="connsiteY46" fmla="*/ 833800 h 1064191"/>
                <a:gd name="connsiteX47" fmla="*/ 373016 w 1146476"/>
                <a:gd name="connsiteY47" fmla="*/ 957224 h 1064191"/>
                <a:gd name="connsiteX48" fmla="*/ 373016 w 1146476"/>
                <a:gd name="connsiteY48" fmla="*/ 1012079 h 1064191"/>
                <a:gd name="connsiteX49" fmla="*/ 359302 w 1146476"/>
                <a:gd name="connsiteY49" fmla="*/ 1025793 h 1064191"/>
                <a:gd name="connsiteX50" fmla="*/ 323646 w 1146476"/>
                <a:gd name="connsiteY50" fmla="*/ 1025793 h 1064191"/>
                <a:gd name="connsiteX51" fmla="*/ 323646 w 1146476"/>
                <a:gd name="connsiteY51" fmla="*/ 973681 h 1064191"/>
                <a:gd name="connsiteX52" fmla="*/ 307190 w 1146476"/>
                <a:gd name="connsiteY52" fmla="*/ 957224 h 1064191"/>
                <a:gd name="connsiteX53" fmla="*/ 290733 w 1146476"/>
                <a:gd name="connsiteY53" fmla="*/ 973681 h 1064191"/>
                <a:gd name="connsiteX54" fmla="*/ 290733 w 1146476"/>
                <a:gd name="connsiteY54" fmla="*/ 1025793 h 1064191"/>
                <a:gd name="connsiteX55" fmla="*/ 117939 w 1146476"/>
                <a:gd name="connsiteY55" fmla="*/ 1025793 h 1064191"/>
                <a:gd name="connsiteX56" fmla="*/ 117939 w 1146476"/>
                <a:gd name="connsiteY56" fmla="*/ 973681 h 1064191"/>
                <a:gd name="connsiteX57" fmla="*/ 101483 w 1146476"/>
                <a:gd name="connsiteY57" fmla="*/ 957224 h 1064191"/>
                <a:gd name="connsiteX58" fmla="*/ 85025 w 1146476"/>
                <a:gd name="connsiteY58" fmla="*/ 973681 h 1064191"/>
                <a:gd name="connsiteX59" fmla="*/ 85025 w 1146476"/>
                <a:gd name="connsiteY59" fmla="*/ 1025793 h 1064191"/>
                <a:gd name="connsiteX60" fmla="*/ 49369 w 1146476"/>
                <a:gd name="connsiteY60" fmla="*/ 1025793 h 1064191"/>
                <a:gd name="connsiteX61" fmla="*/ 35656 w 1146476"/>
                <a:gd name="connsiteY61" fmla="*/ 1012079 h 1064191"/>
                <a:gd name="connsiteX62" fmla="*/ 35656 w 1146476"/>
                <a:gd name="connsiteY62" fmla="*/ 957224 h 1064191"/>
                <a:gd name="connsiteX63" fmla="*/ 46627 w 1146476"/>
                <a:gd name="connsiteY63" fmla="*/ 905112 h 1064191"/>
                <a:gd name="connsiteX64" fmla="*/ 38399 w 1146476"/>
                <a:gd name="connsiteY64" fmla="*/ 883169 h 1064191"/>
                <a:gd name="connsiteX65" fmla="*/ 16456 w 1146476"/>
                <a:gd name="connsiteY65" fmla="*/ 891398 h 1064191"/>
                <a:gd name="connsiteX66" fmla="*/ 0 w 1146476"/>
                <a:gd name="connsiteY66" fmla="*/ 959967 h 1064191"/>
                <a:gd name="connsiteX67" fmla="*/ 0 w 1146476"/>
                <a:gd name="connsiteY67" fmla="*/ 1014822 h 1064191"/>
                <a:gd name="connsiteX68" fmla="*/ 49369 w 1146476"/>
                <a:gd name="connsiteY68" fmla="*/ 1064192 h 1064191"/>
                <a:gd name="connsiteX69" fmla="*/ 362046 w 1146476"/>
                <a:gd name="connsiteY69" fmla="*/ 1064192 h 1064191"/>
                <a:gd name="connsiteX70" fmla="*/ 394959 w 1146476"/>
                <a:gd name="connsiteY70" fmla="*/ 1053221 h 1064191"/>
                <a:gd name="connsiteX71" fmla="*/ 427871 w 1146476"/>
                <a:gd name="connsiteY71" fmla="*/ 1064192 h 1064191"/>
                <a:gd name="connsiteX72" fmla="*/ 713120 w 1146476"/>
                <a:gd name="connsiteY72" fmla="*/ 1064192 h 1064191"/>
                <a:gd name="connsiteX73" fmla="*/ 751519 w 1146476"/>
                <a:gd name="connsiteY73" fmla="*/ 1050478 h 1064191"/>
                <a:gd name="connsiteX74" fmla="*/ 787175 w 1146476"/>
                <a:gd name="connsiteY74" fmla="*/ 1064192 h 1064191"/>
                <a:gd name="connsiteX75" fmla="*/ 1097107 w 1146476"/>
                <a:gd name="connsiteY75" fmla="*/ 1064192 h 1064191"/>
                <a:gd name="connsiteX76" fmla="*/ 1146476 w 1146476"/>
                <a:gd name="connsiteY76" fmla="*/ 1014822 h 1064191"/>
                <a:gd name="connsiteX77" fmla="*/ 1146476 w 1146476"/>
                <a:gd name="connsiteY77" fmla="*/ 959967 h 1064191"/>
                <a:gd name="connsiteX78" fmla="*/ 1023052 w 1146476"/>
                <a:gd name="connsiteY78" fmla="*/ 811858 h 1064191"/>
                <a:gd name="connsiteX79" fmla="*/ 1023052 w 1146476"/>
                <a:gd name="connsiteY79" fmla="*/ 811858 h 1064191"/>
                <a:gd name="connsiteX80" fmla="*/ 943513 w 1146476"/>
                <a:gd name="connsiteY80" fmla="*/ 641806 h 1064191"/>
                <a:gd name="connsiteX81" fmla="*/ 946255 w 1146476"/>
                <a:gd name="connsiteY81" fmla="*/ 641806 h 1064191"/>
                <a:gd name="connsiteX82" fmla="*/ 1028538 w 1146476"/>
                <a:gd name="connsiteY82" fmla="*/ 726832 h 1064191"/>
                <a:gd name="connsiteX83" fmla="*/ 959969 w 1146476"/>
                <a:gd name="connsiteY83" fmla="*/ 809115 h 1064191"/>
                <a:gd name="connsiteX84" fmla="*/ 927055 w 1146476"/>
                <a:gd name="connsiteY84" fmla="*/ 809115 h 1064191"/>
                <a:gd name="connsiteX85" fmla="*/ 858486 w 1146476"/>
                <a:gd name="connsiteY85" fmla="*/ 726832 h 1064191"/>
                <a:gd name="connsiteX86" fmla="*/ 940769 w 1146476"/>
                <a:gd name="connsiteY86" fmla="*/ 641806 h 1064191"/>
                <a:gd name="connsiteX87" fmla="*/ 943513 w 1146476"/>
                <a:gd name="connsiteY87" fmla="*/ 641806 h 1064191"/>
                <a:gd name="connsiteX88" fmla="*/ 943513 w 1146476"/>
                <a:gd name="connsiteY88" fmla="*/ 641806 h 1064191"/>
                <a:gd name="connsiteX89" fmla="*/ 512898 w 1146476"/>
                <a:gd name="connsiteY89" fmla="*/ 400443 h 1064191"/>
                <a:gd name="connsiteX90" fmla="*/ 504670 w 1146476"/>
                <a:gd name="connsiteY90" fmla="*/ 392215 h 1064191"/>
                <a:gd name="connsiteX91" fmla="*/ 504670 w 1146476"/>
                <a:gd name="connsiteY91" fmla="*/ 359302 h 1064191"/>
                <a:gd name="connsiteX92" fmla="*/ 512898 w 1146476"/>
                <a:gd name="connsiteY92" fmla="*/ 351073 h 1064191"/>
                <a:gd name="connsiteX93" fmla="*/ 617123 w 1146476"/>
                <a:gd name="connsiteY93" fmla="*/ 351073 h 1064191"/>
                <a:gd name="connsiteX94" fmla="*/ 625351 w 1146476"/>
                <a:gd name="connsiteY94" fmla="*/ 359302 h 1064191"/>
                <a:gd name="connsiteX95" fmla="*/ 625351 w 1146476"/>
                <a:gd name="connsiteY95" fmla="*/ 392215 h 1064191"/>
                <a:gd name="connsiteX96" fmla="*/ 617123 w 1146476"/>
                <a:gd name="connsiteY96" fmla="*/ 400443 h 1064191"/>
                <a:gd name="connsiteX97" fmla="*/ 512898 w 1146476"/>
                <a:gd name="connsiteY97" fmla="*/ 400443 h 1064191"/>
                <a:gd name="connsiteX98" fmla="*/ 512898 w 1146476"/>
                <a:gd name="connsiteY98" fmla="*/ 400443 h 1064191"/>
                <a:gd name="connsiteX99" fmla="*/ 565009 w 1146476"/>
                <a:gd name="connsiteY99" fmla="*/ 639063 h 1064191"/>
                <a:gd name="connsiteX100" fmla="*/ 650036 w 1146476"/>
                <a:gd name="connsiteY100" fmla="*/ 724089 h 1064191"/>
                <a:gd name="connsiteX101" fmla="*/ 581467 w 1146476"/>
                <a:gd name="connsiteY101" fmla="*/ 806372 h 1064191"/>
                <a:gd name="connsiteX102" fmla="*/ 548553 w 1146476"/>
                <a:gd name="connsiteY102" fmla="*/ 806372 h 1064191"/>
                <a:gd name="connsiteX103" fmla="*/ 479984 w 1146476"/>
                <a:gd name="connsiteY103" fmla="*/ 724089 h 1064191"/>
                <a:gd name="connsiteX104" fmla="*/ 565009 w 1146476"/>
                <a:gd name="connsiteY104" fmla="*/ 639063 h 1064191"/>
                <a:gd name="connsiteX105" fmla="*/ 565009 w 1146476"/>
                <a:gd name="connsiteY105" fmla="*/ 639063 h 1064191"/>
                <a:gd name="connsiteX106" fmla="*/ 205708 w 1146476"/>
                <a:gd name="connsiteY106" fmla="*/ 809115 h 1064191"/>
                <a:gd name="connsiteX107" fmla="*/ 172794 w 1146476"/>
                <a:gd name="connsiteY107" fmla="*/ 809115 h 1064191"/>
                <a:gd name="connsiteX108" fmla="*/ 104225 w 1146476"/>
                <a:gd name="connsiteY108" fmla="*/ 726832 h 1064191"/>
                <a:gd name="connsiteX109" fmla="*/ 189252 w 1146476"/>
                <a:gd name="connsiteY109" fmla="*/ 641806 h 1064191"/>
                <a:gd name="connsiteX110" fmla="*/ 274277 w 1146476"/>
                <a:gd name="connsiteY110" fmla="*/ 726832 h 1064191"/>
                <a:gd name="connsiteX111" fmla="*/ 205708 w 1146476"/>
                <a:gd name="connsiteY111" fmla="*/ 809115 h 1064191"/>
                <a:gd name="connsiteX112" fmla="*/ 205708 w 1146476"/>
                <a:gd name="connsiteY112" fmla="*/ 809115 h 1064191"/>
                <a:gd name="connsiteX113" fmla="*/ 271535 w 1146476"/>
                <a:gd name="connsiteY113" fmla="*/ 811858 h 1064191"/>
                <a:gd name="connsiteX114" fmla="*/ 309932 w 1146476"/>
                <a:gd name="connsiteY114" fmla="*/ 724089 h 1064191"/>
                <a:gd name="connsiteX115" fmla="*/ 208450 w 1146476"/>
                <a:gd name="connsiteY115" fmla="*/ 606150 h 1064191"/>
                <a:gd name="connsiteX116" fmla="*/ 208450 w 1146476"/>
                <a:gd name="connsiteY116" fmla="*/ 556781 h 1064191"/>
                <a:gd name="connsiteX117" fmla="*/ 224907 w 1146476"/>
                <a:gd name="connsiteY117" fmla="*/ 540324 h 1064191"/>
                <a:gd name="connsiteX118" fmla="*/ 548553 w 1146476"/>
                <a:gd name="connsiteY118" fmla="*/ 540324 h 1064191"/>
                <a:gd name="connsiteX119" fmla="*/ 548553 w 1146476"/>
                <a:gd name="connsiteY119" fmla="*/ 606150 h 1064191"/>
                <a:gd name="connsiteX120" fmla="*/ 447071 w 1146476"/>
                <a:gd name="connsiteY120" fmla="*/ 724089 h 1064191"/>
                <a:gd name="connsiteX121" fmla="*/ 485470 w 1146476"/>
                <a:gd name="connsiteY121" fmla="*/ 811858 h 1064191"/>
                <a:gd name="connsiteX122" fmla="*/ 378502 w 1146476"/>
                <a:gd name="connsiteY122" fmla="*/ 894140 h 1064191"/>
                <a:gd name="connsiteX123" fmla="*/ 271535 w 1146476"/>
                <a:gd name="connsiteY123" fmla="*/ 811858 h 1064191"/>
                <a:gd name="connsiteX124" fmla="*/ 271535 w 1146476"/>
                <a:gd name="connsiteY124" fmla="*/ 811858 h 1064191"/>
                <a:gd name="connsiteX125" fmla="*/ 737805 w 1146476"/>
                <a:gd name="connsiteY125" fmla="*/ 965452 h 1064191"/>
                <a:gd name="connsiteX126" fmla="*/ 737805 w 1146476"/>
                <a:gd name="connsiteY126" fmla="*/ 1012079 h 1064191"/>
                <a:gd name="connsiteX127" fmla="*/ 713120 w 1146476"/>
                <a:gd name="connsiteY127" fmla="*/ 1034021 h 1064191"/>
                <a:gd name="connsiteX128" fmla="*/ 685692 w 1146476"/>
                <a:gd name="connsiteY128" fmla="*/ 1034021 h 1064191"/>
                <a:gd name="connsiteX129" fmla="*/ 685692 w 1146476"/>
                <a:gd name="connsiteY129" fmla="*/ 981909 h 1064191"/>
                <a:gd name="connsiteX130" fmla="*/ 669236 w 1146476"/>
                <a:gd name="connsiteY130" fmla="*/ 965452 h 1064191"/>
                <a:gd name="connsiteX131" fmla="*/ 652778 w 1146476"/>
                <a:gd name="connsiteY131" fmla="*/ 981909 h 1064191"/>
                <a:gd name="connsiteX132" fmla="*/ 652778 w 1146476"/>
                <a:gd name="connsiteY132" fmla="*/ 1034021 h 1064191"/>
                <a:gd name="connsiteX133" fmla="*/ 479984 w 1146476"/>
                <a:gd name="connsiteY133" fmla="*/ 1034021 h 1064191"/>
                <a:gd name="connsiteX134" fmla="*/ 479984 w 1146476"/>
                <a:gd name="connsiteY134" fmla="*/ 981909 h 1064191"/>
                <a:gd name="connsiteX135" fmla="*/ 463528 w 1146476"/>
                <a:gd name="connsiteY135" fmla="*/ 965452 h 1064191"/>
                <a:gd name="connsiteX136" fmla="*/ 447071 w 1146476"/>
                <a:gd name="connsiteY136" fmla="*/ 981909 h 1064191"/>
                <a:gd name="connsiteX137" fmla="*/ 447071 w 1146476"/>
                <a:gd name="connsiteY137" fmla="*/ 1034021 h 1064191"/>
                <a:gd name="connsiteX138" fmla="*/ 411415 w 1146476"/>
                <a:gd name="connsiteY138" fmla="*/ 1034021 h 1064191"/>
                <a:gd name="connsiteX139" fmla="*/ 397701 w 1146476"/>
                <a:gd name="connsiteY139" fmla="*/ 1020307 h 1064191"/>
                <a:gd name="connsiteX140" fmla="*/ 397701 w 1146476"/>
                <a:gd name="connsiteY140" fmla="*/ 965452 h 1064191"/>
                <a:gd name="connsiteX141" fmla="*/ 521126 w 1146476"/>
                <a:gd name="connsiteY141" fmla="*/ 842028 h 1064191"/>
                <a:gd name="connsiteX142" fmla="*/ 617123 w 1146476"/>
                <a:gd name="connsiteY142" fmla="*/ 842028 h 1064191"/>
                <a:gd name="connsiteX143" fmla="*/ 737805 w 1146476"/>
                <a:gd name="connsiteY143" fmla="*/ 965452 h 1064191"/>
                <a:gd name="connsiteX144" fmla="*/ 737805 w 1146476"/>
                <a:gd name="connsiteY144" fmla="*/ 965452 h 1064191"/>
                <a:gd name="connsiteX145" fmla="*/ 737805 w 1146476"/>
                <a:gd name="connsiteY145" fmla="*/ 965452 h 1064191"/>
                <a:gd name="connsiteX146" fmla="*/ 647292 w 1146476"/>
                <a:gd name="connsiteY146" fmla="*/ 811858 h 1064191"/>
                <a:gd name="connsiteX147" fmla="*/ 685692 w 1146476"/>
                <a:gd name="connsiteY147" fmla="*/ 724089 h 1064191"/>
                <a:gd name="connsiteX148" fmla="*/ 584209 w 1146476"/>
                <a:gd name="connsiteY148" fmla="*/ 606150 h 1064191"/>
                <a:gd name="connsiteX149" fmla="*/ 584209 w 1146476"/>
                <a:gd name="connsiteY149" fmla="*/ 540324 h 1064191"/>
                <a:gd name="connsiteX150" fmla="*/ 910599 w 1146476"/>
                <a:gd name="connsiteY150" fmla="*/ 540324 h 1064191"/>
                <a:gd name="connsiteX151" fmla="*/ 927055 w 1146476"/>
                <a:gd name="connsiteY151" fmla="*/ 556781 h 1064191"/>
                <a:gd name="connsiteX152" fmla="*/ 927055 w 1146476"/>
                <a:gd name="connsiteY152" fmla="*/ 606150 h 1064191"/>
                <a:gd name="connsiteX153" fmla="*/ 825572 w 1146476"/>
                <a:gd name="connsiteY153" fmla="*/ 724089 h 1064191"/>
                <a:gd name="connsiteX154" fmla="*/ 863972 w 1146476"/>
                <a:gd name="connsiteY154" fmla="*/ 811858 h 1064191"/>
                <a:gd name="connsiteX155" fmla="*/ 757003 w 1146476"/>
                <a:gd name="connsiteY155" fmla="*/ 894140 h 1064191"/>
                <a:gd name="connsiteX156" fmla="*/ 647292 w 1146476"/>
                <a:gd name="connsiteY156" fmla="*/ 811858 h 1064191"/>
                <a:gd name="connsiteX157" fmla="*/ 647292 w 1146476"/>
                <a:gd name="connsiteY157" fmla="*/ 811858 h 1064191"/>
                <a:gd name="connsiteX158" fmla="*/ 1113563 w 1146476"/>
                <a:gd name="connsiteY158" fmla="*/ 1020307 h 1064191"/>
                <a:gd name="connsiteX159" fmla="*/ 1099849 w 1146476"/>
                <a:gd name="connsiteY159" fmla="*/ 1034021 h 1064191"/>
                <a:gd name="connsiteX160" fmla="*/ 1064193 w 1146476"/>
                <a:gd name="connsiteY160" fmla="*/ 1034021 h 1064191"/>
                <a:gd name="connsiteX161" fmla="*/ 1064193 w 1146476"/>
                <a:gd name="connsiteY161" fmla="*/ 981909 h 1064191"/>
                <a:gd name="connsiteX162" fmla="*/ 1047737 w 1146476"/>
                <a:gd name="connsiteY162" fmla="*/ 965452 h 1064191"/>
                <a:gd name="connsiteX163" fmla="*/ 1031280 w 1146476"/>
                <a:gd name="connsiteY163" fmla="*/ 981909 h 1064191"/>
                <a:gd name="connsiteX164" fmla="*/ 1031280 w 1146476"/>
                <a:gd name="connsiteY164" fmla="*/ 1034021 h 1064191"/>
                <a:gd name="connsiteX165" fmla="*/ 858486 w 1146476"/>
                <a:gd name="connsiteY165" fmla="*/ 1034021 h 1064191"/>
                <a:gd name="connsiteX166" fmla="*/ 858486 w 1146476"/>
                <a:gd name="connsiteY166" fmla="*/ 981909 h 1064191"/>
                <a:gd name="connsiteX167" fmla="*/ 842030 w 1146476"/>
                <a:gd name="connsiteY167" fmla="*/ 965452 h 1064191"/>
                <a:gd name="connsiteX168" fmla="*/ 825572 w 1146476"/>
                <a:gd name="connsiteY168" fmla="*/ 981909 h 1064191"/>
                <a:gd name="connsiteX169" fmla="*/ 825572 w 1146476"/>
                <a:gd name="connsiteY169" fmla="*/ 1034021 h 1064191"/>
                <a:gd name="connsiteX170" fmla="*/ 789917 w 1146476"/>
                <a:gd name="connsiteY170" fmla="*/ 1034021 h 1064191"/>
                <a:gd name="connsiteX171" fmla="*/ 776203 w 1146476"/>
                <a:gd name="connsiteY171" fmla="*/ 1020307 h 1064191"/>
                <a:gd name="connsiteX172" fmla="*/ 776203 w 1146476"/>
                <a:gd name="connsiteY172" fmla="*/ 965452 h 1064191"/>
                <a:gd name="connsiteX173" fmla="*/ 776203 w 1146476"/>
                <a:gd name="connsiteY173" fmla="*/ 965452 h 1064191"/>
                <a:gd name="connsiteX174" fmla="*/ 899627 w 1146476"/>
                <a:gd name="connsiteY174" fmla="*/ 842028 h 1064191"/>
                <a:gd name="connsiteX175" fmla="*/ 995624 w 1146476"/>
                <a:gd name="connsiteY175" fmla="*/ 842028 h 1064191"/>
                <a:gd name="connsiteX176" fmla="*/ 1119049 w 1146476"/>
                <a:gd name="connsiteY176" fmla="*/ 965452 h 1064191"/>
                <a:gd name="connsiteX177" fmla="*/ 1119049 w 1146476"/>
                <a:gd name="connsiteY177" fmla="*/ 1020307 h 106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146476" h="1064191">
                  <a:moveTo>
                    <a:pt x="1023052" y="811858"/>
                  </a:moveTo>
                  <a:cubicBezTo>
                    <a:pt x="1047737" y="789915"/>
                    <a:pt x="1061451" y="759745"/>
                    <a:pt x="1061451" y="724089"/>
                  </a:cubicBezTo>
                  <a:cubicBezTo>
                    <a:pt x="1061451" y="663748"/>
                    <a:pt x="1017566" y="614379"/>
                    <a:pt x="959969" y="606150"/>
                  </a:cubicBezTo>
                  <a:lnTo>
                    <a:pt x="959969" y="556781"/>
                  </a:lnTo>
                  <a:cubicBezTo>
                    <a:pt x="959969" y="529353"/>
                    <a:pt x="938027" y="507411"/>
                    <a:pt x="910599" y="507411"/>
                  </a:cubicBezTo>
                  <a:lnTo>
                    <a:pt x="584209" y="507411"/>
                  </a:lnTo>
                  <a:lnTo>
                    <a:pt x="584209" y="433356"/>
                  </a:lnTo>
                  <a:lnTo>
                    <a:pt x="619865" y="433356"/>
                  </a:lnTo>
                  <a:cubicBezTo>
                    <a:pt x="644550" y="433356"/>
                    <a:pt x="663750" y="414157"/>
                    <a:pt x="663750" y="389472"/>
                  </a:cubicBezTo>
                  <a:lnTo>
                    <a:pt x="663750" y="356559"/>
                  </a:lnTo>
                  <a:cubicBezTo>
                    <a:pt x="663750" y="345588"/>
                    <a:pt x="658264" y="334617"/>
                    <a:pt x="652778" y="326389"/>
                  </a:cubicBezTo>
                  <a:cubicBezTo>
                    <a:pt x="661006" y="307189"/>
                    <a:pt x="671978" y="290733"/>
                    <a:pt x="685692" y="274276"/>
                  </a:cubicBezTo>
                  <a:cubicBezTo>
                    <a:pt x="713120" y="244106"/>
                    <a:pt x="729575" y="205707"/>
                    <a:pt x="729575" y="164566"/>
                  </a:cubicBezTo>
                  <a:cubicBezTo>
                    <a:pt x="729575" y="159080"/>
                    <a:pt x="729575" y="153595"/>
                    <a:pt x="729575" y="150852"/>
                  </a:cubicBezTo>
                  <a:cubicBezTo>
                    <a:pt x="729575" y="142624"/>
                    <a:pt x="721348" y="134395"/>
                    <a:pt x="710377" y="134395"/>
                  </a:cubicBezTo>
                  <a:cubicBezTo>
                    <a:pt x="702148" y="134395"/>
                    <a:pt x="693920" y="142624"/>
                    <a:pt x="693920" y="153595"/>
                  </a:cubicBezTo>
                  <a:cubicBezTo>
                    <a:pt x="693920" y="156337"/>
                    <a:pt x="693920" y="161823"/>
                    <a:pt x="693920" y="164566"/>
                  </a:cubicBezTo>
                  <a:cubicBezTo>
                    <a:pt x="693920" y="197479"/>
                    <a:pt x="682950" y="227649"/>
                    <a:pt x="661006" y="249591"/>
                  </a:cubicBezTo>
                  <a:cubicBezTo>
                    <a:pt x="644550" y="268791"/>
                    <a:pt x="630837" y="287990"/>
                    <a:pt x="622609" y="309932"/>
                  </a:cubicBezTo>
                  <a:lnTo>
                    <a:pt x="518384" y="309932"/>
                  </a:lnTo>
                  <a:cubicBezTo>
                    <a:pt x="510154" y="287990"/>
                    <a:pt x="496440" y="266048"/>
                    <a:pt x="479984" y="249591"/>
                  </a:cubicBezTo>
                  <a:cubicBezTo>
                    <a:pt x="458042" y="224906"/>
                    <a:pt x="444329" y="194736"/>
                    <a:pt x="444329" y="161823"/>
                  </a:cubicBezTo>
                  <a:cubicBezTo>
                    <a:pt x="444329" y="93254"/>
                    <a:pt x="499184" y="35656"/>
                    <a:pt x="570495" y="35656"/>
                  </a:cubicBezTo>
                  <a:lnTo>
                    <a:pt x="570495" y="35656"/>
                  </a:lnTo>
                  <a:cubicBezTo>
                    <a:pt x="608895" y="35656"/>
                    <a:pt x="644550" y="52112"/>
                    <a:pt x="669236" y="82283"/>
                  </a:cubicBezTo>
                  <a:cubicBezTo>
                    <a:pt x="674720" y="90511"/>
                    <a:pt x="685692" y="90511"/>
                    <a:pt x="693920" y="85026"/>
                  </a:cubicBezTo>
                  <a:cubicBezTo>
                    <a:pt x="702148" y="79540"/>
                    <a:pt x="702148" y="68569"/>
                    <a:pt x="696664" y="60341"/>
                  </a:cubicBezTo>
                  <a:cubicBezTo>
                    <a:pt x="666492" y="21942"/>
                    <a:pt x="619865" y="0"/>
                    <a:pt x="570495" y="0"/>
                  </a:cubicBezTo>
                  <a:cubicBezTo>
                    <a:pt x="570495" y="0"/>
                    <a:pt x="570495" y="0"/>
                    <a:pt x="570495" y="0"/>
                  </a:cubicBezTo>
                  <a:cubicBezTo>
                    <a:pt x="482726" y="0"/>
                    <a:pt x="411415" y="71312"/>
                    <a:pt x="411415" y="159080"/>
                  </a:cubicBezTo>
                  <a:cubicBezTo>
                    <a:pt x="411415" y="200222"/>
                    <a:pt x="427871" y="238620"/>
                    <a:pt x="455299" y="268791"/>
                  </a:cubicBezTo>
                  <a:cubicBezTo>
                    <a:pt x="469013" y="282504"/>
                    <a:pt x="479984" y="301704"/>
                    <a:pt x="488212" y="318160"/>
                  </a:cubicBezTo>
                  <a:cubicBezTo>
                    <a:pt x="479984" y="326389"/>
                    <a:pt x="477242" y="337360"/>
                    <a:pt x="477242" y="348331"/>
                  </a:cubicBezTo>
                  <a:lnTo>
                    <a:pt x="477242" y="381244"/>
                  </a:lnTo>
                  <a:cubicBezTo>
                    <a:pt x="477242" y="405929"/>
                    <a:pt x="496440" y="425128"/>
                    <a:pt x="521126" y="425128"/>
                  </a:cubicBezTo>
                  <a:lnTo>
                    <a:pt x="556781" y="425128"/>
                  </a:lnTo>
                  <a:lnTo>
                    <a:pt x="556781" y="499183"/>
                  </a:lnTo>
                  <a:lnTo>
                    <a:pt x="230393" y="499183"/>
                  </a:lnTo>
                  <a:cubicBezTo>
                    <a:pt x="202965" y="499183"/>
                    <a:pt x="181022" y="521125"/>
                    <a:pt x="181022" y="548552"/>
                  </a:cubicBezTo>
                  <a:lnTo>
                    <a:pt x="181022" y="597922"/>
                  </a:lnTo>
                  <a:cubicBezTo>
                    <a:pt x="123425" y="606150"/>
                    <a:pt x="79541" y="655520"/>
                    <a:pt x="79541" y="715861"/>
                  </a:cubicBezTo>
                  <a:cubicBezTo>
                    <a:pt x="79541" y="748774"/>
                    <a:pt x="93255" y="781687"/>
                    <a:pt x="117939" y="803629"/>
                  </a:cubicBezTo>
                  <a:cubicBezTo>
                    <a:pt x="101483" y="806372"/>
                    <a:pt x="85025" y="814600"/>
                    <a:pt x="68569" y="822829"/>
                  </a:cubicBezTo>
                  <a:cubicBezTo>
                    <a:pt x="60341" y="828314"/>
                    <a:pt x="57597" y="839285"/>
                    <a:pt x="63083" y="847513"/>
                  </a:cubicBezTo>
                  <a:cubicBezTo>
                    <a:pt x="68569" y="855742"/>
                    <a:pt x="79541" y="858484"/>
                    <a:pt x="87769" y="852999"/>
                  </a:cubicBezTo>
                  <a:cubicBezTo>
                    <a:pt x="106969" y="842028"/>
                    <a:pt x="128910" y="833800"/>
                    <a:pt x="153594" y="833800"/>
                  </a:cubicBezTo>
                  <a:lnTo>
                    <a:pt x="249591" y="833800"/>
                  </a:lnTo>
                  <a:cubicBezTo>
                    <a:pt x="318160" y="833800"/>
                    <a:pt x="373016" y="888655"/>
                    <a:pt x="373016" y="957224"/>
                  </a:cubicBezTo>
                  <a:lnTo>
                    <a:pt x="373016" y="1012079"/>
                  </a:lnTo>
                  <a:cubicBezTo>
                    <a:pt x="373016" y="1020307"/>
                    <a:pt x="367532" y="1025793"/>
                    <a:pt x="359302" y="1025793"/>
                  </a:cubicBezTo>
                  <a:lnTo>
                    <a:pt x="323646" y="1025793"/>
                  </a:lnTo>
                  <a:lnTo>
                    <a:pt x="323646" y="973681"/>
                  </a:lnTo>
                  <a:cubicBezTo>
                    <a:pt x="323646" y="965452"/>
                    <a:pt x="315418" y="957224"/>
                    <a:pt x="307190" y="957224"/>
                  </a:cubicBezTo>
                  <a:cubicBezTo>
                    <a:pt x="298962" y="957224"/>
                    <a:pt x="290733" y="965452"/>
                    <a:pt x="290733" y="973681"/>
                  </a:cubicBezTo>
                  <a:lnTo>
                    <a:pt x="290733" y="1025793"/>
                  </a:lnTo>
                  <a:lnTo>
                    <a:pt x="117939" y="1025793"/>
                  </a:lnTo>
                  <a:lnTo>
                    <a:pt x="117939" y="973681"/>
                  </a:lnTo>
                  <a:cubicBezTo>
                    <a:pt x="117939" y="965452"/>
                    <a:pt x="109711" y="957224"/>
                    <a:pt x="101483" y="957224"/>
                  </a:cubicBezTo>
                  <a:cubicBezTo>
                    <a:pt x="93255" y="957224"/>
                    <a:pt x="85025" y="965452"/>
                    <a:pt x="85025" y="973681"/>
                  </a:cubicBezTo>
                  <a:lnTo>
                    <a:pt x="85025" y="1025793"/>
                  </a:lnTo>
                  <a:lnTo>
                    <a:pt x="49369" y="1025793"/>
                  </a:lnTo>
                  <a:cubicBezTo>
                    <a:pt x="41142" y="1025793"/>
                    <a:pt x="35656" y="1020307"/>
                    <a:pt x="35656" y="1012079"/>
                  </a:cubicBezTo>
                  <a:lnTo>
                    <a:pt x="35656" y="957224"/>
                  </a:lnTo>
                  <a:cubicBezTo>
                    <a:pt x="35656" y="938025"/>
                    <a:pt x="38399" y="921568"/>
                    <a:pt x="46627" y="905112"/>
                  </a:cubicBezTo>
                  <a:cubicBezTo>
                    <a:pt x="49369" y="896883"/>
                    <a:pt x="46627" y="885912"/>
                    <a:pt x="38399" y="883169"/>
                  </a:cubicBezTo>
                  <a:cubicBezTo>
                    <a:pt x="30170" y="880427"/>
                    <a:pt x="19200" y="883169"/>
                    <a:pt x="16456" y="891398"/>
                  </a:cubicBezTo>
                  <a:cubicBezTo>
                    <a:pt x="5486" y="913340"/>
                    <a:pt x="0" y="935282"/>
                    <a:pt x="0" y="959967"/>
                  </a:cubicBezTo>
                  <a:lnTo>
                    <a:pt x="0" y="1014822"/>
                  </a:lnTo>
                  <a:cubicBezTo>
                    <a:pt x="0" y="1042250"/>
                    <a:pt x="21942" y="1064192"/>
                    <a:pt x="49369" y="1064192"/>
                  </a:cubicBezTo>
                  <a:lnTo>
                    <a:pt x="362046" y="1064192"/>
                  </a:lnTo>
                  <a:cubicBezTo>
                    <a:pt x="373016" y="1064192"/>
                    <a:pt x="386730" y="1058706"/>
                    <a:pt x="394959" y="1053221"/>
                  </a:cubicBezTo>
                  <a:cubicBezTo>
                    <a:pt x="403187" y="1061449"/>
                    <a:pt x="414157" y="1064192"/>
                    <a:pt x="427871" y="1064192"/>
                  </a:cubicBezTo>
                  <a:lnTo>
                    <a:pt x="713120" y="1064192"/>
                  </a:lnTo>
                  <a:cubicBezTo>
                    <a:pt x="726833" y="1064192"/>
                    <a:pt x="740547" y="1058706"/>
                    <a:pt x="751519" y="1050478"/>
                  </a:cubicBezTo>
                  <a:cubicBezTo>
                    <a:pt x="759747" y="1058706"/>
                    <a:pt x="773461" y="1064192"/>
                    <a:pt x="787175" y="1064192"/>
                  </a:cubicBezTo>
                  <a:lnTo>
                    <a:pt x="1097107" y="1064192"/>
                  </a:lnTo>
                  <a:cubicBezTo>
                    <a:pt x="1124535" y="1064192"/>
                    <a:pt x="1146476" y="1042250"/>
                    <a:pt x="1146476" y="1014822"/>
                  </a:cubicBezTo>
                  <a:lnTo>
                    <a:pt x="1146476" y="959967"/>
                  </a:lnTo>
                  <a:cubicBezTo>
                    <a:pt x="1146476" y="891398"/>
                    <a:pt x="1094365" y="828314"/>
                    <a:pt x="1023052" y="811858"/>
                  </a:cubicBezTo>
                  <a:lnTo>
                    <a:pt x="1023052" y="811858"/>
                  </a:lnTo>
                  <a:close/>
                  <a:moveTo>
                    <a:pt x="943513" y="641806"/>
                  </a:moveTo>
                  <a:cubicBezTo>
                    <a:pt x="943513" y="641806"/>
                    <a:pt x="946255" y="641806"/>
                    <a:pt x="946255" y="641806"/>
                  </a:cubicBezTo>
                  <a:cubicBezTo>
                    <a:pt x="990138" y="644549"/>
                    <a:pt x="1028538" y="680205"/>
                    <a:pt x="1028538" y="726832"/>
                  </a:cubicBezTo>
                  <a:cubicBezTo>
                    <a:pt x="1028538" y="767973"/>
                    <a:pt x="1001110" y="800887"/>
                    <a:pt x="959969" y="809115"/>
                  </a:cubicBezTo>
                  <a:lnTo>
                    <a:pt x="927055" y="809115"/>
                  </a:lnTo>
                  <a:cubicBezTo>
                    <a:pt x="888657" y="800887"/>
                    <a:pt x="858486" y="765231"/>
                    <a:pt x="858486" y="726832"/>
                  </a:cubicBezTo>
                  <a:cubicBezTo>
                    <a:pt x="858486" y="680205"/>
                    <a:pt x="894142" y="644549"/>
                    <a:pt x="940769" y="641806"/>
                  </a:cubicBezTo>
                  <a:cubicBezTo>
                    <a:pt x="940769" y="641806"/>
                    <a:pt x="940769" y="641806"/>
                    <a:pt x="943513" y="641806"/>
                  </a:cubicBezTo>
                  <a:lnTo>
                    <a:pt x="943513" y="641806"/>
                  </a:lnTo>
                  <a:close/>
                  <a:moveTo>
                    <a:pt x="512898" y="400443"/>
                  </a:moveTo>
                  <a:cubicBezTo>
                    <a:pt x="507412" y="400443"/>
                    <a:pt x="504670" y="397701"/>
                    <a:pt x="504670" y="392215"/>
                  </a:cubicBezTo>
                  <a:lnTo>
                    <a:pt x="504670" y="359302"/>
                  </a:lnTo>
                  <a:cubicBezTo>
                    <a:pt x="504670" y="353816"/>
                    <a:pt x="507412" y="351073"/>
                    <a:pt x="512898" y="351073"/>
                  </a:cubicBezTo>
                  <a:lnTo>
                    <a:pt x="617123" y="351073"/>
                  </a:lnTo>
                  <a:cubicBezTo>
                    <a:pt x="622609" y="351073"/>
                    <a:pt x="625351" y="353816"/>
                    <a:pt x="625351" y="359302"/>
                  </a:cubicBezTo>
                  <a:lnTo>
                    <a:pt x="625351" y="392215"/>
                  </a:lnTo>
                  <a:cubicBezTo>
                    <a:pt x="625351" y="397701"/>
                    <a:pt x="622609" y="400443"/>
                    <a:pt x="617123" y="400443"/>
                  </a:cubicBezTo>
                  <a:lnTo>
                    <a:pt x="512898" y="400443"/>
                  </a:lnTo>
                  <a:lnTo>
                    <a:pt x="512898" y="400443"/>
                  </a:lnTo>
                  <a:close/>
                  <a:moveTo>
                    <a:pt x="565009" y="639063"/>
                  </a:moveTo>
                  <a:cubicBezTo>
                    <a:pt x="611637" y="639063"/>
                    <a:pt x="650036" y="677462"/>
                    <a:pt x="650036" y="724089"/>
                  </a:cubicBezTo>
                  <a:cubicBezTo>
                    <a:pt x="650036" y="765231"/>
                    <a:pt x="622609" y="798144"/>
                    <a:pt x="581467" y="806372"/>
                  </a:cubicBezTo>
                  <a:lnTo>
                    <a:pt x="548553" y="806372"/>
                  </a:lnTo>
                  <a:cubicBezTo>
                    <a:pt x="510154" y="798144"/>
                    <a:pt x="479984" y="762488"/>
                    <a:pt x="479984" y="724089"/>
                  </a:cubicBezTo>
                  <a:cubicBezTo>
                    <a:pt x="479984" y="677462"/>
                    <a:pt x="518384" y="639063"/>
                    <a:pt x="565009" y="639063"/>
                  </a:cubicBezTo>
                  <a:lnTo>
                    <a:pt x="565009" y="639063"/>
                  </a:lnTo>
                  <a:close/>
                  <a:moveTo>
                    <a:pt x="205708" y="809115"/>
                  </a:moveTo>
                  <a:lnTo>
                    <a:pt x="172794" y="809115"/>
                  </a:lnTo>
                  <a:cubicBezTo>
                    <a:pt x="134396" y="800887"/>
                    <a:pt x="104225" y="765231"/>
                    <a:pt x="104225" y="726832"/>
                  </a:cubicBezTo>
                  <a:cubicBezTo>
                    <a:pt x="104225" y="680205"/>
                    <a:pt x="142624" y="641806"/>
                    <a:pt x="189252" y="641806"/>
                  </a:cubicBezTo>
                  <a:cubicBezTo>
                    <a:pt x="235877" y="641806"/>
                    <a:pt x="274277" y="680205"/>
                    <a:pt x="274277" y="726832"/>
                  </a:cubicBezTo>
                  <a:cubicBezTo>
                    <a:pt x="274277" y="765231"/>
                    <a:pt x="244107" y="800887"/>
                    <a:pt x="205708" y="809115"/>
                  </a:cubicBezTo>
                  <a:lnTo>
                    <a:pt x="205708" y="809115"/>
                  </a:lnTo>
                  <a:close/>
                  <a:moveTo>
                    <a:pt x="271535" y="811858"/>
                  </a:moveTo>
                  <a:cubicBezTo>
                    <a:pt x="296219" y="789915"/>
                    <a:pt x="309932" y="759745"/>
                    <a:pt x="309932" y="724089"/>
                  </a:cubicBezTo>
                  <a:cubicBezTo>
                    <a:pt x="309932" y="663748"/>
                    <a:pt x="266049" y="614379"/>
                    <a:pt x="208450" y="606150"/>
                  </a:cubicBezTo>
                  <a:lnTo>
                    <a:pt x="208450" y="556781"/>
                  </a:lnTo>
                  <a:cubicBezTo>
                    <a:pt x="208450" y="548552"/>
                    <a:pt x="216679" y="540324"/>
                    <a:pt x="224907" y="540324"/>
                  </a:cubicBezTo>
                  <a:lnTo>
                    <a:pt x="548553" y="540324"/>
                  </a:lnTo>
                  <a:lnTo>
                    <a:pt x="548553" y="606150"/>
                  </a:lnTo>
                  <a:cubicBezTo>
                    <a:pt x="490956" y="614379"/>
                    <a:pt x="447071" y="663748"/>
                    <a:pt x="447071" y="724089"/>
                  </a:cubicBezTo>
                  <a:cubicBezTo>
                    <a:pt x="447071" y="757002"/>
                    <a:pt x="460785" y="789915"/>
                    <a:pt x="485470" y="811858"/>
                  </a:cubicBezTo>
                  <a:cubicBezTo>
                    <a:pt x="438843" y="822829"/>
                    <a:pt x="400443" y="852999"/>
                    <a:pt x="378502" y="894140"/>
                  </a:cubicBezTo>
                  <a:cubicBezTo>
                    <a:pt x="356560" y="852999"/>
                    <a:pt x="318160" y="822829"/>
                    <a:pt x="271535" y="811858"/>
                  </a:cubicBezTo>
                  <a:lnTo>
                    <a:pt x="271535" y="811858"/>
                  </a:lnTo>
                  <a:close/>
                  <a:moveTo>
                    <a:pt x="737805" y="965452"/>
                  </a:moveTo>
                  <a:lnTo>
                    <a:pt x="737805" y="1012079"/>
                  </a:lnTo>
                  <a:cubicBezTo>
                    <a:pt x="737805" y="1025793"/>
                    <a:pt x="726833" y="1034021"/>
                    <a:pt x="713120" y="1034021"/>
                  </a:cubicBezTo>
                  <a:lnTo>
                    <a:pt x="685692" y="1034021"/>
                  </a:lnTo>
                  <a:lnTo>
                    <a:pt x="685692" y="981909"/>
                  </a:lnTo>
                  <a:cubicBezTo>
                    <a:pt x="685692" y="973681"/>
                    <a:pt x="677464" y="965452"/>
                    <a:pt x="669236" y="965452"/>
                  </a:cubicBezTo>
                  <a:cubicBezTo>
                    <a:pt x="661006" y="965452"/>
                    <a:pt x="652778" y="973681"/>
                    <a:pt x="652778" y="981909"/>
                  </a:cubicBezTo>
                  <a:lnTo>
                    <a:pt x="652778" y="1034021"/>
                  </a:lnTo>
                  <a:lnTo>
                    <a:pt x="479984" y="1034021"/>
                  </a:lnTo>
                  <a:lnTo>
                    <a:pt x="479984" y="981909"/>
                  </a:lnTo>
                  <a:cubicBezTo>
                    <a:pt x="479984" y="973681"/>
                    <a:pt x="471756" y="965452"/>
                    <a:pt x="463528" y="965452"/>
                  </a:cubicBezTo>
                  <a:cubicBezTo>
                    <a:pt x="455299" y="965452"/>
                    <a:pt x="447071" y="973681"/>
                    <a:pt x="447071" y="981909"/>
                  </a:cubicBezTo>
                  <a:lnTo>
                    <a:pt x="447071" y="1034021"/>
                  </a:lnTo>
                  <a:lnTo>
                    <a:pt x="411415" y="1034021"/>
                  </a:lnTo>
                  <a:cubicBezTo>
                    <a:pt x="403187" y="1034021"/>
                    <a:pt x="397701" y="1028536"/>
                    <a:pt x="397701" y="1020307"/>
                  </a:cubicBezTo>
                  <a:lnTo>
                    <a:pt x="397701" y="965452"/>
                  </a:lnTo>
                  <a:cubicBezTo>
                    <a:pt x="397701" y="896883"/>
                    <a:pt x="452557" y="842028"/>
                    <a:pt x="521126" y="842028"/>
                  </a:cubicBezTo>
                  <a:lnTo>
                    <a:pt x="617123" y="842028"/>
                  </a:lnTo>
                  <a:cubicBezTo>
                    <a:pt x="680206" y="842028"/>
                    <a:pt x="735061" y="896883"/>
                    <a:pt x="737805" y="965452"/>
                  </a:cubicBezTo>
                  <a:cubicBezTo>
                    <a:pt x="737805" y="965452"/>
                    <a:pt x="737805" y="965452"/>
                    <a:pt x="737805" y="965452"/>
                  </a:cubicBezTo>
                  <a:lnTo>
                    <a:pt x="737805" y="965452"/>
                  </a:lnTo>
                  <a:close/>
                  <a:moveTo>
                    <a:pt x="647292" y="811858"/>
                  </a:moveTo>
                  <a:cubicBezTo>
                    <a:pt x="671978" y="789915"/>
                    <a:pt x="685692" y="759745"/>
                    <a:pt x="685692" y="724089"/>
                  </a:cubicBezTo>
                  <a:cubicBezTo>
                    <a:pt x="685692" y="663748"/>
                    <a:pt x="641808" y="614379"/>
                    <a:pt x="584209" y="606150"/>
                  </a:cubicBezTo>
                  <a:lnTo>
                    <a:pt x="584209" y="540324"/>
                  </a:lnTo>
                  <a:lnTo>
                    <a:pt x="910599" y="540324"/>
                  </a:lnTo>
                  <a:cubicBezTo>
                    <a:pt x="918827" y="540324"/>
                    <a:pt x="927055" y="548552"/>
                    <a:pt x="927055" y="556781"/>
                  </a:cubicBezTo>
                  <a:lnTo>
                    <a:pt x="927055" y="606150"/>
                  </a:lnTo>
                  <a:cubicBezTo>
                    <a:pt x="869458" y="614379"/>
                    <a:pt x="825572" y="663748"/>
                    <a:pt x="825572" y="724089"/>
                  </a:cubicBezTo>
                  <a:cubicBezTo>
                    <a:pt x="825572" y="757002"/>
                    <a:pt x="839286" y="789915"/>
                    <a:pt x="863972" y="811858"/>
                  </a:cubicBezTo>
                  <a:cubicBezTo>
                    <a:pt x="817344" y="822829"/>
                    <a:pt x="778947" y="852999"/>
                    <a:pt x="757003" y="894140"/>
                  </a:cubicBezTo>
                  <a:cubicBezTo>
                    <a:pt x="732319" y="852999"/>
                    <a:pt x="693920" y="822829"/>
                    <a:pt x="647292" y="811858"/>
                  </a:cubicBezTo>
                  <a:lnTo>
                    <a:pt x="647292" y="811858"/>
                  </a:lnTo>
                  <a:close/>
                  <a:moveTo>
                    <a:pt x="1113563" y="1020307"/>
                  </a:moveTo>
                  <a:cubicBezTo>
                    <a:pt x="1113563" y="1028536"/>
                    <a:pt x="1108079" y="1034021"/>
                    <a:pt x="1099849" y="1034021"/>
                  </a:cubicBezTo>
                  <a:lnTo>
                    <a:pt x="1064193" y="1034021"/>
                  </a:lnTo>
                  <a:lnTo>
                    <a:pt x="1064193" y="981909"/>
                  </a:lnTo>
                  <a:cubicBezTo>
                    <a:pt x="1064193" y="973681"/>
                    <a:pt x="1055965" y="965452"/>
                    <a:pt x="1047737" y="965452"/>
                  </a:cubicBezTo>
                  <a:cubicBezTo>
                    <a:pt x="1039510" y="965452"/>
                    <a:pt x="1031280" y="973681"/>
                    <a:pt x="1031280" y="981909"/>
                  </a:cubicBezTo>
                  <a:lnTo>
                    <a:pt x="1031280" y="1034021"/>
                  </a:lnTo>
                  <a:lnTo>
                    <a:pt x="858486" y="1034021"/>
                  </a:lnTo>
                  <a:lnTo>
                    <a:pt x="858486" y="981909"/>
                  </a:lnTo>
                  <a:cubicBezTo>
                    <a:pt x="858486" y="973681"/>
                    <a:pt x="850258" y="965452"/>
                    <a:pt x="842030" y="965452"/>
                  </a:cubicBezTo>
                  <a:cubicBezTo>
                    <a:pt x="833802" y="965452"/>
                    <a:pt x="825572" y="973681"/>
                    <a:pt x="825572" y="981909"/>
                  </a:cubicBezTo>
                  <a:lnTo>
                    <a:pt x="825572" y="1034021"/>
                  </a:lnTo>
                  <a:lnTo>
                    <a:pt x="789917" y="1034021"/>
                  </a:lnTo>
                  <a:cubicBezTo>
                    <a:pt x="781689" y="1034021"/>
                    <a:pt x="776203" y="1028536"/>
                    <a:pt x="776203" y="1020307"/>
                  </a:cubicBezTo>
                  <a:cubicBezTo>
                    <a:pt x="776203" y="959967"/>
                    <a:pt x="776203" y="968195"/>
                    <a:pt x="776203" y="965452"/>
                  </a:cubicBezTo>
                  <a:cubicBezTo>
                    <a:pt x="776203" y="965452"/>
                    <a:pt x="776203" y="965452"/>
                    <a:pt x="776203" y="965452"/>
                  </a:cubicBezTo>
                  <a:cubicBezTo>
                    <a:pt x="776203" y="896883"/>
                    <a:pt x="831058" y="842028"/>
                    <a:pt x="899627" y="842028"/>
                  </a:cubicBezTo>
                  <a:lnTo>
                    <a:pt x="995624" y="842028"/>
                  </a:lnTo>
                  <a:cubicBezTo>
                    <a:pt x="1064193" y="842028"/>
                    <a:pt x="1119049" y="896883"/>
                    <a:pt x="1119049" y="965452"/>
                  </a:cubicBezTo>
                  <a:lnTo>
                    <a:pt x="1119049" y="1020307"/>
                  </a:lnTo>
                  <a:close/>
                </a:path>
              </a:pathLst>
            </a:custGeom>
            <a:grpFill/>
            <a:ln w="27426" cap="flat">
              <a:noFill/>
              <a:prstDash val="solid"/>
              <a:miter/>
            </a:ln>
          </p:spPr>
          <p:txBody>
            <a:bodyPr rtlCol="0" anchor="ctr"/>
            <a:lstStyle/>
            <a:p>
              <a:pPr algn="l" rtl="0"/>
              <a:endParaRPr lang="en-US"/>
            </a:p>
          </p:txBody>
        </p:sp>
        <p:sp>
          <p:nvSpPr>
            <p:cNvPr id="32" name="Freeform 31">
              <a:extLst>
                <a:ext uri="{FF2B5EF4-FFF2-40B4-BE49-F238E27FC236}">
                  <a16:creationId xmlns:a16="http://schemas.microsoft.com/office/drawing/2014/main" id="{3EEA9142-E4D1-A420-57B5-EEAB322D8D03}"/>
                </a:ext>
              </a:extLst>
            </p:cNvPr>
            <p:cNvSpPr/>
            <p:nvPr/>
          </p:nvSpPr>
          <p:spPr>
            <a:xfrm>
              <a:off x="6889905" y="572719"/>
              <a:ext cx="65825" cy="32913"/>
            </a:xfrm>
            <a:custGeom>
              <a:avLst/>
              <a:gdLst>
                <a:gd name="connsiteX0" fmla="*/ 16456 w 65825"/>
                <a:gd name="connsiteY0" fmla="*/ 32913 h 32913"/>
                <a:gd name="connsiteX1" fmla="*/ 49369 w 65825"/>
                <a:gd name="connsiteY1" fmla="*/ 32913 h 32913"/>
                <a:gd name="connsiteX2" fmla="*/ 65825 w 65825"/>
                <a:gd name="connsiteY2" fmla="*/ 16457 h 32913"/>
                <a:gd name="connsiteX3" fmla="*/ 49369 w 65825"/>
                <a:gd name="connsiteY3" fmla="*/ 0 h 32913"/>
                <a:gd name="connsiteX4" fmla="*/ 16456 w 65825"/>
                <a:gd name="connsiteY4" fmla="*/ 0 h 32913"/>
                <a:gd name="connsiteX5" fmla="*/ 0 w 65825"/>
                <a:gd name="connsiteY5" fmla="*/ 16457 h 32913"/>
                <a:gd name="connsiteX6" fmla="*/ 16456 w 65825"/>
                <a:gd name="connsiteY6" fmla="*/ 32913 h 32913"/>
                <a:gd name="connsiteX7" fmla="*/ 16456 w 65825"/>
                <a:gd name="connsiteY7" fmla="*/ 32913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825" h="32913">
                  <a:moveTo>
                    <a:pt x="16456" y="32913"/>
                  </a:moveTo>
                  <a:lnTo>
                    <a:pt x="49369" y="32913"/>
                  </a:lnTo>
                  <a:cubicBezTo>
                    <a:pt x="57597" y="32913"/>
                    <a:pt x="65825" y="24685"/>
                    <a:pt x="65825" y="16457"/>
                  </a:cubicBezTo>
                  <a:cubicBezTo>
                    <a:pt x="65825" y="8228"/>
                    <a:pt x="57597" y="0"/>
                    <a:pt x="49369" y="0"/>
                  </a:cubicBezTo>
                  <a:lnTo>
                    <a:pt x="16456" y="0"/>
                  </a:lnTo>
                  <a:cubicBezTo>
                    <a:pt x="8228" y="0"/>
                    <a:pt x="0" y="8228"/>
                    <a:pt x="0" y="16457"/>
                  </a:cubicBezTo>
                  <a:cubicBezTo>
                    <a:pt x="0" y="24685"/>
                    <a:pt x="8228" y="32913"/>
                    <a:pt x="16456" y="32913"/>
                  </a:cubicBezTo>
                  <a:lnTo>
                    <a:pt x="16456" y="32913"/>
                  </a:lnTo>
                  <a:close/>
                </a:path>
              </a:pathLst>
            </a:custGeom>
            <a:grpFill/>
            <a:ln w="27426" cap="flat">
              <a:noFill/>
              <a:prstDash val="solid"/>
              <a:miter/>
            </a:ln>
          </p:spPr>
          <p:txBody>
            <a:bodyPr rtlCol="0" anchor="ctr"/>
            <a:lstStyle/>
            <a:p>
              <a:pPr algn="l" rtl="0"/>
              <a:endParaRPr lang="en-US"/>
            </a:p>
          </p:txBody>
        </p:sp>
        <p:sp>
          <p:nvSpPr>
            <p:cNvPr id="33" name="Freeform 32">
              <a:extLst>
                <a:ext uri="{FF2B5EF4-FFF2-40B4-BE49-F238E27FC236}">
                  <a16:creationId xmlns:a16="http://schemas.microsoft.com/office/drawing/2014/main" id="{F57A788D-82DD-46BB-116F-58FB1FF12C73}"/>
                </a:ext>
              </a:extLst>
            </p:cNvPr>
            <p:cNvSpPr/>
            <p:nvPr/>
          </p:nvSpPr>
          <p:spPr>
            <a:xfrm>
              <a:off x="7339717" y="572719"/>
              <a:ext cx="65827" cy="32913"/>
            </a:xfrm>
            <a:custGeom>
              <a:avLst/>
              <a:gdLst>
                <a:gd name="connsiteX0" fmla="*/ 16458 w 65827"/>
                <a:gd name="connsiteY0" fmla="*/ 32913 h 32913"/>
                <a:gd name="connsiteX1" fmla="*/ 49371 w 65827"/>
                <a:gd name="connsiteY1" fmla="*/ 32913 h 32913"/>
                <a:gd name="connsiteX2" fmla="*/ 65827 w 65827"/>
                <a:gd name="connsiteY2" fmla="*/ 16457 h 32913"/>
                <a:gd name="connsiteX3" fmla="*/ 49371 w 65827"/>
                <a:gd name="connsiteY3" fmla="*/ 0 h 32913"/>
                <a:gd name="connsiteX4" fmla="*/ 16458 w 65827"/>
                <a:gd name="connsiteY4" fmla="*/ 0 h 32913"/>
                <a:gd name="connsiteX5" fmla="*/ 0 w 65827"/>
                <a:gd name="connsiteY5" fmla="*/ 16457 h 32913"/>
                <a:gd name="connsiteX6" fmla="*/ 16458 w 65827"/>
                <a:gd name="connsiteY6" fmla="*/ 32913 h 32913"/>
                <a:gd name="connsiteX7" fmla="*/ 16458 w 65827"/>
                <a:gd name="connsiteY7" fmla="*/ 32913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827" h="32913">
                  <a:moveTo>
                    <a:pt x="16458" y="32913"/>
                  </a:moveTo>
                  <a:lnTo>
                    <a:pt x="49371" y="32913"/>
                  </a:lnTo>
                  <a:cubicBezTo>
                    <a:pt x="57599" y="32913"/>
                    <a:pt x="65827" y="24685"/>
                    <a:pt x="65827" y="16457"/>
                  </a:cubicBezTo>
                  <a:cubicBezTo>
                    <a:pt x="65827" y="8228"/>
                    <a:pt x="57599" y="0"/>
                    <a:pt x="49371" y="0"/>
                  </a:cubicBezTo>
                  <a:lnTo>
                    <a:pt x="16458" y="0"/>
                  </a:lnTo>
                  <a:cubicBezTo>
                    <a:pt x="8230" y="0"/>
                    <a:pt x="0" y="8228"/>
                    <a:pt x="0" y="16457"/>
                  </a:cubicBezTo>
                  <a:cubicBezTo>
                    <a:pt x="0" y="24685"/>
                    <a:pt x="8230" y="32913"/>
                    <a:pt x="16458" y="32913"/>
                  </a:cubicBezTo>
                  <a:lnTo>
                    <a:pt x="16458" y="32913"/>
                  </a:lnTo>
                  <a:close/>
                </a:path>
              </a:pathLst>
            </a:custGeom>
            <a:grpFill/>
            <a:ln w="27426" cap="flat">
              <a:noFill/>
              <a:prstDash val="solid"/>
              <a:miter/>
            </a:ln>
          </p:spPr>
          <p:txBody>
            <a:bodyPr rtlCol="0" anchor="ctr"/>
            <a:lstStyle/>
            <a:p>
              <a:pPr algn="l" rtl="0"/>
              <a:endParaRPr lang="en-US"/>
            </a:p>
          </p:txBody>
        </p:sp>
        <p:sp>
          <p:nvSpPr>
            <p:cNvPr id="36" name="Freeform 35">
              <a:extLst>
                <a:ext uri="{FF2B5EF4-FFF2-40B4-BE49-F238E27FC236}">
                  <a16:creationId xmlns:a16="http://schemas.microsoft.com/office/drawing/2014/main" id="{2A7D163C-CB3F-F553-1A7E-FC9A05DC95B2}"/>
                </a:ext>
              </a:extLst>
            </p:cNvPr>
            <p:cNvSpPr/>
            <p:nvPr/>
          </p:nvSpPr>
          <p:spPr>
            <a:xfrm>
              <a:off x="6959845" y="401296"/>
              <a:ext cx="54854" cy="56226"/>
            </a:xfrm>
            <a:custGeom>
              <a:avLst/>
              <a:gdLst>
                <a:gd name="connsiteX0" fmla="*/ 28798 w 54854"/>
                <a:gd name="connsiteY0" fmla="*/ 50741 h 56226"/>
                <a:gd name="connsiteX1" fmla="*/ 39770 w 54854"/>
                <a:gd name="connsiteY1" fmla="*/ 56227 h 56226"/>
                <a:gd name="connsiteX2" fmla="*/ 50740 w 54854"/>
                <a:gd name="connsiteY2" fmla="*/ 50741 h 56226"/>
                <a:gd name="connsiteX3" fmla="*/ 50740 w 54854"/>
                <a:gd name="connsiteY3" fmla="*/ 26056 h 56226"/>
                <a:gd name="connsiteX4" fmla="*/ 28798 w 54854"/>
                <a:gd name="connsiteY4" fmla="*/ 4114 h 56226"/>
                <a:gd name="connsiteX5" fmla="*/ 4114 w 54854"/>
                <a:gd name="connsiteY5" fmla="*/ 4114 h 56226"/>
                <a:gd name="connsiteX6" fmla="*/ 4114 w 54854"/>
                <a:gd name="connsiteY6" fmla="*/ 28799 h 56226"/>
                <a:gd name="connsiteX7" fmla="*/ 28798 w 54854"/>
                <a:gd name="connsiteY7" fmla="*/ 50741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54" h="56226">
                  <a:moveTo>
                    <a:pt x="28798" y="50741"/>
                  </a:moveTo>
                  <a:cubicBezTo>
                    <a:pt x="31542" y="53484"/>
                    <a:pt x="37026" y="56227"/>
                    <a:pt x="39770" y="56227"/>
                  </a:cubicBezTo>
                  <a:cubicBezTo>
                    <a:pt x="45256" y="56227"/>
                    <a:pt x="47998" y="53484"/>
                    <a:pt x="50740" y="50741"/>
                  </a:cubicBezTo>
                  <a:cubicBezTo>
                    <a:pt x="56226" y="45256"/>
                    <a:pt x="56226" y="34284"/>
                    <a:pt x="50740" y="26056"/>
                  </a:cubicBezTo>
                  <a:lnTo>
                    <a:pt x="28798" y="4114"/>
                  </a:lnTo>
                  <a:cubicBezTo>
                    <a:pt x="23312" y="-1371"/>
                    <a:pt x="12342" y="-1371"/>
                    <a:pt x="4114" y="4114"/>
                  </a:cubicBezTo>
                  <a:cubicBezTo>
                    <a:pt x="-1371" y="9600"/>
                    <a:pt x="-1371" y="20571"/>
                    <a:pt x="4114" y="28799"/>
                  </a:cubicBezTo>
                  <a:lnTo>
                    <a:pt x="28798" y="50741"/>
                  </a:lnTo>
                  <a:close/>
                </a:path>
              </a:pathLst>
            </a:custGeom>
            <a:grpFill/>
            <a:ln w="27426" cap="flat">
              <a:noFill/>
              <a:prstDash val="solid"/>
              <a:miter/>
            </a:ln>
          </p:spPr>
          <p:txBody>
            <a:bodyPr rtlCol="0" anchor="ctr"/>
            <a:lstStyle/>
            <a:p>
              <a:pPr algn="l" rtl="0"/>
              <a:endParaRPr lang="en-US"/>
            </a:p>
          </p:txBody>
        </p:sp>
        <p:sp>
          <p:nvSpPr>
            <p:cNvPr id="37" name="Freeform 36">
              <a:extLst>
                <a:ext uri="{FF2B5EF4-FFF2-40B4-BE49-F238E27FC236}">
                  <a16:creationId xmlns:a16="http://schemas.microsoft.com/office/drawing/2014/main" id="{09D7EF5E-E12F-6A8C-BFF0-175AA3E0D8FE}"/>
                </a:ext>
              </a:extLst>
            </p:cNvPr>
            <p:cNvSpPr/>
            <p:nvPr/>
          </p:nvSpPr>
          <p:spPr>
            <a:xfrm>
              <a:off x="7278006" y="719456"/>
              <a:ext cx="52112" cy="56226"/>
            </a:xfrm>
            <a:custGeom>
              <a:avLst/>
              <a:gdLst>
                <a:gd name="connsiteX0" fmla="*/ 28800 w 52112"/>
                <a:gd name="connsiteY0" fmla="*/ 4114 h 56226"/>
                <a:gd name="connsiteX1" fmla="*/ 4114 w 52112"/>
                <a:gd name="connsiteY1" fmla="*/ 4114 h 56226"/>
                <a:gd name="connsiteX2" fmla="*/ 4114 w 52112"/>
                <a:gd name="connsiteY2" fmla="*/ 28799 h 56226"/>
                <a:gd name="connsiteX3" fmla="*/ 26056 w 52112"/>
                <a:gd name="connsiteY3" fmla="*/ 50741 h 56226"/>
                <a:gd name="connsiteX4" fmla="*/ 37028 w 52112"/>
                <a:gd name="connsiteY4" fmla="*/ 56227 h 56226"/>
                <a:gd name="connsiteX5" fmla="*/ 47998 w 52112"/>
                <a:gd name="connsiteY5" fmla="*/ 50741 h 56226"/>
                <a:gd name="connsiteX6" fmla="*/ 47998 w 52112"/>
                <a:gd name="connsiteY6" fmla="*/ 26056 h 56226"/>
                <a:gd name="connsiteX7" fmla="*/ 28800 w 52112"/>
                <a:gd name="connsiteY7" fmla="*/ 4114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112" h="56226">
                  <a:moveTo>
                    <a:pt x="28800" y="4114"/>
                  </a:moveTo>
                  <a:cubicBezTo>
                    <a:pt x="23314" y="-1371"/>
                    <a:pt x="12342" y="-1371"/>
                    <a:pt x="4114" y="4114"/>
                  </a:cubicBezTo>
                  <a:cubicBezTo>
                    <a:pt x="-1371" y="9600"/>
                    <a:pt x="-1371" y="20571"/>
                    <a:pt x="4114" y="28799"/>
                  </a:cubicBezTo>
                  <a:lnTo>
                    <a:pt x="26056" y="50741"/>
                  </a:lnTo>
                  <a:cubicBezTo>
                    <a:pt x="28800" y="53484"/>
                    <a:pt x="34284" y="56227"/>
                    <a:pt x="37028" y="56227"/>
                  </a:cubicBezTo>
                  <a:cubicBezTo>
                    <a:pt x="42514" y="56227"/>
                    <a:pt x="45256" y="53484"/>
                    <a:pt x="47998" y="50741"/>
                  </a:cubicBezTo>
                  <a:cubicBezTo>
                    <a:pt x="53484" y="45256"/>
                    <a:pt x="53484" y="34285"/>
                    <a:pt x="47998" y="26056"/>
                  </a:cubicBezTo>
                  <a:lnTo>
                    <a:pt x="28800" y="4114"/>
                  </a:lnTo>
                  <a:close/>
                </a:path>
              </a:pathLst>
            </a:custGeom>
            <a:grpFill/>
            <a:ln w="27426" cap="flat">
              <a:noFill/>
              <a:prstDash val="solid"/>
              <a:miter/>
            </a:ln>
          </p:spPr>
          <p:txBody>
            <a:bodyPr rtlCol="0" anchor="ctr"/>
            <a:lstStyle/>
            <a:p>
              <a:pPr algn="l" rtl="0"/>
              <a:endParaRPr lang="en-US"/>
            </a:p>
          </p:txBody>
        </p:sp>
        <p:sp>
          <p:nvSpPr>
            <p:cNvPr id="38" name="Freeform 37">
              <a:extLst>
                <a:ext uri="{FF2B5EF4-FFF2-40B4-BE49-F238E27FC236}">
                  <a16:creationId xmlns:a16="http://schemas.microsoft.com/office/drawing/2014/main" id="{9458C0D4-4328-EA26-FE75-3FA33442E207}"/>
                </a:ext>
              </a:extLst>
            </p:cNvPr>
            <p:cNvSpPr/>
            <p:nvPr/>
          </p:nvSpPr>
          <p:spPr>
            <a:xfrm>
              <a:off x="6959845" y="719456"/>
              <a:ext cx="54854" cy="56226"/>
            </a:xfrm>
            <a:custGeom>
              <a:avLst/>
              <a:gdLst>
                <a:gd name="connsiteX0" fmla="*/ 17828 w 54854"/>
                <a:gd name="connsiteY0" fmla="*/ 56227 h 56226"/>
                <a:gd name="connsiteX1" fmla="*/ 28798 w 54854"/>
                <a:gd name="connsiteY1" fmla="*/ 50741 h 56226"/>
                <a:gd name="connsiteX2" fmla="*/ 50740 w 54854"/>
                <a:gd name="connsiteY2" fmla="*/ 28799 h 56226"/>
                <a:gd name="connsiteX3" fmla="*/ 50740 w 54854"/>
                <a:gd name="connsiteY3" fmla="*/ 4114 h 56226"/>
                <a:gd name="connsiteX4" fmla="*/ 26056 w 54854"/>
                <a:gd name="connsiteY4" fmla="*/ 4114 h 56226"/>
                <a:gd name="connsiteX5" fmla="*/ 4114 w 54854"/>
                <a:gd name="connsiteY5" fmla="*/ 26056 h 56226"/>
                <a:gd name="connsiteX6" fmla="*/ 4114 w 54854"/>
                <a:gd name="connsiteY6" fmla="*/ 50741 h 56226"/>
                <a:gd name="connsiteX7" fmla="*/ 17828 w 54854"/>
                <a:gd name="connsiteY7" fmla="*/ 56227 h 56226"/>
                <a:gd name="connsiteX8" fmla="*/ 17828 w 54854"/>
                <a:gd name="connsiteY8" fmla="*/ 56227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854" h="56226">
                  <a:moveTo>
                    <a:pt x="17828" y="56227"/>
                  </a:moveTo>
                  <a:cubicBezTo>
                    <a:pt x="23312" y="56227"/>
                    <a:pt x="26056" y="53484"/>
                    <a:pt x="28798" y="50741"/>
                  </a:cubicBezTo>
                  <a:lnTo>
                    <a:pt x="50740" y="28799"/>
                  </a:lnTo>
                  <a:cubicBezTo>
                    <a:pt x="56226" y="23314"/>
                    <a:pt x="56226" y="12342"/>
                    <a:pt x="50740" y="4114"/>
                  </a:cubicBezTo>
                  <a:cubicBezTo>
                    <a:pt x="45256" y="-1371"/>
                    <a:pt x="34284" y="-1371"/>
                    <a:pt x="26056" y="4114"/>
                  </a:cubicBezTo>
                  <a:lnTo>
                    <a:pt x="4114" y="26056"/>
                  </a:lnTo>
                  <a:cubicBezTo>
                    <a:pt x="-1371" y="31542"/>
                    <a:pt x="-1371" y="42513"/>
                    <a:pt x="4114" y="50741"/>
                  </a:cubicBezTo>
                  <a:cubicBezTo>
                    <a:pt x="9599" y="56227"/>
                    <a:pt x="12342" y="56227"/>
                    <a:pt x="17828" y="56227"/>
                  </a:cubicBezTo>
                  <a:lnTo>
                    <a:pt x="17828" y="56227"/>
                  </a:lnTo>
                  <a:close/>
                </a:path>
              </a:pathLst>
            </a:custGeom>
            <a:grpFill/>
            <a:ln w="27426" cap="flat">
              <a:noFill/>
              <a:prstDash val="solid"/>
              <a:miter/>
            </a:ln>
          </p:spPr>
          <p:txBody>
            <a:bodyPr rtlCol="0" anchor="ctr"/>
            <a:lstStyle/>
            <a:p>
              <a:pPr algn="l" rtl="0"/>
              <a:endParaRPr lang="en-US"/>
            </a:p>
          </p:txBody>
        </p:sp>
        <p:sp>
          <p:nvSpPr>
            <p:cNvPr id="39" name="Freeform 38">
              <a:extLst>
                <a:ext uri="{FF2B5EF4-FFF2-40B4-BE49-F238E27FC236}">
                  <a16:creationId xmlns:a16="http://schemas.microsoft.com/office/drawing/2014/main" id="{97357C91-B5CD-9AEF-ADF4-D1351707F9C7}"/>
                </a:ext>
              </a:extLst>
            </p:cNvPr>
            <p:cNvSpPr/>
            <p:nvPr/>
          </p:nvSpPr>
          <p:spPr>
            <a:xfrm>
              <a:off x="7278006" y="401296"/>
              <a:ext cx="54856" cy="56226"/>
            </a:xfrm>
            <a:custGeom>
              <a:avLst/>
              <a:gdLst>
                <a:gd name="connsiteX0" fmla="*/ 17828 w 54856"/>
                <a:gd name="connsiteY0" fmla="*/ 56227 h 56226"/>
                <a:gd name="connsiteX1" fmla="*/ 28800 w 54856"/>
                <a:gd name="connsiteY1" fmla="*/ 50741 h 56226"/>
                <a:gd name="connsiteX2" fmla="*/ 50742 w 54856"/>
                <a:gd name="connsiteY2" fmla="*/ 28799 h 56226"/>
                <a:gd name="connsiteX3" fmla="*/ 50742 w 54856"/>
                <a:gd name="connsiteY3" fmla="*/ 4114 h 56226"/>
                <a:gd name="connsiteX4" fmla="*/ 26056 w 54856"/>
                <a:gd name="connsiteY4" fmla="*/ 4114 h 56226"/>
                <a:gd name="connsiteX5" fmla="*/ 4114 w 54856"/>
                <a:gd name="connsiteY5" fmla="*/ 26056 h 56226"/>
                <a:gd name="connsiteX6" fmla="*/ 4114 w 54856"/>
                <a:gd name="connsiteY6" fmla="*/ 50741 h 56226"/>
                <a:gd name="connsiteX7" fmla="*/ 17828 w 54856"/>
                <a:gd name="connsiteY7" fmla="*/ 56227 h 56226"/>
                <a:gd name="connsiteX8" fmla="*/ 17828 w 54856"/>
                <a:gd name="connsiteY8" fmla="*/ 56227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856" h="56226">
                  <a:moveTo>
                    <a:pt x="17828" y="56227"/>
                  </a:moveTo>
                  <a:cubicBezTo>
                    <a:pt x="23314" y="56227"/>
                    <a:pt x="26056" y="53484"/>
                    <a:pt x="28800" y="50741"/>
                  </a:cubicBezTo>
                  <a:lnTo>
                    <a:pt x="50742" y="28799"/>
                  </a:lnTo>
                  <a:cubicBezTo>
                    <a:pt x="56228" y="23314"/>
                    <a:pt x="56228" y="12342"/>
                    <a:pt x="50742" y="4114"/>
                  </a:cubicBezTo>
                  <a:cubicBezTo>
                    <a:pt x="45256" y="-1371"/>
                    <a:pt x="34284" y="-1371"/>
                    <a:pt x="26056" y="4114"/>
                  </a:cubicBezTo>
                  <a:lnTo>
                    <a:pt x="4114" y="26056"/>
                  </a:lnTo>
                  <a:cubicBezTo>
                    <a:pt x="-1371" y="31542"/>
                    <a:pt x="-1371" y="42513"/>
                    <a:pt x="4114" y="50741"/>
                  </a:cubicBezTo>
                  <a:cubicBezTo>
                    <a:pt x="9600" y="53484"/>
                    <a:pt x="12342" y="56227"/>
                    <a:pt x="17828" y="56227"/>
                  </a:cubicBezTo>
                  <a:lnTo>
                    <a:pt x="17828" y="56227"/>
                  </a:lnTo>
                  <a:close/>
                </a:path>
              </a:pathLst>
            </a:custGeom>
            <a:grpFill/>
            <a:ln w="27426" cap="flat">
              <a:noFill/>
              <a:prstDash val="solid"/>
              <a:miter/>
            </a:ln>
          </p:spPr>
          <p:txBody>
            <a:bodyPr rtlCol="0" anchor="ctr"/>
            <a:lstStyle/>
            <a:p>
              <a:pPr algn="l" rtl="0"/>
              <a:endParaRPr lang="en-US"/>
            </a:p>
          </p:txBody>
        </p:sp>
        <p:sp>
          <p:nvSpPr>
            <p:cNvPr id="40" name="Freeform 39">
              <a:extLst>
                <a:ext uri="{FF2B5EF4-FFF2-40B4-BE49-F238E27FC236}">
                  <a16:creationId xmlns:a16="http://schemas.microsoft.com/office/drawing/2014/main" id="{8A12F681-0540-6C38-2632-A78F27B32228}"/>
                </a:ext>
              </a:extLst>
            </p:cNvPr>
            <p:cNvSpPr/>
            <p:nvPr/>
          </p:nvSpPr>
          <p:spPr>
            <a:xfrm>
              <a:off x="7131268" y="331356"/>
              <a:ext cx="32913" cy="65826"/>
            </a:xfrm>
            <a:custGeom>
              <a:avLst/>
              <a:gdLst>
                <a:gd name="connsiteX0" fmla="*/ 16456 w 32913"/>
                <a:gd name="connsiteY0" fmla="*/ 65826 h 65826"/>
                <a:gd name="connsiteX1" fmla="*/ 32914 w 32913"/>
                <a:gd name="connsiteY1" fmla="*/ 49370 h 65826"/>
                <a:gd name="connsiteX2" fmla="*/ 32914 w 32913"/>
                <a:gd name="connsiteY2" fmla="*/ 16457 h 65826"/>
                <a:gd name="connsiteX3" fmla="*/ 16456 w 32913"/>
                <a:gd name="connsiteY3" fmla="*/ 0 h 65826"/>
                <a:gd name="connsiteX4" fmla="*/ 0 w 32913"/>
                <a:gd name="connsiteY4" fmla="*/ 16457 h 65826"/>
                <a:gd name="connsiteX5" fmla="*/ 0 w 32913"/>
                <a:gd name="connsiteY5" fmla="*/ 49370 h 65826"/>
                <a:gd name="connsiteX6" fmla="*/ 16456 w 32913"/>
                <a:gd name="connsiteY6" fmla="*/ 65826 h 65826"/>
                <a:gd name="connsiteX7" fmla="*/ 16456 w 32913"/>
                <a:gd name="connsiteY7" fmla="*/ 65826 h 6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13" h="65826">
                  <a:moveTo>
                    <a:pt x="16456" y="65826"/>
                  </a:moveTo>
                  <a:cubicBezTo>
                    <a:pt x="24686" y="65826"/>
                    <a:pt x="32914" y="57598"/>
                    <a:pt x="32914" y="49370"/>
                  </a:cubicBezTo>
                  <a:lnTo>
                    <a:pt x="32914" y="16457"/>
                  </a:lnTo>
                  <a:cubicBezTo>
                    <a:pt x="32914" y="8228"/>
                    <a:pt x="24686" y="0"/>
                    <a:pt x="16456" y="0"/>
                  </a:cubicBezTo>
                  <a:cubicBezTo>
                    <a:pt x="8228" y="0"/>
                    <a:pt x="0" y="8228"/>
                    <a:pt x="0" y="16457"/>
                  </a:cubicBezTo>
                  <a:lnTo>
                    <a:pt x="0" y="49370"/>
                  </a:lnTo>
                  <a:cubicBezTo>
                    <a:pt x="0" y="57598"/>
                    <a:pt x="8228" y="65826"/>
                    <a:pt x="16456" y="65826"/>
                  </a:cubicBezTo>
                  <a:lnTo>
                    <a:pt x="16456" y="65826"/>
                  </a:lnTo>
                  <a:close/>
                </a:path>
              </a:pathLst>
            </a:custGeom>
            <a:grpFill/>
            <a:ln w="27426" cap="flat">
              <a:noFill/>
              <a:prstDash val="solid"/>
              <a:miter/>
            </a:ln>
          </p:spPr>
          <p:txBody>
            <a:bodyPr rtlCol="0" anchor="ctr"/>
            <a:lstStyle/>
            <a:p>
              <a:pPr algn="l" rtl="0"/>
              <a:endParaRPr lang="en-US"/>
            </a:p>
          </p:txBody>
        </p:sp>
      </p:grpSp>
    </p:spTree>
    <p:extLst>
      <p:ext uri="{BB962C8B-B14F-4D97-AF65-F5344CB8AC3E}">
        <p14:creationId xmlns:p14="http://schemas.microsoft.com/office/powerpoint/2010/main" val="25198303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a:extLst>
              <a:ext uri="{FF2B5EF4-FFF2-40B4-BE49-F238E27FC236}">
                <a16:creationId xmlns:a16="http://schemas.microsoft.com/office/drawing/2014/main" id="{D87A7D1E-D4DF-A713-6129-67A72ADE7D43}"/>
              </a:ext>
            </a:extLst>
          </p:cNvPr>
          <p:cNvPicPr>
            <a:picLocks noGrp="1" noChangeAspect="1"/>
          </p:cNvPicPr>
          <p:nvPr>
            <p:ph type="pic" sz="quarter" idx="10"/>
          </p:nvPr>
        </p:nvPicPr>
        <p:blipFill>
          <a:blip r:embed="rId6" cstate="screen">
            <a:extLst>
              <a:ext uri="{28A0092B-C50C-407E-A947-70E740481C1C}">
                <a14:useLocalDpi xmlns:a14="http://schemas.microsoft.com/office/drawing/2010/main"/>
              </a:ext>
            </a:extLst>
          </a:blip>
          <a:srcRect l="1817" r="1817"/>
          <a:stretch>
            <a:fillRect/>
          </a:stretch>
        </p:blipFill>
        <p:spPr/>
      </p:pic>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734714" y="642971"/>
            <a:ext cx="5002409" cy="2103475"/>
          </a:xfrm>
        </p:spPr>
        <p:txBody>
          <a:bodyPr>
            <a:normAutofit/>
          </a:bodyPr>
          <a:lstStyle/>
          <a:p>
            <a:pPr algn="l" rtl="0"/>
            <a:r>
              <a:rPr lang="en-GB" dirty="0"/>
              <a:t>Liderazgo vs Gestión</a:t>
            </a:r>
          </a:p>
        </p:txBody>
      </p:sp>
      <p:sp>
        <p:nvSpPr>
          <p:cNvPr id="28" name="Rechteck 27">
            <a:extLst>
              <a:ext uri="{FF2B5EF4-FFF2-40B4-BE49-F238E27FC236}">
                <a16:creationId xmlns:a16="http://schemas.microsoft.com/office/drawing/2014/main" id="{98670D1F-3C08-4A05-AA8F-091E4EC900BD}"/>
              </a:ext>
            </a:extLst>
          </p:cNvPr>
          <p:cNvSpPr/>
          <p:nvPr/>
        </p:nvSpPr>
        <p:spPr>
          <a:xfrm>
            <a:off x="468998" y="5918697"/>
            <a:ext cx="11723002" cy="307888"/>
          </a:xfrm>
          <a:prstGeom prst="rect">
            <a:avLst/>
          </a:prstGeom>
        </p:spPr>
        <p:txBody>
          <a:bodyPr vert="horz" wrap="square" lIns="81580" tIns="40790" rIns="81580" bIns="40790" rtlCol="0">
            <a:spAutoFit/>
          </a:bodyPr>
          <a:lstStyle/>
          <a:p>
            <a:pPr algn="l" defTabSz="1087636" rtl="0">
              <a:lnSpc>
                <a:spcPts val="1500"/>
              </a:lnSpc>
              <a:spcBef>
                <a:spcPct val="20000"/>
              </a:spcBef>
            </a:pPr>
            <a:r>
              <a:rPr lang="en-GB" sz="2200" dirty="0">
                <a:solidFill>
                  <a:srgbClr val="595959"/>
                </a:solidFill>
              </a:rPr>
              <a:t>Fuente: Dr. John Kotter| Youtube:</a:t>
            </a:r>
            <a:r>
              <a:rPr lang="en-GB" sz="2200" dirty="0">
                <a:solidFill>
                  <a:srgbClr val="595959"/>
                </a:solidFill>
                <a:hlinkClick r:id="rId7">
                  <a:extLst>
                    <a:ext uri="{A12FA001-AC4F-418D-AE19-62706E023703}">
                      <ahyp:hlinkClr xmlns:ahyp="http://schemas.microsoft.com/office/drawing/2018/hyperlinkcolor" val="tx"/>
                    </a:ext>
                  </a:extLst>
                </a:hlinkClick>
              </a:rPr>
              <a:t>https://www.youtube.com/watch?v=SEfgCqnMl5E&amp;t=198s</a:t>
            </a:r>
            <a:endParaRPr lang="en-GB" sz="2200" dirty="0">
              <a:solidFill>
                <a:srgbClr val="595959"/>
              </a:solidFill>
            </a:endParaRPr>
          </a:p>
        </p:txBody>
      </p:sp>
      <p:sp>
        <p:nvSpPr>
          <p:cNvPr id="5" name="TextBox 4">
            <a:extLst>
              <a:ext uri="{FF2B5EF4-FFF2-40B4-BE49-F238E27FC236}">
                <a16:creationId xmlns:a16="http://schemas.microsoft.com/office/drawing/2014/main" id="{4BA2EA5A-F519-407D-B405-5D273E8083C7}"/>
              </a:ext>
            </a:extLst>
          </p:cNvPr>
          <p:cNvSpPr txBox="1"/>
          <p:nvPr/>
        </p:nvSpPr>
        <p:spPr>
          <a:xfrm>
            <a:off x="520617" y="3110081"/>
            <a:ext cx="3756415" cy="1785104"/>
          </a:xfrm>
          <a:prstGeom prst="rect">
            <a:avLst/>
          </a:prstGeom>
          <a:noFill/>
        </p:spPr>
        <p:txBody>
          <a:bodyPr wrap="square" rtlCol="0">
            <a:spAutoFit/>
          </a:bodyPr>
          <a:lstStyle/>
          <a:p>
            <a:pPr algn="l" rtl="0"/>
            <a:r>
              <a:rPr lang="en-GB" sz="2200" b="0" i="0" dirty="0">
                <a:solidFill>
                  <a:schemeClr val="bg1"/>
                </a:solidFill>
                <a:effectLst/>
                <a:highlight>
                  <a:srgbClr val="F16924"/>
                </a:highlight>
              </a:rPr>
              <a:t>RELOJ</a:t>
            </a:r>
            <a:r>
              <a:rPr lang="en-GB" sz="2200" b="0" i="0" dirty="0">
                <a:solidFill>
                  <a:srgbClr val="F16924"/>
                </a:solidFill>
                <a:effectLst/>
                <a:highlight>
                  <a:srgbClr val="F16924"/>
                </a:highlight>
              </a:rPr>
              <a:t>.</a:t>
            </a:r>
          </a:p>
          <a:p>
            <a:pPr algn="l" rtl="0"/>
            <a:endParaRPr lang="en-GB" sz="2200" b="0" i="0" dirty="0">
              <a:solidFill>
                <a:schemeClr val="bg1"/>
              </a:solidFill>
              <a:effectLst/>
              <a:highlight>
                <a:srgbClr val="E53292"/>
              </a:highlight>
            </a:endParaRPr>
          </a:p>
          <a:p>
            <a:pPr algn="l" rtl="0"/>
            <a:r>
              <a:rPr lang="en-GB" sz="2200" b="1" i="0" dirty="0" err="1">
                <a:solidFill>
                  <a:srgbClr val="595959"/>
                </a:solidFill>
                <a:effectLst/>
              </a:rPr>
              <a:t>Dr.</a:t>
            </a:r>
            <a:r>
              <a:rPr lang="en-GB" sz="2200" b="1" i="0" dirty="0">
                <a:solidFill>
                  <a:srgbClr val="595959"/>
                </a:solidFill>
                <a:effectLst/>
              </a:rPr>
              <a:t>de John Kotter</a:t>
            </a:r>
            <a:r>
              <a:rPr lang="en-GB" sz="2200" b="0" i="0" dirty="0">
                <a:solidFill>
                  <a:srgbClr val="595959"/>
                </a:solidFill>
                <a:effectLst/>
              </a:rPr>
              <a:t>asumir Las diferencias clave entre liderar y administrar</a:t>
            </a:r>
          </a:p>
        </p:txBody>
      </p:sp>
      <p:sp>
        <p:nvSpPr>
          <p:cNvPr id="9" name="Oval 8">
            <a:extLst>
              <a:ext uri="{FF2B5EF4-FFF2-40B4-BE49-F238E27FC236}">
                <a16:creationId xmlns:a16="http://schemas.microsoft.com/office/drawing/2014/main" id="{9C635362-892D-BEDB-2ADC-F5769AF78447}"/>
              </a:ext>
            </a:extLst>
          </p:cNvPr>
          <p:cNvSpPr/>
          <p:nvPr/>
        </p:nvSpPr>
        <p:spPr>
          <a:xfrm rot="21231927">
            <a:off x="6183011" y="2833458"/>
            <a:ext cx="1720645" cy="172064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2200" b="1" dirty="0">
                <a:solidFill>
                  <a:schemeClr val="bg1"/>
                </a:solidFill>
              </a:rPr>
              <a:t>HAGA CLIC PARA</a:t>
            </a:r>
            <a:r>
              <a:rPr lang="en-US" sz="2200" b="1" dirty="0">
                <a:solidFill>
                  <a:schemeClr val="bg1"/>
                </a:solidFill>
                <a:hlinkClick r:id="rId7">
                  <a:extLst>
                    <a:ext uri="{A12FA001-AC4F-418D-AE19-62706E023703}">
                      <ahyp:hlinkClr xmlns:ahyp="http://schemas.microsoft.com/office/drawing/2018/hyperlinkcolor" val="tx"/>
                    </a:ext>
                  </a:extLst>
                </a:hlinkClick>
              </a:rPr>
              <a:t>RELOJ</a:t>
            </a:r>
            <a:endParaRPr lang="en-US" sz="2200" b="1" dirty="0">
              <a:solidFill>
                <a:schemeClr val="bg1"/>
              </a:solidFill>
            </a:endParaRPr>
          </a:p>
        </p:txBody>
      </p:sp>
      <p:sp>
        <p:nvSpPr>
          <p:cNvPr id="10" name="Rectangle 9">
            <a:extLst>
              <a:ext uri="{FF2B5EF4-FFF2-40B4-BE49-F238E27FC236}">
                <a16:creationId xmlns:a16="http://schemas.microsoft.com/office/drawing/2014/main" id="{1490067A-04ED-1D8C-7FF5-90ACE972BEDF}"/>
              </a:ext>
            </a:extLst>
          </p:cNvPr>
          <p:cNvSpPr/>
          <p:nvPr/>
        </p:nvSpPr>
        <p:spPr>
          <a:xfrm>
            <a:off x="734714" y="1989501"/>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Tree>
    <p:extLst>
      <p:ext uri="{BB962C8B-B14F-4D97-AF65-F5344CB8AC3E}">
        <p14:creationId xmlns:p14="http://schemas.microsoft.com/office/powerpoint/2010/main" val="21239794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409"/>
            <a:ext cx="12192000" cy="305780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3577548" y="386515"/>
            <a:ext cx="8542452" cy="3697221"/>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r>
              <a:rPr lang="en-US" dirty="0">
                <a:solidFill>
                  <a:schemeClr val="bg1"/>
                </a:solidFill>
              </a:rPr>
              <a:t>No existe una receta de éxito para administrar una empresa en una crisis. Si "la única" decisión correcta no existe, el objetivo debe ser encontrar la solución que sea lo suficientemente buena. Esto conduce inevitablemente al problema de que los gerentes tienen que atender las expectativas y necesidades obvias de la empresa y los empleados en cuanto a seguridad y orientación, que en sí mismas crean suficiente presión. Además, la crisis en el "backstage" requiere que los gerentes enfrenten contradicciones, incertidumbres, dilemas y deseos y temores personales.</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28209" y="344177"/>
            <a:ext cx="2521129" cy="353402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Liderazgo en la Crisis - Resiliencia en lugar de Eficiencia</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2077450" y="1568177"/>
            <a:ext cx="2484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2" name="Shape 24605">
            <a:extLst>
              <a:ext uri="{FF2B5EF4-FFF2-40B4-BE49-F238E27FC236}">
                <a16:creationId xmlns:a16="http://schemas.microsoft.com/office/drawing/2014/main" id="{79653D1F-8424-FEFE-4627-13492D8AC69F}"/>
              </a:ext>
            </a:extLst>
          </p:cNvPr>
          <p:cNvSpPr/>
          <p:nvPr/>
        </p:nvSpPr>
        <p:spPr>
          <a:xfrm>
            <a:off x="4318070" y="5882127"/>
            <a:ext cx="1591130" cy="645532"/>
          </a:xfrm>
          <a:custGeom>
            <a:avLst/>
            <a:gdLst/>
            <a:ahLst/>
            <a:cxnLst>
              <a:cxn ang="0">
                <a:pos x="wd2" y="hd2"/>
              </a:cxn>
              <a:cxn ang="5400000">
                <a:pos x="wd2" y="hd2"/>
              </a:cxn>
              <a:cxn ang="10800000">
                <a:pos x="wd2" y="hd2"/>
              </a:cxn>
              <a:cxn ang="16200000">
                <a:pos x="wd2" y="hd2"/>
              </a:cxn>
            </a:cxnLst>
            <a:rect l="0" t="0" r="r" b="b"/>
            <a:pathLst>
              <a:path w="21600" h="21600" extrusionOk="0">
                <a:moveTo>
                  <a:pt x="13989" y="0"/>
                </a:moveTo>
                <a:lnTo>
                  <a:pt x="0" y="21600"/>
                </a:lnTo>
                <a:lnTo>
                  <a:pt x="7611" y="21600"/>
                </a:lnTo>
                <a:lnTo>
                  <a:pt x="21600" y="0"/>
                </a:lnTo>
                <a:lnTo>
                  <a:pt x="13989" y="0"/>
                </a:lnTo>
                <a:close/>
              </a:path>
            </a:pathLst>
          </a:custGeom>
          <a:solidFill>
            <a:schemeClr val="bg1">
              <a:lumMod val="95000"/>
            </a:schemeClr>
          </a:solidFill>
          <a:ln w="12700" cap="flat">
            <a:noFill/>
            <a:miter lim="400000"/>
          </a:ln>
          <a:effectLst/>
        </p:spPr>
        <p:txBody>
          <a:bodyPr wrap="square" lIns="0" tIns="0" rIns="0" bIns="0" numCol="1" anchor="t">
            <a:noAutofit/>
          </a:bodyPr>
          <a:lstStyle/>
          <a:p>
            <a:pPr algn="l" rtl="0"/>
            <a:endParaRPr lang="en-GB" sz="1899" dirty="0">
              <a:latin typeface="Lato Light" panose="020F0502020204030203" pitchFamily="34" charset="0"/>
            </a:endParaRPr>
          </a:p>
        </p:txBody>
      </p:sp>
      <p:sp>
        <p:nvSpPr>
          <p:cNvPr id="3" name="Shape 24606">
            <a:extLst>
              <a:ext uri="{FF2B5EF4-FFF2-40B4-BE49-F238E27FC236}">
                <a16:creationId xmlns:a16="http://schemas.microsoft.com/office/drawing/2014/main" id="{D5922071-A0A7-588F-8389-463EA2AA900B}"/>
              </a:ext>
            </a:extLst>
          </p:cNvPr>
          <p:cNvSpPr/>
          <p:nvPr/>
        </p:nvSpPr>
        <p:spPr>
          <a:xfrm rot="1560000">
            <a:off x="4455465" y="4620095"/>
            <a:ext cx="477164" cy="1872208"/>
          </a:xfrm>
          <a:prstGeom prst="rect">
            <a:avLst/>
          </a:prstGeom>
          <a:solidFill>
            <a:srgbClr val="EDA13E"/>
          </a:solidFill>
          <a:ln w="12700" cap="flat">
            <a:noFill/>
            <a:miter lim="400000"/>
          </a:ln>
          <a:effectLst/>
        </p:spPr>
        <p:txBody>
          <a:bodyPr wrap="square" lIns="26796" tIns="26796" rIns="26796" bIns="26796" numCol="1" anchor="ctr">
            <a:noAutofit/>
          </a:bodyPr>
          <a:lstStyle/>
          <a:p>
            <a:pPr algn="l" rtl="0"/>
            <a:endParaRPr lang="en-GB" sz="1899" dirty="0">
              <a:latin typeface="Lato Light" panose="020F0502020204030203" pitchFamily="34" charset="0"/>
            </a:endParaRPr>
          </a:p>
        </p:txBody>
      </p:sp>
      <p:sp>
        <p:nvSpPr>
          <p:cNvPr id="4" name="Shape 24607">
            <a:extLst>
              <a:ext uri="{FF2B5EF4-FFF2-40B4-BE49-F238E27FC236}">
                <a16:creationId xmlns:a16="http://schemas.microsoft.com/office/drawing/2014/main" id="{D81137A5-620B-30E4-5B1D-862665569BA3}"/>
              </a:ext>
            </a:extLst>
          </p:cNvPr>
          <p:cNvSpPr/>
          <p:nvPr/>
        </p:nvSpPr>
        <p:spPr>
          <a:xfrm rot="1560000">
            <a:off x="4898757" y="4537908"/>
            <a:ext cx="715973" cy="233653"/>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rgbClr val="F16924"/>
          </a:solidFill>
          <a:ln w="12700" cap="flat">
            <a:noFill/>
            <a:miter lim="400000"/>
          </a:ln>
          <a:effectLst/>
        </p:spPr>
        <p:txBody>
          <a:bodyPr wrap="square" lIns="26796" tIns="26796" rIns="26796" bIns="26796" numCol="1" anchor="ctr">
            <a:noAutofit/>
          </a:bodyPr>
          <a:lstStyle/>
          <a:p>
            <a:pPr algn="l" rtl="0"/>
            <a:endParaRPr lang="en-GB" sz="1899" dirty="0">
              <a:latin typeface="Lato Light" panose="020F0502020204030203" pitchFamily="34" charset="0"/>
            </a:endParaRPr>
          </a:p>
        </p:txBody>
      </p:sp>
      <p:sp>
        <p:nvSpPr>
          <p:cNvPr id="5" name="Shape 24608">
            <a:extLst>
              <a:ext uri="{FF2B5EF4-FFF2-40B4-BE49-F238E27FC236}">
                <a16:creationId xmlns:a16="http://schemas.microsoft.com/office/drawing/2014/main" id="{C2F04A93-003C-0008-FCD5-31FEE66AE3C0}"/>
              </a:ext>
            </a:extLst>
          </p:cNvPr>
          <p:cNvSpPr/>
          <p:nvPr/>
        </p:nvSpPr>
        <p:spPr>
          <a:xfrm rot="1560000">
            <a:off x="4941943" y="4546480"/>
            <a:ext cx="238582" cy="2107234"/>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rgbClr val="F16924"/>
          </a:solidFill>
          <a:ln w="12700" cap="flat">
            <a:noFill/>
            <a:miter lim="400000"/>
          </a:ln>
          <a:effectLst/>
        </p:spPr>
        <p:txBody>
          <a:bodyPr wrap="square" lIns="26796" tIns="26796" rIns="26796" bIns="26796" numCol="1" anchor="ctr">
            <a:noAutofit/>
          </a:bodyPr>
          <a:lstStyle/>
          <a:p>
            <a:pPr algn="l" rtl="0"/>
            <a:endParaRPr lang="en-GB" sz="1899" dirty="0">
              <a:latin typeface="Lato Light" panose="020F0502020204030203" pitchFamily="34" charset="0"/>
            </a:endParaRPr>
          </a:p>
        </p:txBody>
      </p:sp>
      <p:sp>
        <p:nvSpPr>
          <p:cNvPr id="6" name="Shape 24605">
            <a:extLst>
              <a:ext uri="{FF2B5EF4-FFF2-40B4-BE49-F238E27FC236}">
                <a16:creationId xmlns:a16="http://schemas.microsoft.com/office/drawing/2014/main" id="{C3E78A03-5E65-1118-259D-2EFBFFE1CC4C}"/>
              </a:ext>
            </a:extLst>
          </p:cNvPr>
          <p:cNvSpPr/>
          <p:nvPr/>
        </p:nvSpPr>
        <p:spPr>
          <a:xfrm>
            <a:off x="5224709" y="5912708"/>
            <a:ext cx="1591130" cy="645532"/>
          </a:xfrm>
          <a:custGeom>
            <a:avLst/>
            <a:gdLst/>
            <a:ahLst/>
            <a:cxnLst>
              <a:cxn ang="0">
                <a:pos x="wd2" y="hd2"/>
              </a:cxn>
              <a:cxn ang="5400000">
                <a:pos x="wd2" y="hd2"/>
              </a:cxn>
              <a:cxn ang="10800000">
                <a:pos x="wd2" y="hd2"/>
              </a:cxn>
              <a:cxn ang="16200000">
                <a:pos x="wd2" y="hd2"/>
              </a:cxn>
            </a:cxnLst>
            <a:rect l="0" t="0" r="r" b="b"/>
            <a:pathLst>
              <a:path w="21600" h="21600" extrusionOk="0">
                <a:moveTo>
                  <a:pt x="13989" y="0"/>
                </a:moveTo>
                <a:lnTo>
                  <a:pt x="0" y="21600"/>
                </a:lnTo>
                <a:lnTo>
                  <a:pt x="7611" y="21600"/>
                </a:lnTo>
                <a:lnTo>
                  <a:pt x="21600" y="0"/>
                </a:lnTo>
                <a:lnTo>
                  <a:pt x="13989" y="0"/>
                </a:lnTo>
                <a:close/>
              </a:path>
            </a:pathLst>
          </a:custGeom>
          <a:solidFill>
            <a:schemeClr val="bg1">
              <a:lumMod val="95000"/>
            </a:schemeClr>
          </a:solidFill>
          <a:ln w="12700" cap="flat">
            <a:noFill/>
            <a:miter lim="400000"/>
          </a:ln>
          <a:effectLst/>
        </p:spPr>
        <p:txBody>
          <a:bodyPr wrap="square" lIns="0" tIns="0" rIns="0" bIns="0" numCol="1" anchor="t">
            <a:noAutofit/>
          </a:bodyPr>
          <a:lstStyle/>
          <a:p>
            <a:pPr algn="l" rtl="0"/>
            <a:endParaRPr lang="en-GB" sz="1899" dirty="0">
              <a:latin typeface="Lato Light" panose="020F0502020204030203" pitchFamily="34" charset="0"/>
            </a:endParaRPr>
          </a:p>
        </p:txBody>
      </p:sp>
      <p:sp>
        <p:nvSpPr>
          <p:cNvPr id="7" name="Shape 24606">
            <a:extLst>
              <a:ext uri="{FF2B5EF4-FFF2-40B4-BE49-F238E27FC236}">
                <a16:creationId xmlns:a16="http://schemas.microsoft.com/office/drawing/2014/main" id="{A845EB47-81D6-2367-DD2D-7205B68C022E}"/>
              </a:ext>
            </a:extLst>
          </p:cNvPr>
          <p:cNvSpPr/>
          <p:nvPr/>
        </p:nvSpPr>
        <p:spPr>
          <a:xfrm rot="1560000">
            <a:off x="5362103" y="4650676"/>
            <a:ext cx="477164" cy="1872208"/>
          </a:xfrm>
          <a:prstGeom prst="rect">
            <a:avLst/>
          </a:prstGeom>
          <a:solidFill>
            <a:srgbClr val="EDA13E"/>
          </a:solidFill>
          <a:ln w="12700" cap="flat">
            <a:noFill/>
            <a:miter lim="400000"/>
          </a:ln>
          <a:effectLst/>
        </p:spPr>
        <p:txBody>
          <a:bodyPr wrap="square" lIns="26796" tIns="26796" rIns="26796" bIns="26796" numCol="1" anchor="ctr">
            <a:noAutofit/>
          </a:bodyPr>
          <a:lstStyle/>
          <a:p>
            <a:pPr algn="l" rtl="0"/>
            <a:endParaRPr lang="en-GB" sz="1899" dirty="0">
              <a:latin typeface="Lato Light" panose="020F0502020204030203" pitchFamily="34" charset="0"/>
            </a:endParaRPr>
          </a:p>
        </p:txBody>
      </p:sp>
      <p:sp>
        <p:nvSpPr>
          <p:cNvPr id="8" name="Shape 24607">
            <a:extLst>
              <a:ext uri="{FF2B5EF4-FFF2-40B4-BE49-F238E27FC236}">
                <a16:creationId xmlns:a16="http://schemas.microsoft.com/office/drawing/2014/main" id="{74EED13D-6856-FDF3-4B2C-79E0822CC915}"/>
              </a:ext>
            </a:extLst>
          </p:cNvPr>
          <p:cNvSpPr/>
          <p:nvPr/>
        </p:nvSpPr>
        <p:spPr>
          <a:xfrm rot="1560000">
            <a:off x="5805395" y="4568488"/>
            <a:ext cx="715973" cy="233653"/>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rgbClr val="F16924"/>
          </a:solidFill>
          <a:ln w="12700" cap="flat">
            <a:noFill/>
            <a:miter lim="400000"/>
          </a:ln>
          <a:effectLst/>
        </p:spPr>
        <p:txBody>
          <a:bodyPr wrap="square" lIns="26796" tIns="26796" rIns="26796" bIns="26796" numCol="1" anchor="ctr">
            <a:noAutofit/>
          </a:bodyPr>
          <a:lstStyle/>
          <a:p>
            <a:pPr algn="l" rtl="0"/>
            <a:endParaRPr lang="en-GB" sz="1899" dirty="0">
              <a:latin typeface="Lato Light" panose="020F0502020204030203" pitchFamily="34" charset="0"/>
            </a:endParaRPr>
          </a:p>
        </p:txBody>
      </p:sp>
      <p:sp>
        <p:nvSpPr>
          <p:cNvPr id="9" name="Shape 24608">
            <a:extLst>
              <a:ext uri="{FF2B5EF4-FFF2-40B4-BE49-F238E27FC236}">
                <a16:creationId xmlns:a16="http://schemas.microsoft.com/office/drawing/2014/main" id="{83C3FF9D-19E6-F507-A412-49717B7B608F}"/>
              </a:ext>
            </a:extLst>
          </p:cNvPr>
          <p:cNvSpPr/>
          <p:nvPr/>
        </p:nvSpPr>
        <p:spPr>
          <a:xfrm rot="1560000">
            <a:off x="5848581" y="4577061"/>
            <a:ext cx="238582" cy="2107234"/>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rgbClr val="F16924"/>
          </a:solidFill>
          <a:ln w="12700" cap="flat">
            <a:noFill/>
            <a:miter lim="400000"/>
          </a:ln>
          <a:effectLst/>
        </p:spPr>
        <p:txBody>
          <a:bodyPr wrap="square" lIns="26796" tIns="26796" rIns="26796" bIns="26796" numCol="1" anchor="ctr">
            <a:noAutofit/>
          </a:bodyPr>
          <a:lstStyle/>
          <a:p>
            <a:pPr algn="l" rtl="0"/>
            <a:endParaRPr lang="en-GB" sz="1899" dirty="0">
              <a:latin typeface="Lato Light" panose="020F0502020204030203" pitchFamily="34" charset="0"/>
            </a:endParaRPr>
          </a:p>
        </p:txBody>
      </p:sp>
      <p:sp>
        <p:nvSpPr>
          <p:cNvPr id="10" name="Shape 24581">
            <a:extLst>
              <a:ext uri="{FF2B5EF4-FFF2-40B4-BE49-F238E27FC236}">
                <a16:creationId xmlns:a16="http://schemas.microsoft.com/office/drawing/2014/main" id="{4B769672-512C-BCDE-BD72-8B5845A2E4B9}"/>
              </a:ext>
            </a:extLst>
          </p:cNvPr>
          <p:cNvSpPr/>
          <p:nvPr/>
        </p:nvSpPr>
        <p:spPr>
          <a:xfrm>
            <a:off x="8793993" y="5898167"/>
            <a:ext cx="1243424" cy="645532"/>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pPr algn="l" rtl="0"/>
            <a:endParaRPr lang="en-GB" sz="1899" dirty="0">
              <a:latin typeface="Lato Light" panose="020F0502020204030203" pitchFamily="34" charset="0"/>
            </a:endParaRPr>
          </a:p>
        </p:txBody>
      </p:sp>
      <p:sp>
        <p:nvSpPr>
          <p:cNvPr id="11" name="Shape 24582">
            <a:extLst>
              <a:ext uri="{FF2B5EF4-FFF2-40B4-BE49-F238E27FC236}">
                <a16:creationId xmlns:a16="http://schemas.microsoft.com/office/drawing/2014/main" id="{40DEE60E-9C75-3651-3EF5-97B54C712673}"/>
              </a:ext>
            </a:extLst>
          </p:cNvPr>
          <p:cNvSpPr/>
          <p:nvPr/>
        </p:nvSpPr>
        <p:spPr>
          <a:xfrm>
            <a:off x="8821848" y="4648372"/>
            <a:ext cx="477164" cy="1872208"/>
          </a:xfrm>
          <a:prstGeom prst="rect">
            <a:avLst/>
          </a:prstGeom>
          <a:solidFill>
            <a:srgbClr val="B41F7A"/>
          </a:solidFill>
          <a:ln w="12700" cap="flat">
            <a:noFill/>
            <a:miter lim="400000"/>
          </a:ln>
          <a:effectLst/>
        </p:spPr>
        <p:txBody>
          <a:bodyPr wrap="square" lIns="26796" tIns="26796" rIns="26796" bIns="26796" numCol="1" anchor="ctr">
            <a:noAutofit/>
          </a:bodyPr>
          <a:lstStyle/>
          <a:p>
            <a:pPr algn="l" rtl="0"/>
            <a:endParaRPr lang="en-GB" sz="1899" dirty="0">
              <a:latin typeface="Lato Light" panose="020F0502020204030203" pitchFamily="34" charset="0"/>
            </a:endParaRPr>
          </a:p>
        </p:txBody>
      </p:sp>
      <p:sp>
        <p:nvSpPr>
          <p:cNvPr id="12" name="Shape 24583">
            <a:extLst>
              <a:ext uri="{FF2B5EF4-FFF2-40B4-BE49-F238E27FC236}">
                <a16:creationId xmlns:a16="http://schemas.microsoft.com/office/drawing/2014/main" id="{98060724-580C-6079-5D89-2A52447F327E}"/>
              </a:ext>
            </a:extLst>
          </p:cNvPr>
          <p:cNvSpPr/>
          <p:nvPr/>
        </p:nvSpPr>
        <p:spPr>
          <a:xfrm>
            <a:off x="8813079" y="4430193"/>
            <a:ext cx="714267" cy="233653"/>
          </a:xfrm>
          <a:custGeom>
            <a:avLst/>
            <a:gdLst/>
            <a:ahLst/>
            <a:cxnLst>
              <a:cxn ang="0">
                <a:pos x="wd2" y="hd2"/>
              </a:cxn>
              <a:cxn ang="5400000">
                <a:pos x="wd2" y="hd2"/>
              </a:cxn>
              <a:cxn ang="10800000">
                <a:pos x="wd2" y="hd2"/>
              </a:cxn>
              <a:cxn ang="16200000">
                <a:pos x="wd2" y="hd2"/>
              </a:cxn>
            </a:cxnLst>
            <a:rect l="0" t="0" r="r" b="b"/>
            <a:pathLst>
              <a:path w="21600" h="21600" extrusionOk="0">
                <a:moveTo>
                  <a:pt x="7222" y="149"/>
                </a:moveTo>
                <a:lnTo>
                  <a:pt x="21600" y="0"/>
                </a:lnTo>
                <a:lnTo>
                  <a:pt x="14585" y="21600"/>
                </a:lnTo>
                <a:lnTo>
                  <a:pt x="0" y="21600"/>
                </a:lnTo>
                <a:lnTo>
                  <a:pt x="7222" y="149"/>
                </a:lnTo>
                <a:close/>
              </a:path>
            </a:pathLst>
          </a:custGeom>
          <a:solidFill>
            <a:srgbClr val="7F1C58"/>
          </a:solidFill>
          <a:ln w="12700" cap="flat">
            <a:noFill/>
            <a:miter lim="400000"/>
          </a:ln>
          <a:effectLst/>
        </p:spPr>
        <p:txBody>
          <a:bodyPr wrap="square" lIns="26796" tIns="26796" rIns="26796" bIns="26796" numCol="1" anchor="ctr">
            <a:noAutofit/>
          </a:bodyPr>
          <a:lstStyle/>
          <a:p>
            <a:pPr algn="l" rtl="0"/>
            <a:endParaRPr lang="en-GB" sz="1899" dirty="0">
              <a:latin typeface="Lato Light" panose="020F0502020204030203" pitchFamily="34" charset="0"/>
            </a:endParaRPr>
          </a:p>
        </p:txBody>
      </p:sp>
      <p:sp>
        <p:nvSpPr>
          <p:cNvPr id="13" name="Shape 24584">
            <a:extLst>
              <a:ext uri="{FF2B5EF4-FFF2-40B4-BE49-F238E27FC236}">
                <a16:creationId xmlns:a16="http://schemas.microsoft.com/office/drawing/2014/main" id="{41830227-B52E-9E4A-C3D8-D3E40899776C}"/>
              </a:ext>
            </a:extLst>
          </p:cNvPr>
          <p:cNvSpPr/>
          <p:nvPr/>
        </p:nvSpPr>
        <p:spPr>
          <a:xfrm>
            <a:off x="9290408" y="4408916"/>
            <a:ext cx="238582" cy="2107234"/>
          </a:xfrm>
          <a:custGeom>
            <a:avLst/>
            <a:gdLst/>
            <a:ahLst/>
            <a:cxnLst>
              <a:cxn ang="0">
                <a:pos x="wd2" y="hd2"/>
              </a:cxn>
              <a:cxn ang="5400000">
                <a:pos x="wd2" y="hd2"/>
              </a:cxn>
              <a:cxn ang="10800000">
                <a:pos x="wd2" y="hd2"/>
              </a:cxn>
              <a:cxn ang="16200000">
                <a:pos x="wd2" y="hd2"/>
              </a:cxn>
            </a:cxnLst>
            <a:rect l="0" t="0" r="r" b="b"/>
            <a:pathLst>
              <a:path w="21600" h="21600" extrusionOk="0">
                <a:moveTo>
                  <a:pt x="0" y="2399"/>
                </a:moveTo>
                <a:lnTo>
                  <a:pt x="21485" y="0"/>
                </a:lnTo>
                <a:lnTo>
                  <a:pt x="21600" y="18556"/>
                </a:lnTo>
                <a:lnTo>
                  <a:pt x="0" y="21600"/>
                </a:lnTo>
                <a:lnTo>
                  <a:pt x="0" y="2399"/>
                </a:lnTo>
                <a:close/>
              </a:path>
            </a:pathLst>
          </a:custGeom>
          <a:solidFill>
            <a:srgbClr val="7F1C58"/>
          </a:solidFill>
          <a:ln w="12700" cap="flat">
            <a:noFill/>
            <a:miter lim="400000"/>
          </a:ln>
          <a:effectLst/>
        </p:spPr>
        <p:txBody>
          <a:bodyPr wrap="square" lIns="26796" tIns="26796" rIns="26796" bIns="26796" numCol="1" anchor="ctr">
            <a:noAutofit/>
          </a:bodyPr>
          <a:lstStyle/>
          <a:p>
            <a:pPr algn="l" rtl="0"/>
            <a:endParaRPr lang="en-GB" sz="1899" dirty="0">
              <a:latin typeface="Lato Light" panose="020F0502020204030203" pitchFamily="34" charset="0"/>
            </a:endParaRPr>
          </a:p>
        </p:txBody>
      </p:sp>
      <p:sp>
        <p:nvSpPr>
          <p:cNvPr id="14" name="Shape 24593">
            <a:extLst>
              <a:ext uri="{FF2B5EF4-FFF2-40B4-BE49-F238E27FC236}">
                <a16:creationId xmlns:a16="http://schemas.microsoft.com/office/drawing/2014/main" id="{E7DD5A71-A84D-D9C0-6820-C93BDDCCA920}"/>
              </a:ext>
            </a:extLst>
          </p:cNvPr>
          <p:cNvSpPr/>
          <p:nvPr/>
        </p:nvSpPr>
        <p:spPr>
          <a:xfrm>
            <a:off x="9751459" y="5898167"/>
            <a:ext cx="1243424" cy="645532"/>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pPr algn="l" rtl="0"/>
            <a:endParaRPr lang="en-GB" sz="1899" dirty="0">
              <a:latin typeface="Lato Light" panose="020F0502020204030203" pitchFamily="34" charset="0"/>
            </a:endParaRPr>
          </a:p>
        </p:txBody>
      </p:sp>
      <p:sp>
        <p:nvSpPr>
          <p:cNvPr id="23" name="Shape 24594">
            <a:extLst>
              <a:ext uri="{FF2B5EF4-FFF2-40B4-BE49-F238E27FC236}">
                <a16:creationId xmlns:a16="http://schemas.microsoft.com/office/drawing/2014/main" id="{C5E103D1-8B56-F02A-CC05-257061D34D88}"/>
              </a:ext>
            </a:extLst>
          </p:cNvPr>
          <p:cNvSpPr/>
          <p:nvPr/>
        </p:nvSpPr>
        <p:spPr>
          <a:xfrm>
            <a:off x="9779315" y="4647938"/>
            <a:ext cx="477164" cy="1872208"/>
          </a:xfrm>
          <a:prstGeom prst="rect">
            <a:avLst/>
          </a:prstGeom>
          <a:solidFill>
            <a:srgbClr val="B41F7A"/>
          </a:solidFill>
          <a:ln w="12700" cap="flat">
            <a:noFill/>
            <a:miter lim="400000"/>
          </a:ln>
          <a:effectLst/>
        </p:spPr>
        <p:txBody>
          <a:bodyPr wrap="square" lIns="26796" tIns="26796" rIns="26796" bIns="26796" numCol="1" anchor="ctr">
            <a:noAutofit/>
          </a:bodyPr>
          <a:lstStyle/>
          <a:p>
            <a:pPr algn="l" rtl="0"/>
            <a:endParaRPr lang="en-GB" sz="1899" dirty="0">
              <a:latin typeface="Lato Light" panose="020F0502020204030203" pitchFamily="34" charset="0"/>
            </a:endParaRPr>
          </a:p>
        </p:txBody>
      </p:sp>
      <p:sp>
        <p:nvSpPr>
          <p:cNvPr id="24" name="Shape 24595">
            <a:extLst>
              <a:ext uri="{FF2B5EF4-FFF2-40B4-BE49-F238E27FC236}">
                <a16:creationId xmlns:a16="http://schemas.microsoft.com/office/drawing/2014/main" id="{A592BD3B-8F8F-2B94-026F-0858B41067AE}"/>
              </a:ext>
            </a:extLst>
          </p:cNvPr>
          <p:cNvSpPr/>
          <p:nvPr/>
        </p:nvSpPr>
        <p:spPr>
          <a:xfrm>
            <a:off x="9770548" y="4430193"/>
            <a:ext cx="714267" cy="233653"/>
          </a:xfrm>
          <a:custGeom>
            <a:avLst/>
            <a:gdLst/>
            <a:ahLst/>
            <a:cxnLst>
              <a:cxn ang="0">
                <a:pos x="wd2" y="hd2"/>
              </a:cxn>
              <a:cxn ang="5400000">
                <a:pos x="wd2" y="hd2"/>
              </a:cxn>
              <a:cxn ang="10800000">
                <a:pos x="wd2" y="hd2"/>
              </a:cxn>
              <a:cxn ang="16200000">
                <a:pos x="wd2" y="hd2"/>
              </a:cxn>
            </a:cxnLst>
            <a:rect l="0" t="0" r="r" b="b"/>
            <a:pathLst>
              <a:path w="21600" h="21600" extrusionOk="0">
                <a:moveTo>
                  <a:pt x="7222" y="149"/>
                </a:moveTo>
                <a:lnTo>
                  <a:pt x="21600" y="0"/>
                </a:lnTo>
                <a:lnTo>
                  <a:pt x="14585" y="21600"/>
                </a:lnTo>
                <a:lnTo>
                  <a:pt x="0" y="21600"/>
                </a:lnTo>
                <a:lnTo>
                  <a:pt x="7222" y="149"/>
                </a:lnTo>
                <a:close/>
              </a:path>
            </a:pathLst>
          </a:custGeom>
          <a:solidFill>
            <a:srgbClr val="7F1C58"/>
          </a:solidFill>
          <a:ln w="12700" cap="flat">
            <a:noFill/>
            <a:miter lim="400000"/>
          </a:ln>
          <a:effectLst/>
        </p:spPr>
        <p:txBody>
          <a:bodyPr wrap="square" lIns="26796" tIns="26796" rIns="26796" bIns="26796" numCol="1" anchor="ctr">
            <a:noAutofit/>
          </a:bodyPr>
          <a:lstStyle/>
          <a:p>
            <a:pPr algn="l" rtl="0"/>
            <a:endParaRPr lang="en-GB" sz="1899" dirty="0">
              <a:latin typeface="Lato Light" panose="020F0502020204030203" pitchFamily="34" charset="0"/>
            </a:endParaRPr>
          </a:p>
        </p:txBody>
      </p:sp>
      <p:sp>
        <p:nvSpPr>
          <p:cNvPr id="30" name="Shape 24596">
            <a:extLst>
              <a:ext uri="{FF2B5EF4-FFF2-40B4-BE49-F238E27FC236}">
                <a16:creationId xmlns:a16="http://schemas.microsoft.com/office/drawing/2014/main" id="{84B81534-838E-D7E0-07FA-4B5B77A2CFA9}"/>
              </a:ext>
            </a:extLst>
          </p:cNvPr>
          <p:cNvSpPr/>
          <p:nvPr/>
        </p:nvSpPr>
        <p:spPr>
          <a:xfrm>
            <a:off x="10247878" y="4408916"/>
            <a:ext cx="238582" cy="2107234"/>
          </a:xfrm>
          <a:custGeom>
            <a:avLst/>
            <a:gdLst/>
            <a:ahLst/>
            <a:cxnLst>
              <a:cxn ang="0">
                <a:pos x="wd2" y="hd2"/>
              </a:cxn>
              <a:cxn ang="5400000">
                <a:pos x="wd2" y="hd2"/>
              </a:cxn>
              <a:cxn ang="10800000">
                <a:pos x="wd2" y="hd2"/>
              </a:cxn>
              <a:cxn ang="16200000">
                <a:pos x="wd2" y="hd2"/>
              </a:cxn>
            </a:cxnLst>
            <a:rect l="0" t="0" r="r" b="b"/>
            <a:pathLst>
              <a:path w="21600" h="21600" extrusionOk="0">
                <a:moveTo>
                  <a:pt x="0" y="2399"/>
                </a:moveTo>
                <a:lnTo>
                  <a:pt x="21485" y="0"/>
                </a:lnTo>
                <a:lnTo>
                  <a:pt x="21600" y="18556"/>
                </a:lnTo>
                <a:lnTo>
                  <a:pt x="0" y="21600"/>
                </a:lnTo>
                <a:lnTo>
                  <a:pt x="0" y="2399"/>
                </a:lnTo>
                <a:close/>
              </a:path>
            </a:pathLst>
          </a:custGeom>
          <a:solidFill>
            <a:srgbClr val="7F1C58"/>
          </a:solidFill>
          <a:ln w="12700" cap="flat">
            <a:noFill/>
            <a:miter lim="400000"/>
          </a:ln>
          <a:effectLst/>
        </p:spPr>
        <p:txBody>
          <a:bodyPr wrap="square" lIns="26796" tIns="26796" rIns="26796" bIns="26796" numCol="1" anchor="ctr">
            <a:noAutofit/>
          </a:bodyPr>
          <a:lstStyle/>
          <a:p>
            <a:pPr algn="l" rtl="0"/>
            <a:endParaRPr lang="en-GB" sz="1899" dirty="0">
              <a:latin typeface="Lato Light" panose="020F0502020204030203" pitchFamily="34" charset="0"/>
            </a:endParaRPr>
          </a:p>
        </p:txBody>
      </p:sp>
      <p:sp>
        <p:nvSpPr>
          <p:cNvPr id="56" name="Shape 24605">
            <a:extLst>
              <a:ext uri="{FF2B5EF4-FFF2-40B4-BE49-F238E27FC236}">
                <a16:creationId xmlns:a16="http://schemas.microsoft.com/office/drawing/2014/main" id="{45F999A2-E2B7-5703-A09B-503873C09918}"/>
              </a:ext>
            </a:extLst>
          </p:cNvPr>
          <p:cNvSpPr/>
          <p:nvPr/>
        </p:nvSpPr>
        <p:spPr>
          <a:xfrm>
            <a:off x="6136450" y="5895328"/>
            <a:ext cx="1591130" cy="645532"/>
          </a:xfrm>
          <a:custGeom>
            <a:avLst/>
            <a:gdLst/>
            <a:ahLst/>
            <a:cxnLst>
              <a:cxn ang="0">
                <a:pos x="wd2" y="hd2"/>
              </a:cxn>
              <a:cxn ang="5400000">
                <a:pos x="wd2" y="hd2"/>
              </a:cxn>
              <a:cxn ang="10800000">
                <a:pos x="wd2" y="hd2"/>
              </a:cxn>
              <a:cxn ang="16200000">
                <a:pos x="wd2" y="hd2"/>
              </a:cxn>
            </a:cxnLst>
            <a:rect l="0" t="0" r="r" b="b"/>
            <a:pathLst>
              <a:path w="21600" h="21600" extrusionOk="0">
                <a:moveTo>
                  <a:pt x="13989" y="0"/>
                </a:moveTo>
                <a:lnTo>
                  <a:pt x="0" y="21600"/>
                </a:lnTo>
                <a:lnTo>
                  <a:pt x="7611" y="21600"/>
                </a:lnTo>
                <a:lnTo>
                  <a:pt x="21600" y="0"/>
                </a:lnTo>
                <a:lnTo>
                  <a:pt x="13989" y="0"/>
                </a:lnTo>
                <a:close/>
              </a:path>
            </a:pathLst>
          </a:custGeom>
          <a:solidFill>
            <a:schemeClr val="bg1">
              <a:lumMod val="95000"/>
            </a:schemeClr>
          </a:solidFill>
          <a:ln w="12700" cap="flat">
            <a:noFill/>
            <a:miter lim="400000"/>
          </a:ln>
          <a:effectLst/>
        </p:spPr>
        <p:txBody>
          <a:bodyPr wrap="square" lIns="0" tIns="0" rIns="0" bIns="0" numCol="1" anchor="t">
            <a:noAutofit/>
          </a:bodyPr>
          <a:lstStyle/>
          <a:p>
            <a:pPr algn="l" rtl="0"/>
            <a:endParaRPr lang="en-GB" sz="1899" dirty="0">
              <a:latin typeface="Lato Light" panose="020F0502020204030203" pitchFamily="34" charset="0"/>
            </a:endParaRPr>
          </a:p>
        </p:txBody>
      </p:sp>
      <p:sp>
        <p:nvSpPr>
          <p:cNvPr id="57" name="Shape 24606">
            <a:extLst>
              <a:ext uri="{FF2B5EF4-FFF2-40B4-BE49-F238E27FC236}">
                <a16:creationId xmlns:a16="http://schemas.microsoft.com/office/drawing/2014/main" id="{2DA730C7-DF7D-97F9-A682-42D1DDA4E316}"/>
              </a:ext>
            </a:extLst>
          </p:cNvPr>
          <p:cNvSpPr/>
          <p:nvPr/>
        </p:nvSpPr>
        <p:spPr>
          <a:xfrm rot="1560000">
            <a:off x="6273844" y="4633296"/>
            <a:ext cx="477164" cy="1872208"/>
          </a:xfrm>
          <a:prstGeom prst="rect">
            <a:avLst/>
          </a:prstGeom>
          <a:solidFill>
            <a:srgbClr val="EDA13E"/>
          </a:solidFill>
          <a:ln w="12700" cap="flat">
            <a:noFill/>
            <a:miter lim="400000"/>
          </a:ln>
          <a:effectLst/>
        </p:spPr>
        <p:txBody>
          <a:bodyPr wrap="square" lIns="26796" tIns="26796" rIns="26796" bIns="26796" numCol="1" anchor="ctr">
            <a:noAutofit/>
          </a:bodyPr>
          <a:lstStyle/>
          <a:p>
            <a:pPr algn="l" rtl="0"/>
            <a:endParaRPr lang="en-GB" sz="1899" dirty="0">
              <a:latin typeface="Lato Light" panose="020F0502020204030203" pitchFamily="34" charset="0"/>
            </a:endParaRPr>
          </a:p>
        </p:txBody>
      </p:sp>
      <p:sp>
        <p:nvSpPr>
          <p:cNvPr id="66" name="Shape 24607">
            <a:extLst>
              <a:ext uri="{FF2B5EF4-FFF2-40B4-BE49-F238E27FC236}">
                <a16:creationId xmlns:a16="http://schemas.microsoft.com/office/drawing/2014/main" id="{52FF6AB0-5946-5B1D-3CF2-A650DB5DDAED}"/>
              </a:ext>
            </a:extLst>
          </p:cNvPr>
          <p:cNvSpPr/>
          <p:nvPr/>
        </p:nvSpPr>
        <p:spPr>
          <a:xfrm rot="1560000">
            <a:off x="6717136" y="4551109"/>
            <a:ext cx="715973" cy="233653"/>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rgbClr val="F16924"/>
          </a:solidFill>
          <a:ln w="12700" cap="flat">
            <a:noFill/>
            <a:miter lim="400000"/>
          </a:ln>
          <a:effectLst/>
        </p:spPr>
        <p:txBody>
          <a:bodyPr wrap="square" lIns="26796" tIns="26796" rIns="26796" bIns="26796" numCol="1" anchor="ctr">
            <a:noAutofit/>
          </a:bodyPr>
          <a:lstStyle/>
          <a:p>
            <a:pPr algn="l" rtl="0"/>
            <a:endParaRPr lang="en-GB" sz="1899" dirty="0">
              <a:latin typeface="Lato Light" panose="020F0502020204030203" pitchFamily="34" charset="0"/>
            </a:endParaRPr>
          </a:p>
        </p:txBody>
      </p:sp>
      <p:sp>
        <p:nvSpPr>
          <p:cNvPr id="67" name="Shape 24608">
            <a:extLst>
              <a:ext uri="{FF2B5EF4-FFF2-40B4-BE49-F238E27FC236}">
                <a16:creationId xmlns:a16="http://schemas.microsoft.com/office/drawing/2014/main" id="{73A526BA-9B5C-3D1E-BE29-2F2FA44FFBC7}"/>
              </a:ext>
            </a:extLst>
          </p:cNvPr>
          <p:cNvSpPr/>
          <p:nvPr/>
        </p:nvSpPr>
        <p:spPr>
          <a:xfrm rot="1560000">
            <a:off x="6760323" y="4559681"/>
            <a:ext cx="238582" cy="2107234"/>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rgbClr val="F16924"/>
          </a:solidFill>
          <a:ln w="12700" cap="flat">
            <a:noFill/>
            <a:miter lim="400000"/>
          </a:ln>
          <a:effectLst/>
        </p:spPr>
        <p:txBody>
          <a:bodyPr wrap="square" lIns="26796" tIns="26796" rIns="26796" bIns="26796" numCol="1" anchor="ctr">
            <a:noAutofit/>
          </a:bodyPr>
          <a:lstStyle/>
          <a:p>
            <a:pPr algn="l" rtl="0"/>
            <a:endParaRPr lang="en-GB" sz="1899" dirty="0">
              <a:latin typeface="Lato Light" panose="020F0502020204030203" pitchFamily="34" charset="0"/>
            </a:endParaRPr>
          </a:p>
        </p:txBody>
      </p:sp>
      <p:sp>
        <p:nvSpPr>
          <p:cNvPr id="68" name="Shape 24617">
            <a:extLst>
              <a:ext uri="{FF2B5EF4-FFF2-40B4-BE49-F238E27FC236}">
                <a16:creationId xmlns:a16="http://schemas.microsoft.com/office/drawing/2014/main" id="{4F09560F-A34E-85A0-666C-C31B0D93DCEC}"/>
              </a:ext>
            </a:extLst>
          </p:cNvPr>
          <p:cNvSpPr/>
          <p:nvPr/>
        </p:nvSpPr>
        <p:spPr>
          <a:xfrm>
            <a:off x="7546179" y="5898167"/>
            <a:ext cx="1243424" cy="645532"/>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pPr algn="l" rtl="0"/>
            <a:endParaRPr lang="en-GB" sz="1899" dirty="0">
              <a:latin typeface="Lato Light" panose="020F0502020204030203" pitchFamily="34" charset="0"/>
            </a:endParaRPr>
          </a:p>
        </p:txBody>
      </p:sp>
      <p:sp>
        <p:nvSpPr>
          <p:cNvPr id="69" name="Shape 24618">
            <a:extLst>
              <a:ext uri="{FF2B5EF4-FFF2-40B4-BE49-F238E27FC236}">
                <a16:creationId xmlns:a16="http://schemas.microsoft.com/office/drawing/2014/main" id="{7D298130-890F-37E2-15DA-7B1721BC5001}"/>
              </a:ext>
            </a:extLst>
          </p:cNvPr>
          <p:cNvSpPr/>
          <p:nvPr/>
        </p:nvSpPr>
        <p:spPr>
          <a:xfrm>
            <a:off x="7574034" y="4647938"/>
            <a:ext cx="477164" cy="1872208"/>
          </a:xfrm>
          <a:prstGeom prst="rect">
            <a:avLst/>
          </a:prstGeom>
          <a:solidFill>
            <a:srgbClr val="B41F7A"/>
          </a:solidFill>
          <a:ln w="12700" cap="flat">
            <a:noFill/>
            <a:miter lim="400000"/>
          </a:ln>
          <a:effectLst/>
        </p:spPr>
        <p:txBody>
          <a:bodyPr wrap="square" lIns="26796" tIns="26796" rIns="26796" bIns="26796" numCol="1" anchor="ctr">
            <a:noAutofit/>
          </a:bodyPr>
          <a:lstStyle/>
          <a:p>
            <a:pPr algn="l" rtl="0"/>
            <a:endParaRPr lang="en-GB" sz="1899" dirty="0">
              <a:latin typeface="Lato Light" panose="020F0502020204030203" pitchFamily="34" charset="0"/>
            </a:endParaRPr>
          </a:p>
        </p:txBody>
      </p:sp>
      <p:sp>
        <p:nvSpPr>
          <p:cNvPr id="70" name="Shape 24619">
            <a:extLst>
              <a:ext uri="{FF2B5EF4-FFF2-40B4-BE49-F238E27FC236}">
                <a16:creationId xmlns:a16="http://schemas.microsoft.com/office/drawing/2014/main" id="{6E54CFFC-4095-9253-F80C-A088FC6BFBA8}"/>
              </a:ext>
            </a:extLst>
          </p:cNvPr>
          <p:cNvSpPr/>
          <p:nvPr/>
        </p:nvSpPr>
        <p:spPr>
          <a:xfrm>
            <a:off x="7565205" y="4430193"/>
            <a:ext cx="715972" cy="233653"/>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rgbClr val="7F1C58"/>
          </a:solidFill>
          <a:ln w="12700" cap="flat">
            <a:noFill/>
            <a:miter lim="400000"/>
          </a:ln>
          <a:effectLst/>
        </p:spPr>
        <p:txBody>
          <a:bodyPr wrap="square" lIns="26796" tIns="26796" rIns="26796" bIns="26796" numCol="1" anchor="ctr">
            <a:noAutofit/>
          </a:bodyPr>
          <a:lstStyle/>
          <a:p>
            <a:pPr algn="l" rtl="0"/>
            <a:endParaRPr lang="en-GB" sz="1899" dirty="0">
              <a:latin typeface="Lato Light" panose="020F0502020204030203" pitchFamily="34" charset="0"/>
            </a:endParaRPr>
          </a:p>
        </p:txBody>
      </p:sp>
      <p:sp>
        <p:nvSpPr>
          <p:cNvPr id="71" name="Shape 24620">
            <a:extLst>
              <a:ext uri="{FF2B5EF4-FFF2-40B4-BE49-F238E27FC236}">
                <a16:creationId xmlns:a16="http://schemas.microsoft.com/office/drawing/2014/main" id="{B601AF25-C8AA-D377-8820-8967B72139FF}"/>
              </a:ext>
            </a:extLst>
          </p:cNvPr>
          <p:cNvSpPr/>
          <p:nvPr/>
        </p:nvSpPr>
        <p:spPr>
          <a:xfrm>
            <a:off x="8042594" y="4408916"/>
            <a:ext cx="238582" cy="2107234"/>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rgbClr val="7F1C58"/>
          </a:solidFill>
          <a:ln w="12700" cap="flat">
            <a:noFill/>
            <a:miter lim="400000"/>
          </a:ln>
          <a:effectLst/>
        </p:spPr>
        <p:txBody>
          <a:bodyPr wrap="square" lIns="26796" tIns="26796" rIns="26796" bIns="26796" numCol="1" anchor="ctr">
            <a:noAutofit/>
          </a:bodyPr>
          <a:lstStyle/>
          <a:p>
            <a:pPr algn="l" rtl="0"/>
            <a:endParaRPr lang="en-GB" sz="1899" dirty="0">
              <a:latin typeface="Lato Light" panose="020F0502020204030203" pitchFamily="34" charset="0"/>
            </a:endParaRPr>
          </a:p>
        </p:txBody>
      </p:sp>
      <p:sp>
        <p:nvSpPr>
          <p:cNvPr id="77" name="TextBox 60">
            <a:extLst>
              <a:ext uri="{FF2B5EF4-FFF2-40B4-BE49-F238E27FC236}">
                <a16:creationId xmlns:a16="http://schemas.microsoft.com/office/drawing/2014/main" id="{2AEA4A5D-822C-60ED-5F2D-3FCBCF9F2853}"/>
              </a:ext>
            </a:extLst>
          </p:cNvPr>
          <p:cNvSpPr txBox="1"/>
          <p:nvPr/>
        </p:nvSpPr>
        <p:spPr>
          <a:xfrm rot="16200000">
            <a:off x="6938495" y="5424036"/>
            <a:ext cx="1756120" cy="400110"/>
          </a:xfrm>
          <a:prstGeom prst="rect">
            <a:avLst/>
          </a:prstGeom>
          <a:noFill/>
        </p:spPr>
        <p:txBody>
          <a:bodyPr wrap="square" rtlCol="0" anchor="b" anchorCtr="0">
            <a:spAutoFit/>
          </a:bodyPr>
          <a:lstStyle/>
          <a:p>
            <a:pPr algn="ctr" rtl="0"/>
            <a:r>
              <a:rPr lang="en-GB" sz="2000" b="1" dirty="0">
                <a:solidFill>
                  <a:schemeClr val="bg1"/>
                </a:solidFill>
                <a:ea typeface="League Spartan" charset="0"/>
                <a:cs typeface="Poppins SemiBold" pitchFamily="2" charset="77"/>
              </a:rPr>
              <a:t>LIDERAZGO</a:t>
            </a:r>
          </a:p>
        </p:txBody>
      </p:sp>
      <p:grpSp>
        <p:nvGrpSpPr>
          <p:cNvPr id="79" name="Group 78">
            <a:extLst>
              <a:ext uri="{FF2B5EF4-FFF2-40B4-BE49-F238E27FC236}">
                <a16:creationId xmlns:a16="http://schemas.microsoft.com/office/drawing/2014/main" id="{F2225E74-FAE1-E3D0-1627-A3CD44F20396}"/>
              </a:ext>
            </a:extLst>
          </p:cNvPr>
          <p:cNvGrpSpPr/>
          <p:nvPr/>
        </p:nvGrpSpPr>
        <p:grpSpPr>
          <a:xfrm>
            <a:off x="7465935" y="3295236"/>
            <a:ext cx="925001" cy="925018"/>
            <a:chOff x="8736336" y="773976"/>
            <a:chExt cx="925001" cy="925018"/>
          </a:xfrm>
          <a:solidFill>
            <a:srgbClr val="595959"/>
          </a:solidFill>
        </p:grpSpPr>
        <p:grpSp>
          <p:nvGrpSpPr>
            <p:cNvPr id="80" name="Graphic 2">
              <a:extLst>
                <a:ext uri="{FF2B5EF4-FFF2-40B4-BE49-F238E27FC236}">
                  <a16:creationId xmlns:a16="http://schemas.microsoft.com/office/drawing/2014/main" id="{20747221-99D5-B1FC-9275-7B5B79226E52}"/>
                </a:ext>
              </a:extLst>
            </p:cNvPr>
            <p:cNvGrpSpPr/>
            <p:nvPr/>
          </p:nvGrpSpPr>
          <p:grpSpPr>
            <a:xfrm>
              <a:off x="8736336" y="773976"/>
              <a:ext cx="925001" cy="925018"/>
              <a:chOff x="8736336" y="773976"/>
              <a:chExt cx="925001" cy="925018"/>
            </a:xfrm>
            <a:grpFill/>
          </p:grpSpPr>
          <p:sp>
            <p:nvSpPr>
              <p:cNvPr id="83" name="Freeform 82">
                <a:extLst>
                  <a:ext uri="{FF2B5EF4-FFF2-40B4-BE49-F238E27FC236}">
                    <a16:creationId xmlns:a16="http://schemas.microsoft.com/office/drawing/2014/main" id="{CFB2EAC2-3F29-C9FA-FB8E-4B0DEB853EC0}"/>
                  </a:ext>
                </a:extLst>
              </p:cNvPr>
              <p:cNvSpPr/>
              <p:nvPr/>
            </p:nvSpPr>
            <p:spPr>
              <a:xfrm>
                <a:off x="8880867" y="773976"/>
                <a:ext cx="636011" cy="925018"/>
              </a:xfrm>
              <a:custGeom>
                <a:avLst/>
                <a:gdLst>
                  <a:gd name="connsiteX0" fmla="*/ 547413 w 636011"/>
                  <a:gd name="connsiteY0" fmla="*/ 538397 h 925018"/>
                  <a:gd name="connsiteX1" fmla="*/ 635939 w 636011"/>
                  <a:gd name="connsiteY1" fmla="*/ 312566 h 925018"/>
                  <a:gd name="connsiteX2" fmla="*/ 314356 w 636011"/>
                  <a:gd name="connsiteY2" fmla="*/ 17 h 925018"/>
                  <a:gd name="connsiteX3" fmla="*/ 0 w 636011"/>
                  <a:gd name="connsiteY3" fmla="*/ 317987 h 925018"/>
                  <a:gd name="connsiteX4" fmla="*/ 88526 w 636011"/>
                  <a:gd name="connsiteY4" fmla="*/ 537494 h 925018"/>
                  <a:gd name="connsiteX5" fmla="*/ 143628 w 636011"/>
                  <a:gd name="connsiteY5" fmla="*/ 655828 h 925018"/>
                  <a:gd name="connsiteX6" fmla="*/ 130982 w 636011"/>
                  <a:gd name="connsiteY6" fmla="*/ 737127 h 925018"/>
                  <a:gd name="connsiteX7" fmla="*/ 161695 w 636011"/>
                  <a:gd name="connsiteY7" fmla="*/ 823847 h 925018"/>
                  <a:gd name="connsiteX8" fmla="*/ 289967 w 636011"/>
                  <a:gd name="connsiteY8" fmla="*/ 925018 h 925018"/>
                  <a:gd name="connsiteX9" fmla="*/ 345973 w 636011"/>
                  <a:gd name="connsiteY9" fmla="*/ 925018 h 925018"/>
                  <a:gd name="connsiteX10" fmla="*/ 474244 w 636011"/>
                  <a:gd name="connsiteY10" fmla="*/ 823847 h 925018"/>
                  <a:gd name="connsiteX11" fmla="*/ 504957 w 636011"/>
                  <a:gd name="connsiteY11" fmla="*/ 737127 h 925018"/>
                  <a:gd name="connsiteX12" fmla="*/ 492310 w 636011"/>
                  <a:gd name="connsiteY12" fmla="*/ 655828 h 925018"/>
                  <a:gd name="connsiteX13" fmla="*/ 547413 w 636011"/>
                  <a:gd name="connsiteY13" fmla="*/ 538397 h 925018"/>
                  <a:gd name="connsiteX14" fmla="*/ 547413 w 636011"/>
                  <a:gd name="connsiteY14" fmla="*/ 538397 h 925018"/>
                  <a:gd name="connsiteX15" fmla="*/ 109302 w 636011"/>
                  <a:gd name="connsiteY15" fmla="*/ 517620 h 925018"/>
                  <a:gd name="connsiteX16" fmla="*/ 28906 w 636011"/>
                  <a:gd name="connsiteY16" fmla="*/ 317987 h 925018"/>
                  <a:gd name="connsiteX17" fmla="*/ 314356 w 636011"/>
                  <a:gd name="connsiteY17" fmla="*/ 28923 h 925018"/>
                  <a:gd name="connsiteX18" fmla="*/ 607032 w 636011"/>
                  <a:gd name="connsiteY18" fmla="*/ 313470 h 925018"/>
                  <a:gd name="connsiteX19" fmla="*/ 526637 w 636011"/>
                  <a:gd name="connsiteY19" fmla="*/ 518523 h 925018"/>
                  <a:gd name="connsiteX20" fmla="*/ 464307 w 636011"/>
                  <a:gd name="connsiteY20" fmla="*/ 650409 h 925018"/>
                  <a:gd name="connsiteX21" fmla="*/ 332423 w 636011"/>
                  <a:gd name="connsiteY21" fmla="*/ 650409 h 925018"/>
                  <a:gd name="connsiteX22" fmla="*/ 332423 w 636011"/>
                  <a:gd name="connsiteY22" fmla="*/ 491424 h 925018"/>
                  <a:gd name="connsiteX23" fmla="*/ 375782 w 636011"/>
                  <a:gd name="connsiteY23" fmla="*/ 491424 h 925018"/>
                  <a:gd name="connsiteX24" fmla="*/ 534766 w 636011"/>
                  <a:gd name="connsiteY24" fmla="*/ 332439 h 925018"/>
                  <a:gd name="connsiteX25" fmla="*/ 534766 w 636011"/>
                  <a:gd name="connsiteY25" fmla="*/ 289080 h 925018"/>
                  <a:gd name="connsiteX26" fmla="*/ 520314 w 636011"/>
                  <a:gd name="connsiteY26" fmla="*/ 274627 h 925018"/>
                  <a:gd name="connsiteX27" fmla="*/ 462501 w 636011"/>
                  <a:gd name="connsiteY27" fmla="*/ 274627 h 925018"/>
                  <a:gd name="connsiteX28" fmla="*/ 317969 w 636011"/>
                  <a:gd name="connsiteY28" fmla="*/ 367669 h 925018"/>
                  <a:gd name="connsiteX29" fmla="*/ 173438 w 636011"/>
                  <a:gd name="connsiteY29" fmla="*/ 274627 h 925018"/>
                  <a:gd name="connsiteX30" fmla="*/ 115626 w 636011"/>
                  <a:gd name="connsiteY30" fmla="*/ 274627 h 925018"/>
                  <a:gd name="connsiteX31" fmla="*/ 101172 w 636011"/>
                  <a:gd name="connsiteY31" fmla="*/ 289080 h 925018"/>
                  <a:gd name="connsiteX32" fmla="*/ 101172 w 636011"/>
                  <a:gd name="connsiteY32" fmla="*/ 332439 h 925018"/>
                  <a:gd name="connsiteX33" fmla="*/ 260157 w 636011"/>
                  <a:gd name="connsiteY33" fmla="*/ 491424 h 925018"/>
                  <a:gd name="connsiteX34" fmla="*/ 303516 w 636011"/>
                  <a:gd name="connsiteY34" fmla="*/ 491424 h 925018"/>
                  <a:gd name="connsiteX35" fmla="*/ 303516 w 636011"/>
                  <a:gd name="connsiteY35" fmla="*/ 650409 h 925018"/>
                  <a:gd name="connsiteX36" fmla="*/ 171631 w 636011"/>
                  <a:gd name="connsiteY36" fmla="*/ 650409 h 925018"/>
                  <a:gd name="connsiteX37" fmla="*/ 109302 w 636011"/>
                  <a:gd name="connsiteY37" fmla="*/ 517620 h 925018"/>
                  <a:gd name="connsiteX38" fmla="*/ 444434 w 636011"/>
                  <a:gd name="connsiteY38" fmla="*/ 366766 h 925018"/>
                  <a:gd name="connsiteX39" fmla="*/ 423658 w 636011"/>
                  <a:gd name="connsiteY39" fmla="*/ 364959 h 925018"/>
                  <a:gd name="connsiteX40" fmla="*/ 332423 w 636011"/>
                  <a:gd name="connsiteY40" fmla="*/ 445355 h 925018"/>
                  <a:gd name="connsiteX41" fmla="*/ 332423 w 636011"/>
                  <a:gd name="connsiteY41" fmla="*/ 433612 h 925018"/>
                  <a:gd name="connsiteX42" fmla="*/ 462501 w 636011"/>
                  <a:gd name="connsiteY42" fmla="*/ 303533 h 925018"/>
                  <a:gd name="connsiteX43" fmla="*/ 505860 w 636011"/>
                  <a:gd name="connsiteY43" fmla="*/ 303533 h 925018"/>
                  <a:gd name="connsiteX44" fmla="*/ 505860 w 636011"/>
                  <a:gd name="connsiteY44" fmla="*/ 332439 h 925018"/>
                  <a:gd name="connsiteX45" fmla="*/ 375782 w 636011"/>
                  <a:gd name="connsiteY45" fmla="*/ 462518 h 925018"/>
                  <a:gd name="connsiteX46" fmla="*/ 356812 w 636011"/>
                  <a:gd name="connsiteY46" fmla="*/ 462518 h 925018"/>
                  <a:gd name="connsiteX47" fmla="*/ 443531 w 636011"/>
                  <a:gd name="connsiteY47" fmla="*/ 386639 h 925018"/>
                  <a:gd name="connsiteX48" fmla="*/ 444434 w 636011"/>
                  <a:gd name="connsiteY48" fmla="*/ 366766 h 925018"/>
                  <a:gd name="connsiteX49" fmla="*/ 303516 w 636011"/>
                  <a:gd name="connsiteY49" fmla="*/ 445355 h 925018"/>
                  <a:gd name="connsiteX50" fmla="*/ 212281 w 636011"/>
                  <a:gd name="connsiteY50" fmla="*/ 364959 h 925018"/>
                  <a:gd name="connsiteX51" fmla="*/ 191504 w 636011"/>
                  <a:gd name="connsiteY51" fmla="*/ 366766 h 925018"/>
                  <a:gd name="connsiteX52" fmla="*/ 193311 w 636011"/>
                  <a:gd name="connsiteY52" fmla="*/ 387542 h 925018"/>
                  <a:gd name="connsiteX53" fmla="*/ 280030 w 636011"/>
                  <a:gd name="connsiteY53" fmla="*/ 463421 h 925018"/>
                  <a:gd name="connsiteX54" fmla="*/ 261060 w 636011"/>
                  <a:gd name="connsiteY54" fmla="*/ 463421 h 925018"/>
                  <a:gd name="connsiteX55" fmla="*/ 130982 w 636011"/>
                  <a:gd name="connsiteY55" fmla="*/ 333343 h 925018"/>
                  <a:gd name="connsiteX56" fmla="*/ 130982 w 636011"/>
                  <a:gd name="connsiteY56" fmla="*/ 304437 h 925018"/>
                  <a:gd name="connsiteX57" fmla="*/ 174341 w 636011"/>
                  <a:gd name="connsiteY57" fmla="*/ 304437 h 925018"/>
                  <a:gd name="connsiteX58" fmla="*/ 304419 w 636011"/>
                  <a:gd name="connsiteY58" fmla="*/ 434515 h 925018"/>
                  <a:gd name="connsiteX59" fmla="*/ 304419 w 636011"/>
                  <a:gd name="connsiteY59" fmla="*/ 445355 h 925018"/>
                  <a:gd name="connsiteX60" fmla="*/ 345973 w 636011"/>
                  <a:gd name="connsiteY60" fmla="*/ 896112 h 925018"/>
                  <a:gd name="connsiteX61" fmla="*/ 289967 w 636011"/>
                  <a:gd name="connsiteY61" fmla="*/ 896112 h 925018"/>
                  <a:gd name="connsiteX62" fmla="*/ 191504 w 636011"/>
                  <a:gd name="connsiteY62" fmla="*/ 823847 h 925018"/>
                  <a:gd name="connsiteX63" fmla="*/ 444434 w 636011"/>
                  <a:gd name="connsiteY63" fmla="*/ 823847 h 925018"/>
                  <a:gd name="connsiteX64" fmla="*/ 345973 w 636011"/>
                  <a:gd name="connsiteY64" fmla="*/ 896112 h 925018"/>
                  <a:gd name="connsiteX65" fmla="*/ 345973 w 636011"/>
                  <a:gd name="connsiteY65" fmla="*/ 896112 h 925018"/>
                  <a:gd name="connsiteX66" fmla="*/ 491407 w 636011"/>
                  <a:gd name="connsiteY66" fmla="*/ 773260 h 925018"/>
                  <a:gd name="connsiteX67" fmla="*/ 469727 w 636011"/>
                  <a:gd name="connsiteY67" fmla="*/ 794940 h 925018"/>
                  <a:gd name="connsiteX68" fmla="*/ 166211 w 636011"/>
                  <a:gd name="connsiteY68" fmla="*/ 794940 h 925018"/>
                  <a:gd name="connsiteX69" fmla="*/ 144531 w 636011"/>
                  <a:gd name="connsiteY69" fmla="*/ 773260 h 925018"/>
                  <a:gd name="connsiteX70" fmla="*/ 166211 w 636011"/>
                  <a:gd name="connsiteY70" fmla="*/ 751581 h 925018"/>
                  <a:gd name="connsiteX71" fmla="*/ 469727 w 636011"/>
                  <a:gd name="connsiteY71" fmla="*/ 751581 h 925018"/>
                  <a:gd name="connsiteX72" fmla="*/ 491407 w 636011"/>
                  <a:gd name="connsiteY72" fmla="*/ 773260 h 925018"/>
                  <a:gd name="connsiteX73" fmla="*/ 166211 w 636011"/>
                  <a:gd name="connsiteY73" fmla="*/ 722674 h 925018"/>
                  <a:gd name="connsiteX74" fmla="*/ 144531 w 636011"/>
                  <a:gd name="connsiteY74" fmla="*/ 700995 h 925018"/>
                  <a:gd name="connsiteX75" fmla="*/ 166211 w 636011"/>
                  <a:gd name="connsiteY75" fmla="*/ 679315 h 925018"/>
                  <a:gd name="connsiteX76" fmla="*/ 469727 w 636011"/>
                  <a:gd name="connsiteY76" fmla="*/ 679315 h 925018"/>
                  <a:gd name="connsiteX77" fmla="*/ 491407 w 636011"/>
                  <a:gd name="connsiteY77" fmla="*/ 700995 h 925018"/>
                  <a:gd name="connsiteX78" fmla="*/ 469727 w 636011"/>
                  <a:gd name="connsiteY78" fmla="*/ 722674 h 925018"/>
                  <a:gd name="connsiteX79" fmla="*/ 166211 w 636011"/>
                  <a:gd name="connsiteY79" fmla="*/ 722674 h 925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36011" h="925018">
                    <a:moveTo>
                      <a:pt x="547413" y="538397"/>
                    </a:moveTo>
                    <a:cubicBezTo>
                      <a:pt x="606129" y="477874"/>
                      <a:pt x="637745" y="397479"/>
                      <a:pt x="635939" y="312566"/>
                    </a:cubicBezTo>
                    <a:cubicBezTo>
                      <a:pt x="633229" y="138225"/>
                      <a:pt x="488697" y="-1789"/>
                      <a:pt x="314356" y="17"/>
                    </a:cubicBezTo>
                    <a:cubicBezTo>
                      <a:pt x="140015" y="1824"/>
                      <a:pt x="0" y="143645"/>
                      <a:pt x="0" y="317987"/>
                    </a:cubicBezTo>
                    <a:cubicBezTo>
                      <a:pt x="0" y="400189"/>
                      <a:pt x="31616" y="478778"/>
                      <a:pt x="88526" y="537494"/>
                    </a:cubicBezTo>
                    <a:cubicBezTo>
                      <a:pt x="118335" y="568206"/>
                      <a:pt x="137305" y="607953"/>
                      <a:pt x="143628" y="655828"/>
                    </a:cubicBezTo>
                    <a:cubicBezTo>
                      <a:pt x="112915" y="671185"/>
                      <a:pt x="106592" y="712738"/>
                      <a:pt x="130982" y="737127"/>
                    </a:cubicBezTo>
                    <a:cubicBezTo>
                      <a:pt x="100269" y="766937"/>
                      <a:pt x="118335" y="819330"/>
                      <a:pt x="161695" y="823847"/>
                    </a:cubicBezTo>
                    <a:cubicBezTo>
                      <a:pt x="176148" y="883466"/>
                      <a:pt x="229444" y="925018"/>
                      <a:pt x="289967" y="925018"/>
                    </a:cubicBezTo>
                    <a:lnTo>
                      <a:pt x="345973" y="925018"/>
                    </a:lnTo>
                    <a:cubicBezTo>
                      <a:pt x="407398" y="925018"/>
                      <a:pt x="460694" y="883466"/>
                      <a:pt x="474244" y="823847"/>
                    </a:cubicBezTo>
                    <a:cubicBezTo>
                      <a:pt x="516700" y="820233"/>
                      <a:pt x="535670" y="766937"/>
                      <a:pt x="504957" y="737127"/>
                    </a:cubicBezTo>
                    <a:cubicBezTo>
                      <a:pt x="529347" y="712738"/>
                      <a:pt x="523023" y="671185"/>
                      <a:pt x="492310" y="655828"/>
                    </a:cubicBezTo>
                    <a:cubicBezTo>
                      <a:pt x="498634" y="608856"/>
                      <a:pt x="517604" y="569110"/>
                      <a:pt x="547413" y="538397"/>
                    </a:cubicBezTo>
                    <a:lnTo>
                      <a:pt x="547413" y="538397"/>
                    </a:lnTo>
                    <a:close/>
                    <a:moveTo>
                      <a:pt x="109302" y="517620"/>
                    </a:moveTo>
                    <a:cubicBezTo>
                      <a:pt x="57813" y="463421"/>
                      <a:pt x="28906" y="392962"/>
                      <a:pt x="28906" y="317987"/>
                    </a:cubicBezTo>
                    <a:cubicBezTo>
                      <a:pt x="28906" y="160808"/>
                      <a:pt x="157178" y="30730"/>
                      <a:pt x="314356" y="28923"/>
                    </a:cubicBezTo>
                    <a:cubicBezTo>
                      <a:pt x="473341" y="27117"/>
                      <a:pt x="604322" y="154485"/>
                      <a:pt x="607032" y="313470"/>
                    </a:cubicBezTo>
                    <a:cubicBezTo>
                      <a:pt x="607936" y="390252"/>
                      <a:pt x="579933" y="463421"/>
                      <a:pt x="526637" y="518523"/>
                    </a:cubicBezTo>
                    <a:cubicBezTo>
                      <a:pt x="493214" y="552850"/>
                      <a:pt x="470631" y="598919"/>
                      <a:pt x="464307" y="650409"/>
                    </a:cubicBezTo>
                    <a:lnTo>
                      <a:pt x="332423" y="650409"/>
                    </a:lnTo>
                    <a:lnTo>
                      <a:pt x="332423" y="491424"/>
                    </a:lnTo>
                    <a:lnTo>
                      <a:pt x="375782" y="491424"/>
                    </a:lnTo>
                    <a:cubicBezTo>
                      <a:pt x="463404" y="491424"/>
                      <a:pt x="534766" y="420062"/>
                      <a:pt x="534766" y="332439"/>
                    </a:cubicBezTo>
                    <a:lnTo>
                      <a:pt x="534766" y="289080"/>
                    </a:lnTo>
                    <a:cubicBezTo>
                      <a:pt x="534766" y="280950"/>
                      <a:pt x="528443" y="274627"/>
                      <a:pt x="520314" y="274627"/>
                    </a:cubicBezTo>
                    <a:lnTo>
                      <a:pt x="462501" y="274627"/>
                    </a:lnTo>
                    <a:cubicBezTo>
                      <a:pt x="398365" y="274627"/>
                      <a:pt x="343262" y="312566"/>
                      <a:pt x="317969" y="367669"/>
                    </a:cubicBezTo>
                    <a:cubicBezTo>
                      <a:pt x="292676" y="312566"/>
                      <a:pt x="237574" y="274627"/>
                      <a:pt x="173438" y="274627"/>
                    </a:cubicBezTo>
                    <a:lnTo>
                      <a:pt x="115626" y="274627"/>
                    </a:lnTo>
                    <a:cubicBezTo>
                      <a:pt x="107495" y="274627"/>
                      <a:pt x="101172" y="280950"/>
                      <a:pt x="101172" y="289080"/>
                    </a:cubicBezTo>
                    <a:lnTo>
                      <a:pt x="101172" y="332439"/>
                    </a:lnTo>
                    <a:cubicBezTo>
                      <a:pt x="101172" y="420062"/>
                      <a:pt x="172535" y="491424"/>
                      <a:pt x="260157" y="491424"/>
                    </a:cubicBezTo>
                    <a:lnTo>
                      <a:pt x="303516" y="491424"/>
                    </a:lnTo>
                    <a:lnTo>
                      <a:pt x="303516" y="650409"/>
                    </a:lnTo>
                    <a:lnTo>
                      <a:pt x="171631" y="650409"/>
                    </a:lnTo>
                    <a:cubicBezTo>
                      <a:pt x="165308" y="598016"/>
                      <a:pt x="142725" y="552850"/>
                      <a:pt x="109302" y="517620"/>
                    </a:cubicBezTo>
                    <a:close/>
                    <a:moveTo>
                      <a:pt x="444434" y="366766"/>
                    </a:moveTo>
                    <a:cubicBezTo>
                      <a:pt x="439015" y="360442"/>
                      <a:pt x="429981" y="360442"/>
                      <a:pt x="423658" y="364959"/>
                    </a:cubicBezTo>
                    <a:lnTo>
                      <a:pt x="332423" y="445355"/>
                    </a:lnTo>
                    <a:lnTo>
                      <a:pt x="332423" y="433612"/>
                    </a:lnTo>
                    <a:cubicBezTo>
                      <a:pt x="332423" y="362249"/>
                      <a:pt x="391139" y="303533"/>
                      <a:pt x="462501" y="303533"/>
                    </a:cubicBezTo>
                    <a:lnTo>
                      <a:pt x="505860" y="303533"/>
                    </a:lnTo>
                    <a:lnTo>
                      <a:pt x="505860" y="332439"/>
                    </a:lnTo>
                    <a:cubicBezTo>
                      <a:pt x="505860" y="403802"/>
                      <a:pt x="447144" y="462518"/>
                      <a:pt x="375782" y="462518"/>
                    </a:cubicBezTo>
                    <a:lnTo>
                      <a:pt x="356812" y="462518"/>
                    </a:lnTo>
                    <a:lnTo>
                      <a:pt x="443531" y="386639"/>
                    </a:lnTo>
                    <a:cubicBezTo>
                      <a:pt x="448951" y="381219"/>
                      <a:pt x="449855" y="372186"/>
                      <a:pt x="444434" y="366766"/>
                    </a:cubicBezTo>
                    <a:close/>
                    <a:moveTo>
                      <a:pt x="303516" y="445355"/>
                    </a:moveTo>
                    <a:lnTo>
                      <a:pt x="212281" y="364959"/>
                    </a:lnTo>
                    <a:cubicBezTo>
                      <a:pt x="205958" y="359539"/>
                      <a:pt x="196925" y="360442"/>
                      <a:pt x="191504" y="366766"/>
                    </a:cubicBezTo>
                    <a:cubicBezTo>
                      <a:pt x="186085" y="373089"/>
                      <a:pt x="186988" y="382122"/>
                      <a:pt x="193311" y="387542"/>
                    </a:cubicBezTo>
                    <a:lnTo>
                      <a:pt x="280030" y="463421"/>
                    </a:lnTo>
                    <a:lnTo>
                      <a:pt x="261060" y="463421"/>
                    </a:lnTo>
                    <a:cubicBezTo>
                      <a:pt x="189698" y="463421"/>
                      <a:pt x="130982" y="404705"/>
                      <a:pt x="130982" y="333343"/>
                    </a:cubicBezTo>
                    <a:lnTo>
                      <a:pt x="130982" y="304437"/>
                    </a:lnTo>
                    <a:lnTo>
                      <a:pt x="174341" y="304437"/>
                    </a:lnTo>
                    <a:cubicBezTo>
                      <a:pt x="245704" y="304437"/>
                      <a:pt x="304419" y="363153"/>
                      <a:pt x="304419" y="434515"/>
                    </a:cubicBezTo>
                    <a:lnTo>
                      <a:pt x="304419" y="445355"/>
                    </a:lnTo>
                    <a:close/>
                    <a:moveTo>
                      <a:pt x="345973" y="896112"/>
                    </a:moveTo>
                    <a:lnTo>
                      <a:pt x="289967" y="896112"/>
                    </a:lnTo>
                    <a:cubicBezTo>
                      <a:pt x="244800" y="896112"/>
                      <a:pt x="205054" y="866302"/>
                      <a:pt x="191504" y="823847"/>
                    </a:cubicBezTo>
                    <a:lnTo>
                      <a:pt x="444434" y="823847"/>
                    </a:lnTo>
                    <a:cubicBezTo>
                      <a:pt x="430884" y="866302"/>
                      <a:pt x="391139" y="896112"/>
                      <a:pt x="345973" y="896112"/>
                    </a:cubicBezTo>
                    <a:lnTo>
                      <a:pt x="345973" y="896112"/>
                    </a:lnTo>
                    <a:close/>
                    <a:moveTo>
                      <a:pt x="491407" y="773260"/>
                    </a:moveTo>
                    <a:cubicBezTo>
                      <a:pt x="491407" y="785003"/>
                      <a:pt x="481471" y="794940"/>
                      <a:pt x="469727" y="794940"/>
                    </a:cubicBezTo>
                    <a:cubicBezTo>
                      <a:pt x="451661" y="794940"/>
                      <a:pt x="177954" y="794940"/>
                      <a:pt x="166211" y="794940"/>
                    </a:cubicBezTo>
                    <a:cubicBezTo>
                      <a:pt x="154468" y="794940"/>
                      <a:pt x="144531" y="785003"/>
                      <a:pt x="144531" y="773260"/>
                    </a:cubicBezTo>
                    <a:cubicBezTo>
                      <a:pt x="144531" y="761517"/>
                      <a:pt x="154468" y="751581"/>
                      <a:pt x="166211" y="751581"/>
                    </a:cubicBezTo>
                    <a:lnTo>
                      <a:pt x="469727" y="751581"/>
                    </a:lnTo>
                    <a:cubicBezTo>
                      <a:pt x="482374" y="751581"/>
                      <a:pt x="491407" y="761517"/>
                      <a:pt x="491407" y="773260"/>
                    </a:cubicBezTo>
                    <a:close/>
                    <a:moveTo>
                      <a:pt x="166211" y="722674"/>
                    </a:moveTo>
                    <a:cubicBezTo>
                      <a:pt x="154468" y="722674"/>
                      <a:pt x="144531" y="712738"/>
                      <a:pt x="144531" y="700995"/>
                    </a:cubicBezTo>
                    <a:cubicBezTo>
                      <a:pt x="144531" y="689251"/>
                      <a:pt x="154468" y="679315"/>
                      <a:pt x="166211" y="679315"/>
                    </a:cubicBezTo>
                    <a:lnTo>
                      <a:pt x="469727" y="679315"/>
                    </a:lnTo>
                    <a:cubicBezTo>
                      <a:pt x="481471" y="679315"/>
                      <a:pt x="491407" y="689251"/>
                      <a:pt x="491407" y="700995"/>
                    </a:cubicBezTo>
                    <a:cubicBezTo>
                      <a:pt x="491407" y="712738"/>
                      <a:pt x="481471" y="722674"/>
                      <a:pt x="469727" y="722674"/>
                    </a:cubicBezTo>
                    <a:lnTo>
                      <a:pt x="166211" y="722674"/>
                    </a:ln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84" name="Freeform 83">
                <a:extLst>
                  <a:ext uri="{FF2B5EF4-FFF2-40B4-BE49-F238E27FC236}">
                    <a16:creationId xmlns:a16="http://schemas.microsoft.com/office/drawing/2014/main" id="{44B0B119-4BD3-F775-7A9B-20557F0EF206}"/>
                  </a:ext>
                </a:extLst>
              </p:cNvPr>
              <p:cNvSpPr/>
              <p:nvPr/>
            </p:nvSpPr>
            <p:spPr>
              <a:xfrm>
                <a:off x="8736336" y="1077510"/>
                <a:ext cx="101172" cy="28906"/>
              </a:xfrm>
              <a:custGeom>
                <a:avLst/>
                <a:gdLst>
                  <a:gd name="connsiteX0" fmla="*/ 101172 w 101172"/>
                  <a:gd name="connsiteY0" fmla="*/ 14453 h 28906"/>
                  <a:gd name="connsiteX1" fmla="*/ 86719 w 101172"/>
                  <a:gd name="connsiteY1" fmla="*/ 0 h 28906"/>
                  <a:gd name="connsiteX2" fmla="*/ 14453 w 101172"/>
                  <a:gd name="connsiteY2" fmla="*/ 0 h 28906"/>
                  <a:gd name="connsiteX3" fmla="*/ 0 w 101172"/>
                  <a:gd name="connsiteY3" fmla="*/ 14453 h 28906"/>
                  <a:gd name="connsiteX4" fmla="*/ 14453 w 101172"/>
                  <a:gd name="connsiteY4" fmla="*/ 28906 h 28906"/>
                  <a:gd name="connsiteX5" fmla="*/ 86719 w 101172"/>
                  <a:gd name="connsiteY5" fmla="*/ 28906 h 28906"/>
                  <a:gd name="connsiteX6" fmla="*/ 101172 w 101172"/>
                  <a:gd name="connsiteY6" fmla="*/ 14453 h 28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172" h="28906">
                    <a:moveTo>
                      <a:pt x="101172" y="14453"/>
                    </a:moveTo>
                    <a:cubicBezTo>
                      <a:pt x="101172" y="6323"/>
                      <a:pt x="94849" y="0"/>
                      <a:pt x="86719" y="0"/>
                    </a:cubicBezTo>
                    <a:lnTo>
                      <a:pt x="14453" y="0"/>
                    </a:lnTo>
                    <a:cubicBezTo>
                      <a:pt x="6323" y="0"/>
                      <a:pt x="0" y="6323"/>
                      <a:pt x="0" y="14453"/>
                    </a:cubicBezTo>
                    <a:cubicBezTo>
                      <a:pt x="0" y="22583"/>
                      <a:pt x="6323" y="28906"/>
                      <a:pt x="14453" y="28906"/>
                    </a:cubicBezTo>
                    <a:lnTo>
                      <a:pt x="86719" y="28906"/>
                    </a:lnTo>
                    <a:cubicBezTo>
                      <a:pt x="94849" y="28906"/>
                      <a:pt x="101172" y="22583"/>
                      <a:pt x="101172" y="14453"/>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85" name="Freeform 84">
                <a:extLst>
                  <a:ext uri="{FF2B5EF4-FFF2-40B4-BE49-F238E27FC236}">
                    <a16:creationId xmlns:a16="http://schemas.microsoft.com/office/drawing/2014/main" id="{F4B7303A-87C1-9543-2FE4-AD8C1776C9DF}"/>
                  </a:ext>
                </a:extLst>
              </p:cNvPr>
              <p:cNvSpPr/>
              <p:nvPr/>
            </p:nvSpPr>
            <p:spPr>
              <a:xfrm>
                <a:off x="8796859" y="1265589"/>
                <a:ext cx="91235" cy="64850"/>
              </a:xfrm>
              <a:custGeom>
                <a:avLst/>
                <a:gdLst>
                  <a:gd name="connsiteX0" fmla="*/ 69556 w 91235"/>
                  <a:gd name="connsiteY0" fmla="*/ 1618 h 64850"/>
                  <a:gd name="connsiteX1" fmla="*/ 7226 w 91235"/>
                  <a:gd name="connsiteY1" fmla="*/ 37751 h 64850"/>
                  <a:gd name="connsiteX2" fmla="*/ 1807 w 91235"/>
                  <a:gd name="connsiteY2" fmla="*/ 57624 h 64850"/>
                  <a:gd name="connsiteX3" fmla="*/ 21680 w 91235"/>
                  <a:gd name="connsiteY3" fmla="*/ 63044 h 64850"/>
                  <a:gd name="connsiteX4" fmla="*/ 84009 w 91235"/>
                  <a:gd name="connsiteY4" fmla="*/ 26911 h 64850"/>
                  <a:gd name="connsiteX5" fmla="*/ 89429 w 91235"/>
                  <a:gd name="connsiteY5" fmla="*/ 7038 h 64850"/>
                  <a:gd name="connsiteX6" fmla="*/ 69556 w 91235"/>
                  <a:gd name="connsiteY6" fmla="*/ 1618 h 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235" h="64850">
                    <a:moveTo>
                      <a:pt x="69556" y="1618"/>
                    </a:moveTo>
                    <a:lnTo>
                      <a:pt x="7226" y="37751"/>
                    </a:lnTo>
                    <a:cubicBezTo>
                      <a:pt x="0" y="41365"/>
                      <a:pt x="-1807" y="50398"/>
                      <a:pt x="1807" y="57624"/>
                    </a:cubicBezTo>
                    <a:cubicBezTo>
                      <a:pt x="5420" y="64851"/>
                      <a:pt x="14453" y="66657"/>
                      <a:pt x="21680" y="63044"/>
                    </a:cubicBezTo>
                    <a:lnTo>
                      <a:pt x="84009" y="26911"/>
                    </a:lnTo>
                    <a:cubicBezTo>
                      <a:pt x="91236" y="23298"/>
                      <a:pt x="93042" y="14265"/>
                      <a:pt x="89429" y="7038"/>
                    </a:cubicBezTo>
                    <a:cubicBezTo>
                      <a:pt x="84912" y="715"/>
                      <a:pt x="76782" y="-1995"/>
                      <a:pt x="69556" y="1618"/>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86" name="Freeform 85">
                <a:extLst>
                  <a:ext uri="{FF2B5EF4-FFF2-40B4-BE49-F238E27FC236}">
                    <a16:creationId xmlns:a16="http://schemas.microsoft.com/office/drawing/2014/main" id="{0E21C665-2D5A-ABE4-CF58-3FCEF4D06BF6}"/>
                  </a:ext>
                </a:extLst>
              </p:cNvPr>
              <p:cNvSpPr/>
              <p:nvPr/>
            </p:nvSpPr>
            <p:spPr>
              <a:xfrm>
                <a:off x="8796457" y="853486"/>
                <a:ext cx="91499" cy="65041"/>
              </a:xfrm>
              <a:custGeom>
                <a:avLst/>
                <a:gdLst>
                  <a:gd name="connsiteX0" fmla="*/ 7628 w 91499"/>
                  <a:gd name="connsiteY0" fmla="*/ 27100 h 65041"/>
                  <a:gd name="connsiteX1" fmla="*/ 77184 w 91499"/>
                  <a:gd name="connsiteY1" fmla="*/ 65039 h 65041"/>
                  <a:gd name="connsiteX2" fmla="*/ 84410 w 91499"/>
                  <a:gd name="connsiteY2" fmla="*/ 37940 h 65041"/>
                  <a:gd name="connsiteX3" fmla="*/ 22081 w 91499"/>
                  <a:gd name="connsiteY3" fmla="*/ 1807 h 65041"/>
                  <a:gd name="connsiteX4" fmla="*/ 2208 w 91499"/>
                  <a:gd name="connsiteY4" fmla="*/ 7226 h 65041"/>
                  <a:gd name="connsiteX5" fmla="*/ 7628 w 91499"/>
                  <a:gd name="connsiteY5" fmla="*/ 27100 h 6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99" h="65041">
                    <a:moveTo>
                      <a:pt x="7628" y="27100"/>
                    </a:moveTo>
                    <a:cubicBezTo>
                      <a:pt x="74474" y="65942"/>
                      <a:pt x="71764" y="65039"/>
                      <a:pt x="77184" y="65039"/>
                    </a:cubicBezTo>
                    <a:cubicBezTo>
                      <a:pt x="91637" y="65039"/>
                      <a:pt x="97057" y="45166"/>
                      <a:pt x="84410" y="37940"/>
                    </a:cubicBezTo>
                    <a:lnTo>
                      <a:pt x="22081" y="1807"/>
                    </a:lnTo>
                    <a:cubicBezTo>
                      <a:pt x="14855" y="-1807"/>
                      <a:pt x="6725" y="0"/>
                      <a:pt x="2208" y="7226"/>
                    </a:cubicBezTo>
                    <a:cubicBezTo>
                      <a:pt x="-2308" y="14453"/>
                      <a:pt x="401" y="23486"/>
                      <a:pt x="7628" y="27100"/>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87" name="Freeform 86">
                <a:extLst>
                  <a:ext uri="{FF2B5EF4-FFF2-40B4-BE49-F238E27FC236}">
                    <a16:creationId xmlns:a16="http://schemas.microsoft.com/office/drawing/2014/main" id="{CA187EB1-D7DD-3036-150F-8503153BF4FB}"/>
                  </a:ext>
                </a:extLst>
              </p:cNvPr>
              <p:cNvSpPr/>
              <p:nvPr/>
            </p:nvSpPr>
            <p:spPr>
              <a:xfrm>
                <a:off x="9560165" y="1077510"/>
                <a:ext cx="101172" cy="28906"/>
              </a:xfrm>
              <a:custGeom>
                <a:avLst/>
                <a:gdLst>
                  <a:gd name="connsiteX0" fmla="*/ 86719 w 101172"/>
                  <a:gd name="connsiteY0" fmla="*/ 0 h 28906"/>
                  <a:gd name="connsiteX1" fmla="*/ 14453 w 101172"/>
                  <a:gd name="connsiteY1" fmla="*/ 0 h 28906"/>
                  <a:gd name="connsiteX2" fmla="*/ 0 w 101172"/>
                  <a:gd name="connsiteY2" fmla="*/ 14453 h 28906"/>
                  <a:gd name="connsiteX3" fmla="*/ 14453 w 101172"/>
                  <a:gd name="connsiteY3" fmla="*/ 28906 h 28906"/>
                  <a:gd name="connsiteX4" fmla="*/ 86719 w 101172"/>
                  <a:gd name="connsiteY4" fmla="*/ 28906 h 28906"/>
                  <a:gd name="connsiteX5" fmla="*/ 101172 w 101172"/>
                  <a:gd name="connsiteY5" fmla="*/ 14453 h 28906"/>
                  <a:gd name="connsiteX6" fmla="*/ 86719 w 101172"/>
                  <a:gd name="connsiteY6" fmla="*/ 0 h 28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172" h="28906">
                    <a:moveTo>
                      <a:pt x="86719" y="0"/>
                    </a:moveTo>
                    <a:lnTo>
                      <a:pt x="14453" y="0"/>
                    </a:lnTo>
                    <a:cubicBezTo>
                      <a:pt x="6323" y="0"/>
                      <a:pt x="0" y="6323"/>
                      <a:pt x="0" y="14453"/>
                    </a:cubicBezTo>
                    <a:cubicBezTo>
                      <a:pt x="0" y="22583"/>
                      <a:pt x="6323" y="28906"/>
                      <a:pt x="14453" y="28906"/>
                    </a:cubicBezTo>
                    <a:lnTo>
                      <a:pt x="86719" y="28906"/>
                    </a:lnTo>
                    <a:cubicBezTo>
                      <a:pt x="94849" y="28906"/>
                      <a:pt x="101172" y="22583"/>
                      <a:pt x="101172" y="14453"/>
                    </a:cubicBezTo>
                    <a:cubicBezTo>
                      <a:pt x="101172" y="6323"/>
                      <a:pt x="94849" y="0"/>
                      <a:pt x="86719" y="0"/>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88" name="Freeform 87">
                <a:extLst>
                  <a:ext uri="{FF2B5EF4-FFF2-40B4-BE49-F238E27FC236}">
                    <a16:creationId xmlns:a16="http://schemas.microsoft.com/office/drawing/2014/main" id="{263B72C1-7698-CA4D-49F8-FD9B8FDA1038}"/>
                  </a:ext>
                </a:extLst>
              </p:cNvPr>
              <p:cNvSpPr/>
              <p:nvPr/>
            </p:nvSpPr>
            <p:spPr>
              <a:xfrm>
                <a:off x="9510483" y="1265401"/>
                <a:ext cx="91047" cy="65039"/>
              </a:xfrm>
              <a:custGeom>
                <a:avLst/>
                <a:gdLst>
                  <a:gd name="connsiteX0" fmla="*/ 84009 w 91047"/>
                  <a:gd name="connsiteY0" fmla="*/ 37939 h 65039"/>
                  <a:gd name="connsiteX1" fmla="*/ 21680 w 91047"/>
                  <a:gd name="connsiteY1" fmla="*/ 1807 h 65039"/>
                  <a:gd name="connsiteX2" fmla="*/ 1807 w 91047"/>
                  <a:gd name="connsiteY2" fmla="*/ 7227 h 65039"/>
                  <a:gd name="connsiteX3" fmla="*/ 7226 w 91047"/>
                  <a:gd name="connsiteY3" fmla="*/ 27099 h 65039"/>
                  <a:gd name="connsiteX4" fmla="*/ 69556 w 91047"/>
                  <a:gd name="connsiteY4" fmla="*/ 63232 h 65039"/>
                  <a:gd name="connsiteX5" fmla="*/ 89429 w 91047"/>
                  <a:gd name="connsiteY5" fmla="*/ 57813 h 65039"/>
                  <a:gd name="connsiteX6" fmla="*/ 84009 w 91047"/>
                  <a:gd name="connsiteY6" fmla="*/ 37939 h 6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047" h="65039">
                    <a:moveTo>
                      <a:pt x="84009" y="37939"/>
                    </a:moveTo>
                    <a:lnTo>
                      <a:pt x="21680" y="1807"/>
                    </a:lnTo>
                    <a:cubicBezTo>
                      <a:pt x="14453" y="-1806"/>
                      <a:pt x="6323" y="0"/>
                      <a:pt x="1807" y="7227"/>
                    </a:cubicBezTo>
                    <a:cubicBezTo>
                      <a:pt x="-1807" y="14453"/>
                      <a:pt x="0" y="22583"/>
                      <a:pt x="7226" y="27099"/>
                    </a:cubicBezTo>
                    <a:lnTo>
                      <a:pt x="69556" y="63232"/>
                    </a:lnTo>
                    <a:cubicBezTo>
                      <a:pt x="76782" y="66846"/>
                      <a:pt x="84912" y="65039"/>
                      <a:pt x="89429" y="57813"/>
                    </a:cubicBezTo>
                    <a:cubicBezTo>
                      <a:pt x="93042" y="51489"/>
                      <a:pt x="90332" y="42456"/>
                      <a:pt x="84009" y="37939"/>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89" name="Freeform 88">
                <a:extLst>
                  <a:ext uri="{FF2B5EF4-FFF2-40B4-BE49-F238E27FC236}">
                    <a16:creationId xmlns:a16="http://schemas.microsoft.com/office/drawing/2014/main" id="{8DDFDD2E-0E5B-F514-9595-74999CFD35E4}"/>
                  </a:ext>
                </a:extLst>
              </p:cNvPr>
              <p:cNvSpPr/>
              <p:nvPr/>
            </p:nvSpPr>
            <p:spPr>
              <a:xfrm>
                <a:off x="9509975" y="853486"/>
                <a:ext cx="91742" cy="65041"/>
              </a:xfrm>
              <a:custGeom>
                <a:avLst/>
                <a:gdLst>
                  <a:gd name="connsiteX0" fmla="*/ 14961 w 91742"/>
                  <a:gd name="connsiteY0" fmla="*/ 65039 h 65041"/>
                  <a:gd name="connsiteX1" fmla="*/ 84516 w 91742"/>
                  <a:gd name="connsiteY1" fmla="*/ 27100 h 65041"/>
                  <a:gd name="connsiteX2" fmla="*/ 89936 w 91742"/>
                  <a:gd name="connsiteY2" fmla="*/ 7226 h 65041"/>
                  <a:gd name="connsiteX3" fmla="*/ 70063 w 91742"/>
                  <a:gd name="connsiteY3" fmla="*/ 1807 h 65041"/>
                  <a:gd name="connsiteX4" fmla="*/ 7734 w 91742"/>
                  <a:gd name="connsiteY4" fmla="*/ 37940 h 65041"/>
                  <a:gd name="connsiteX5" fmla="*/ 14961 w 91742"/>
                  <a:gd name="connsiteY5" fmla="*/ 65039 h 6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742" h="65041">
                    <a:moveTo>
                      <a:pt x="14961" y="65039"/>
                    </a:moveTo>
                    <a:cubicBezTo>
                      <a:pt x="20381" y="65039"/>
                      <a:pt x="17671" y="65942"/>
                      <a:pt x="84516" y="27100"/>
                    </a:cubicBezTo>
                    <a:cubicBezTo>
                      <a:pt x="91743" y="23486"/>
                      <a:pt x="93549" y="14453"/>
                      <a:pt x="89936" y="7226"/>
                    </a:cubicBezTo>
                    <a:cubicBezTo>
                      <a:pt x="86323" y="0"/>
                      <a:pt x="77290" y="-1807"/>
                      <a:pt x="70063" y="1807"/>
                    </a:cubicBezTo>
                    <a:lnTo>
                      <a:pt x="7734" y="37940"/>
                    </a:lnTo>
                    <a:cubicBezTo>
                      <a:pt x="-5816" y="45166"/>
                      <a:pt x="-396" y="65039"/>
                      <a:pt x="14961" y="65039"/>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grpSp>
        <p:sp>
          <p:nvSpPr>
            <p:cNvPr id="81" name="Freeform 80">
              <a:extLst>
                <a:ext uri="{FF2B5EF4-FFF2-40B4-BE49-F238E27FC236}">
                  <a16:creationId xmlns:a16="http://schemas.microsoft.com/office/drawing/2014/main" id="{6023B845-2CBD-8B9E-23B7-80767CFDCDB2}"/>
                </a:ext>
              </a:extLst>
            </p:cNvPr>
            <p:cNvSpPr/>
            <p:nvPr/>
          </p:nvSpPr>
          <p:spPr>
            <a:xfrm>
              <a:off x="9222323" y="1077510"/>
              <a:ext cx="173437" cy="158984"/>
            </a:xfrm>
            <a:custGeom>
              <a:avLst/>
              <a:gdLst>
                <a:gd name="connsiteX0" fmla="*/ 112012 w 173437"/>
                <a:gd name="connsiteY0" fmla="*/ 63233 h 158984"/>
                <a:gd name="connsiteX1" fmla="*/ 91235 w 173437"/>
                <a:gd name="connsiteY1" fmla="*/ 61426 h 158984"/>
                <a:gd name="connsiteX2" fmla="*/ 0 w 173437"/>
                <a:gd name="connsiteY2" fmla="*/ 141822 h 158984"/>
                <a:gd name="connsiteX3" fmla="*/ 0 w 173437"/>
                <a:gd name="connsiteY3" fmla="*/ 130079 h 158984"/>
                <a:gd name="connsiteX4" fmla="*/ 130078 w 173437"/>
                <a:gd name="connsiteY4" fmla="*/ 0 h 158984"/>
                <a:gd name="connsiteX5" fmla="*/ 173437 w 173437"/>
                <a:gd name="connsiteY5" fmla="*/ 0 h 158984"/>
                <a:gd name="connsiteX6" fmla="*/ 173437 w 173437"/>
                <a:gd name="connsiteY6" fmla="*/ 28906 h 158984"/>
                <a:gd name="connsiteX7" fmla="*/ 43359 w 173437"/>
                <a:gd name="connsiteY7" fmla="*/ 158985 h 158984"/>
                <a:gd name="connsiteX8" fmla="*/ 24389 w 173437"/>
                <a:gd name="connsiteY8" fmla="*/ 158985 h 158984"/>
                <a:gd name="connsiteX9" fmla="*/ 111108 w 173437"/>
                <a:gd name="connsiteY9" fmla="*/ 83106 h 158984"/>
                <a:gd name="connsiteX10" fmla="*/ 112012 w 173437"/>
                <a:gd name="connsiteY10" fmla="*/ 63233 h 15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437" h="158984">
                  <a:moveTo>
                    <a:pt x="112012" y="63233"/>
                  </a:moveTo>
                  <a:cubicBezTo>
                    <a:pt x="106592" y="56909"/>
                    <a:pt x="97559" y="56909"/>
                    <a:pt x="91235" y="61426"/>
                  </a:cubicBezTo>
                  <a:lnTo>
                    <a:pt x="0" y="141822"/>
                  </a:lnTo>
                  <a:lnTo>
                    <a:pt x="0" y="130079"/>
                  </a:lnTo>
                  <a:cubicBezTo>
                    <a:pt x="0" y="58716"/>
                    <a:pt x="58716" y="0"/>
                    <a:pt x="130078" y="0"/>
                  </a:cubicBezTo>
                  <a:lnTo>
                    <a:pt x="173437" y="0"/>
                  </a:lnTo>
                  <a:lnTo>
                    <a:pt x="173437" y="28906"/>
                  </a:lnTo>
                  <a:cubicBezTo>
                    <a:pt x="173437" y="100269"/>
                    <a:pt x="114721" y="158985"/>
                    <a:pt x="43359" y="158985"/>
                  </a:cubicBezTo>
                  <a:lnTo>
                    <a:pt x="24389" y="158985"/>
                  </a:lnTo>
                  <a:lnTo>
                    <a:pt x="111108" y="83106"/>
                  </a:lnTo>
                  <a:cubicBezTo>
                    <a:pt x="116528" y="77686"/>
                    <a:pt x="117432" y="68653"/>
                    <a:pt x="112012" y="63233"/>
                  </a:cubicBezTo>
                  <a:close/>
                </a:path>
              </a:pathLst>
            </a:custGeom>
            <a:solidFill>
              <a:srgbClr val="F16924"/>
            </a:solid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82" name="Freeform 81">
              <a:extLst>
                <a:ext uri="{FF2B5EF4-FFF2-40B4-BE49-F238E27FC236}">
                  <a16:creationId xmlns:a16="http://schemas.microsoft.com/office/drawing/2014/main" id="{E93457C0-2EFA-CCAB-8B26-2CC0C69D0149}"/>
                </a:ext>
              </a:extLst>
            </p:cNvPr>
            <p:cNvSpPr/>
            <p:nvPr/>
          </p:nvSpPr>
          <p:spPr>
            <a:xfrm>
              <a:off x="9020882" y="1078413"/>
              <a:ext cx="173437" cy="158984"/>
            </a:xfrm>
            <a:custGeom>
              <a:avLst/>
              <a:gdLst>
                <a:gd name="connsiteX0" fmla="*/ 172535 w 173437"/>
                <a:gd name="connsiteY0" fmla="*/ 140918 h 158984"/>
                <a:gd name="connsiteX1" fmla="*/ 81299 w 173437"/>
                <a:gd name="connsiteY1" fmla="*/ 60522 h 158984"/>
                <a:gd name="connsiteX2" fmla="*/ 60523 w 173437"/>
                <a:gd name="connsiteY2" fmla="*/ 62329 h 158984"/>
                <a:gd name="connsiteX3" fmla="*/ 62329 w 173437"/>
                <a:gd name="connsiteY3" fmla="*/ 83105 h 158984"/>
                <a:gd name="connsiteX4" fmla="*/ 149048 w 173437"/>
                <a:gd name="connsiteY4" fmla="*/ 158984 h 158984"/>
                <a:gd name="connsiteX5" fmla="*/ 130079 w 173437"/>
                <a:gd name="connsiteY5" fmla="*/ 158984 h 158984"/>
                <a:gd name="connsiteX6" fmla="*/ 0 w 173437"/>
                <a:gd name="connsiteY6" fmla="*/ 28906 h 158984"/>
                <a:gd name="connsiteX7" fmla="*/ 0 w 173437"/>
                <a:gd name="connsiteY7" fmla="*/ 0 h 158984"/>
                <a:gd name="connsiteX8" fmla="*/ 43360 w 173437"/>
                <a:gd name="connsiteY8" fmla="*/ 0 h 158984"/>
                <a:gd name="connsiteX9" fmla="*/ 173438 w 173437"/>
                <a:gd name="connsiteY9" fmla="*/ 130078 h 158984"/>
                <a:gd name="connsiteX10" fmla="*/ 173438 w 173437"/>
                <a:gd name="connsiteY10" fmla="*/ 140918 h 15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437" h="158984">
                  <a:moveTo>
                    <a:pt x="172535" y="140918"/>
                  </a:moveTo>
                  <a:lnTo>
                    <a:pt x="81299" y="60522"/>
                  </a:lnTo>
                  <a:cubicBezTo>
                    <a:pt x="74976" y="55102"/>
                    <a:pt x="65943" y="56005"/>
                    <a:pt x="60523" y="62329"/>
                  </a:cubicBezTo>
                  <a:cubicBezTo>
                    <a:pt x="55103" y="68652"/>
                    <a:pt x="56006" y="77685"/>
                    <a:pt x="62329" y="83105"/>
                  </a:cubicBezTo>
                  <a:lnTo>
                    <a:pt x="149048" y="158984"/>
                  </a:lnTo>
                  <a:lnTo>
                    <a:pt x="130079" y="158984"/>
                  </a:lnTo>
                  <a:cubicBezTo>
                    <a:pt x="58716" y="158984"/>
                    <a:pt x="0" y="100268"/>
                    <a:pt x="0" y="28906"/>
                  </a:cubicBezTo>
                  <a:lnTo>
                    <a:pt x="0" y="0"/>
                  </a:lnTo>
                  <a:lnTo>
                    <a:pt x="43360" y="0"/>
                  </a:lnTo>
                  <a:cubicBezTo>
                    <a:pt x="114722" y="0"/>
                    <a:pt x="173438" y="58716"/>
                    <a:pt x="173438" y="130078"/>
                  </a:cubicBezTo>
                  <a:lnTo>
                    <a:pt x="173438" y="140918"/>
                  </a:lnTo>
                  <a:close/>
                </a:path>
              </a:pathLst>
            </a:custGeom>
            <a:solidFill>
              <a:srgbClr val="F16924"/>
            </a:solid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8456025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Rectangle 331">
            <a:extLst>
              <a:ext uri="{FF2B5EF4-FFF2-40B4-BE49-F238E27FC236}">
                <a16:creationId xmlns:a16="http://schemas.microsoft.com/office/drawing/2014/main" id="{4AD1CC34-EF04-776A-97D1-6B2C495C81FB}"/>
              </a:ext>
            </a:extLst>
          </p:cNvPr>
          <p:cNvSpPr/>
          <p:nvPr/>
        </p:nvSpPr>
        <p:spPr>
          <a:xfrm>
            <a:off x="0" y="0"/>
            <a:ext cx="4348375"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536403" y="430173"/>
            <a:ext cx="2937377" cy="574325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dirty="0">
                <a:solidFill>
                  <a:schemeClr val="bg1"/>
                </a:solidFill>
              </a:rPr>
              <a:t>Competencia de liderazgo en crisis</a:t>
            </a:r>
          </a:p>
          <a:p>
            <a:pPr algn="l" rtl="0"/>
            <a:endParaRPr lang="en-US" dirty="0">
              <a:solidFill>
                <a:schemeClr val="bg1"/>
              </a:solidFill>
            </a:endParaRPr>
          </a:p>
          <a:p>
            <a:pPr algn="l" rtl="0">
              <a:lnSpc>
                <a:spcPts val="2240"/>
              </a:lnSpc>
              <a:spcBef>
                <a:spcPts val="0"/>
              </a:spcBef>
            </a:pPr>
            <a:r>
              <a:rPr lang="en-US" sz="2200" dirty="0">
                <a:solidFill>
                  <a:schemeClr val="bg1"/>
                </a:solidFill>
              </a:rPr>
              <a:t>La gestión de crisis requiere decisiones soberanas y rápidas. Esto se debe a que el estándar habitual</a:t>
            </a:r>
            <a:r>
              <a:rPr lang="en-US" sz="2200" dirty="0" err="1">
                <a:solidFill>
                  <a:schemeClr val="bg1"/>
                </a:solidFill>
              </a:rPr>
              <a:t>comportamiento</a:t>
            </a:r>
            <a:r>
              <a:rPr lang="en-US" sz="2200" dirty="0">
                <a:solidFill>
                  <a:schemeClr val="bg1"/>
                </a:solidFill>
              </a:rPr>
              <a:t>los patrones y estrategias no suelen ser suficientes para superar una crisis.</a:t>
            </a:r>
          </a:p>
          <a:p>
            <a:pPr algn="l" rtl="0"/>
            <a:r>
              <a:rPr lang="en-US" dirty="0">
                <a:solidFill>
                  <a:schemeClr val="bg1"/>
                </a:solidFill>
              </a:rPr>
              <a:t> </a:t>
            </a:r>
          </a:p>
        </p:txBody>
      </p:sp>
      <p:sp>
        <p:nvSpPr>
          <p:cNvPr id="34" name="Freeform 33">
            <a:extLst>
              <a:ext uri="{FF2B5EF4-FFF2-40B4-BE49-F238E27FC236}">
                <a16:creationId xmlns:a16="http://schemas.microsoft.com/office/drawing/2014/main" id="{BAE7D363-F4C4-37A2-8C66-8AC26CA755A5}"/>
              </a:ext>
            </a:extLst>
          </p:cNvPr>
          <p:cNvSpPr/>
          <p:nvPr/>
        </p:nvSpPr>
        <p:spPr>
          <a:xfrm>
            <a:off x="4112679" y="4488819"/>
            <a:ext cx="1530922" cy="815465"/>
          </a:xfrm>
          <a:custGeom>
            <a:avLst/>
            <a:gdLst>
              <a:gd name="connsiteX0" fmla="*/ 0 w 1530922"/>
              <a:gd name="connsiteY0" fmla="*/ 740505 h 815465"/>
              <a:gd name="connsiteX1" fmla="*/ 74989 w 1530922"/>
              <a:gd name="connsiteY1" fmla="*/ 665545 h 815465"/>
              <a:gd name="connsiteX2" fmla="*/ 74989 w 1530922"/>
              <a:gd name="connsiteY2" fmla="*/ 665545 h 815465"/>
              <a:gd name="connsiteX3" fmla="*/ 1397247 w 1530922"/>
              <a:gd name="connsiteY3" fmla="*/ 28172 h 815465"/>
              <a:gd name="connsiteX4" fmla="*/ 1397247 w 1530922"/>
              <a:gd name="connsiteY4" fmla="*/ 28172 h 815465"/>
              <a:gd name="connsiteX5" fmla="*/ 1502740 w 1530922"/>
              <a:gd name="connsiteY5" fmla="*/ 16314 h 815465"/>
              <a:gd name="connsiteX6" fmla="*/ 1502740 w 1530922"/>
              <a:gd name="connsiteY6" fmla="*/ 16314 h 815465"/>
              <a:gd name="connsiteX7" fmla="*/ 1514603 w 1530922"/>
              <a:gd name="connsiteY7" fmla="*/ 121766 h 815465"/>
              <a:gd name="connsiteX8" fmla="*/ 1514603 w 1530922"/>
              <a:gd name="connsiteY8" fmla="*/ 121766 h 815465"/>
              <a:gd name="connsiteX9" fmla="*/ 74989 w 1530922"/>
              <a:gd name="connsiteY9" fmla="*/ 815465 h 815465"/>
              <a:gd name="connsiteX10" fmla="*/ 74989 w 1530922"/>
              <a:gd name="connsiteY10" fmla="*/ 815465 h 815465"/>
              <a:gd name="connsiteX11" fmla="*/ 0 w 1530922"/>
              <a:gd name="connsiteY11" fmla="*/ 740505 h 815465"/>
              <a:gd name="connsiteX12" fmla="*/ 0 w 1530922"/>
              <a:gd name="connsiteY12" fmla="*/ 740505 h 8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0922" h="815465">
                <a:moveTo>
                  <a:pt x="0" y="740505"/>
                </a:moveTo>
                <a:cubicBezTo>
                  <a:pt x="0" y="699002"/>
                  <a:pt x="33470" y="665545"/>
                  <a:pt x="74989" y="665545"/>
                </a:cubicBezTo>
                <a:lnTo>
                  <a:pt x="74989" y="665545"/>
                </a:lnTo>
                <a:cubicBezTo>
                  <a:pt x="610502" y="665545"/>
                  <a:pt x="1087548" y="416948"/>
                  <a:pt x="1397247" y="28172"/>
                </a:cubicBezTo>
                <a:lnTo>
                  <a:pt x="1397247" y="28172"/>
                </a:lnTo>
                <a:cubicBezTo>
                  <a:pt x="1423091" y="-4014"/>
                  <a:pt x="1470118" y="-9520"/>
                  <a:pt x="1502740" y="16314"/>
                </a:cubicBezTo>
                <a:lnTo>
                  <a:pt x="1502740" y="16314"/>
                </a:lnTo>
                <a:cubicBezTo>
                  <a:pt x="1534939" y="42148"/>
                  <a:pt x="1540446" y="89156"/>
                  <a:pt x="1514603" y="121766"/>
                </a:cubicBezTo>
                <a:lnTo>
                  <a:pt x="1514603" y="121766"/>
                </a:lnTo>
                <a:cubicBezTo>
                  <a:pt x="1177789" y="544423"/>
                  <a:pt x="657528" y="815465"/>
                  <a:pt x="74989" y="815465"/>
                </a:cubicBezTo>
                <a:lnTo>
                  <a:pt x="74989" y="815465"/>
                </a:lnTo>
                <a:cubicBezTo>
                  <a:pt x="33470" y="815465"/>
                  <a:pt x="0" y="781585"/>
                  <a:pt x="0" y="740505"/>
                </a:cubicBezTo>
                <a:lnTo>
                  <a:pt x="0" y="740505"/>
                </a:lnTo>
                <a:close/>
              </a:path>
            </a:pathLst>
          </a:custGeom>
          <a:solidFill>
            <a:srgbClr val="B41F7A"/>
          </a:solidFill>
          <a:ln w="4233" cap="flat">
            <a:noFill/>
            <a:prstDash val="solid"/>
            <a:miter/>
          </a:ln>
        </p:spPr>
        <p:txBody>
          <a:bodyPr rtlCol="0" anchor="ctr"/>
          <a:lstStyle/>
          <a:p>
            <a:pPr algn="l" rtl="0"/>
            <a:endParaRPr lang="en-US"/>
          </a:p>
        </p:txBody>
      </p:sp>
      <p:sp>
        <p:nvSpPr>
          <p:cNvPr id="35" name="Freeform 34">
            <a:extLst>
              <a:ext uri="{FF2B5EF4-FFF2-40B4-BE49-F238E27FC236}">
                <a16:creationId xmlns:a16="http://schemas.microsoft.com/office/drawing/2014/main" id="{5E2A9343-463C-D8FF-A890-DF344544AA0E}"/>
              </a:ext>
            </a:extLst>
          </p:cNvPr>
          <p:cNvSpPr/>
          <p:nvPr/>
        </p:nvSpPr>
        <p:spPr>
          <a:xfrm>
            <a:off x="5493607" y="2291258"/>
            <a:ext cx="534038" cy="2347701"/>
          </a:xfrm>
          <a:custGeom>
            <a:avLst/>
            <a:gdLst>
              <a:gd name="connsiteX0" fmla="*/ 534039 w 534038"/>
              <a:gd name="connsiteY0" fmla="*/ 1173749 h 2347701"/>
              <a:gd name="connsiteX1" fmla="*/ 534039 w 534038"/>
              <a:gd name="connsiteY1" fmla="*/ 1173749 h 2347701"/>
              <a:gd name="connsiteX2" fmla="*/ 133675 w 534038"/>
              <a:gd name="connsiteY2" fmla="*/ 28172 h 2347701"/>
              <a:gd name="connsiteX3" fmla="*/ 28183 w 534038"/>
              <a:gd name="connsiteY3" fmla="*/ 16314 h 2347701"/>
              <a:gd name="connsiteX4" fmla="*/ 16320 w 534038"/>
              <a:gd name="connsiteY4" fmla="*/ 121766 h 2347701"/>
              <a:gd name="connsiteX5" fmla="*/ 384061 w 534038"/>
              <a:gd name="connsiteY5" fmla="*/ 1173749 h 2347701"/>
              <a:gd name="connsiteX6" fmla="*/ 384061 w 534038"/>
              <a:gd name="connsiteY6" fmla="*/ 1174173 h 2347701"/>
              <a:gd name="connsiteX7" fmla="*/ 16320 w 534038"/>
              <a:gd name="connsiteY7" fmla="*/ 2225732 h 2347701"/>
              <a:gd name="connsiteX8" fmla="*/ 28183 w 534038"/>
              <a:gd name="connsiteY8" fmla="*/ 2331185 h 2347701"/>
              <a:gd name="connsiteX9" fmla="*/ 74786 w 534038"/>
              <a:gd name="connsiteY9" fmla="*/ 2347702 h 2347701"/>
              <a:gd name="connsiteX10" fmla="*/ 133675 w 534038"/>
              <a:gd name="connsiteY10" fmla="*/ 2319327 h 2347701"/>
              <a:gd name="connsiteX11" fmla="*/ 133675 w 534038"/>
              <a:gd name="connsiteY11" fmla="*/ 2319327 h 2347701"/>
              <a:gd name="connsiteX12" fmla="*/ 534039 w 534038"/>
              <a:gd name="connsiteY12" fmla="*/ 1173749 h 23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038" h="2347701">
                <a:moveTo>
                  <a:pt x="534039" y="1173749"/>
                </a:moveTo>
                <a:cubicBezTo>
                  <a:pt x="534039" y="1173749"/>
                  <a:pt x="534039" y="1173326"/>
                  <a:pt x="534039" y="1173749"/>
                </a:cubicBezTo>
                <a:cubicBezTo>
                  <a:pt x="534039" y="740505"/>
                  <a:pt x="384061" y="342411"/>
                  <a:pt x="133675" y="28172"/>
                </a:cubicBezTo>
                <a:cubicBezTo>
                  <a:pt x="107832" y="-4014"/>
                  <a:pt x="60805" y="-9520"/>
                  <a:pt x="28183" y="16314"/>
                </a:cubicBezTo>
                <a:cubicBezTo>
                  <a:pt x="-4016" y="42148"/>
                  <a:pt x="-9524" y="89156"/>
                  <a:pt x="16320" y="121766"/>
                </a:cubicBezTo>
                <a:cubicBezTo>
                  <a:pt x="246370" y="410596"/>
                  <a:pt x="384061" y="775656"/>
                  <a:pt x="384061" y="1173749"/>
                </a:cubicBezTo>
                <a:cubicBezTo>
                  <a:pt x="384061" y="1173749"/>
                  <a:pt x="384061" y="1174173"/>
                  <a:pt x="384061" y="1174173"/>
                </a:cubicBezTo>
                <a:cubicBezTo>
                  <a:pt x="384061" y="1572266"/>
                  <a:pt x="246370" y="1936903"/>
                  <a:pt x="16320" y="2225732"/>
                </a:cubicBezTo>
                <a:cubicBezTo>
                  <a:pt x="-9524" y="2257919"/>
                  <a:pt x="-4016" y="2305351"/>
                  <a:pt x="28183" y="2331185"/>
                </a:cubicBezTo>
                <a:cubicBezTo>
                  <a:pt x="42164" y="2342196"/>
                  <a:pt x="58686" y="2347702"/>
                  <a:pt x="74786" y="2347702"/>
                </a:cubicBezTo>
                <a:cubicBezTo>
                  <a:pt x="96816" y="2347702"/>
                  <a:pt x="118847" y="2337961"/>
                  <a:pt x="133675" y="2319327"/>
                </a:cubicBezTo>
                <a:lnTo>
                  <a:pt x="133675" y="2319327"/>
                </a:lnTo>
                <a:cubicBezTo>
                  <a:pt x="384061" y="2005087"/>
                  <a:pt x="534039" y="1606570"/>
                  <a:pt x="534039" y="1173749"/>
                </a:cubicBezTo>
                <a:close/>
              </a:path>
            </a:pathLst>
          </a:custGeom>
          <a:solidFill>
            <a:srgbClr val="F16924"/>
          </a:solidFill>
          <a:ln w="4233" cap="flat">
            <a:noFill/>
            <a:prstDash val="solid"/>
            <a:miter/>
          </a:ln>
        </p:spPr>
        <p:txBody>
          <a:bodyPr rtlCol="0" anchor="ctr"/>
          <a:lstStyle/>
          <a:p>
            <a:pPr algn="l" rtl="0"/>
            <a:endParaRPr lang="en-US"/>
          </a:p>
        </p:txBody>
      </p:sp>
      <p:sp>
        <p:nvSpPr>
          <p:cNvPr id="36" name="Freeform 35">
            <a:extLst>
              <a:ext uri="{FF2B5EF4-FFF2-40B4-BE49-F238E27FC236}">
                <a16:creationId xmlns:a16="http://schemas.microsoft.com/office/drawing/2014/main" id="{AC12AB2A-3AA2-F7F1-76BC-0FA416FAAD7F}"/>
              </a:ext>
            </a:extLst>
          </p:cNvPr>
          <p:cNvSpPr/>
          <p:nvPr/>
        </p:nvSpPr>
        <p:spPr>
          <a:xfrm>
            <a:off x="4112679" y="1625731"/>
            <a:ext cx="1530922" cy="815668"/>
          </a:xfrm>
          <a:custGeom>
            <a:avLst/>
            <a:gdLst>
              <a:gd name="connsiteX0" fmla="*/ 1397247 w 1530922"/>
              <a:gd name="connsiteY0" fmla="*/ 787293 h 815668"/>
              <a:gd name="connsiteX1" fmla="*/ 74989 w 1530922"/>
              <a:gd name="connsiteY1" fmla="*/ 149920 h 815668"/>
              <a:gd name="connsiteX2" fmla="*/ 74989 w 1530922"/>
              <a:gd name="connsiteY2" fmla="*/ 149920 h 815668"/>
              <a:gd name="connsiteX3" fmla="*/ 0 w 1530922"/>
              <a:gd name="connsiteY3" fmla="*/ 74960 h 815668"/>
              <a:gd name="connsiteX4" fmla="*/ 0 w 1530922"/>
              <a:gd name="connsiteY4" fmla="*/ 74960 h 815668"/>
              <a:gd name="connsiteX5" fmla="*/ 74989 w 1530922"/>
              <a:gd name="connsiteY5" fmla="*/ 0 h 815668"/>
              <a:gd name="connsiteX6" fmla="*/ 74989 w 1530922"/>
              <a:gd name="connsiteY6" fmla="*/ 0 h 815668"/>
              <a:gd name="connsiteX7" fmla="*/ 1514603 w 1530922"/>
              <a:gd name="connsiteY7" fmla="*/ 693699 h 815668"/>
              <a:gd name="connsiteX8" fmla="*/ 1514603 w 1530922"/>
              <a:gd name="connsiteY8" fmla="*/ 693699 h 815668"/>
              <a:gd name="connsiteX9" fmla="*/ 1502740 w 1530922"/>
              <a:gd name="connsiteY9" fmla="*/ 799151 h 815668"/>
              <a:gd name="connsiteX10" fmla="*/ 1502740 w 1530922"/>
              <a:gd name="connsiteY10" fmla="*/ 799151 h 815668"/>
              <a:gd name="connsiteX11" fmla="*/ 1456137 w 1530922"/>
              <a:gd name="connsiteY11" fmla="*/ 815668 h 815668"/>
              <a:gd name="connsiteX12" fmla="*/ 1456137 w 1530922"/>
              <a:gd name="connsiteY12" fmla="*/ 815668 h 815668"/>
              <a:gd name="connsiteX13" fmla="*/ 1397247 w 1530922"/>
              <a:gd name="connsiteY13" fmla="*/ 787293 h 815668"/>
              <a:gd name="connsiteX14" fmla="*/ 1397247 w 1530922"/>
              <a:gd name="connsiteY14" fmla="*/ 787293 h 8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922" h="815668">
                <a:moveTo>
                  <a:pt x="1397247" y="787293"/>
                </a:moveTo>
                <a:cubicBezTo>
                  <a:pt x="1087125" y="398517"/>
                  <a:pt x="610502" y="149920"/>
                  <a:pt x="74989" y="149920"/>
                </a:cubicBezTo>
                <a:lnTo>
                  <a:pt x="74989" y="149920"/>
                </a:lnTo>
                <a:cubicBezTo>
                  <a:pt x="33470" y="149920"/>
                  <a:pt x="0" y="116464"/>
                  <a:pt x="0" y="74960"/>
                </a:cubicBezTo>
                <a:lnTo>
                  <a:pt x="0" y="74960"/>
                </a:lnTo>
                <a:cubicBezTo>
                  <a:pt x="0" y="33457"/>
                  <a:pt x="33470" y="0"/>
                  <a:pt x="74989" y="0"/>
                </a:cubicBezTo>
                <a:lnTo>
                  <a:pt x="74989" y="0"/>
                </a:lnTo>
                <a:cubicBezTo>
                  <a:pt x="657528" y="0"/>
                  <a:pt x="1177789" y="271042"/>
                  <a:pt x="1514603" y="693699"/>
                </a:cubicBezTo>
                <a:lnTo>
                  <a:pt x="1514603" y="693699"/>
                </a:lnTo>
                <a:cubicBezTo>
                  <a:pt x="1540446" y="725885"/>
                  <a:pt x="1534939" y="773318"/>
                  <a:pt x="1502740" y="799151"/>
                </a:cubicBezTo>
                <a:lnTo>
                  <a:pt x="1502740" y="799151"/>
                </a:lnTo>
                <a:cubicBezTo>
                  <a:pt x="1488759" y="810162"/>
                  <a:pt x="1472236" y="815668"/>
                  <a:pt x="1456137" y="815668"/>
                </a:cubicBezTo>
                <a:lnTo>
                  <a:pt x="1456137" y="815668"/>
                </a:lnTo>
                <a:cubicBezTo>
                  <a:pt x="1433683" y="815245"/>
                  <a:pt x="1412076" y="805504"/>
                  <a:pt x="1397247" y="787293"/>
                </a:cubicBezTo>
                <a:lnTo>
                  <a:pt x="1397247" y="787293"/>
                </a:lnTo>
                <a:close/>
              </a:path>
            </a:pathLst>
          </a:custGeom>
          <a:solidFill>
            <a:srgbClr val="7F1C58"/>
          </a:solidFill>
          <a:ln w="4233" cap="flat">
            <a:noFill/>
            <a:prstDash val="solid"/>
            <a:miter/>
          </a:ln>
        </p:spPr>
        <p:txBody>
          <a:bodyPr rtlCol="0" anchor="ctr"/>
          <a:lstStyle/>
          <a:p>
            <a:pPr algn="l" rtl="0"/>
            <a:endParaRPr lang="en-US"/>
          </a:p>
        </p:txBody>
      </p:sp>
      <p:grpSp>
        <p:nvGrpSpPr>
          <p:cNvPr id="254" name="Graphic 8">
            <a:extLst>
              <a:ext uri="{FF2B5EF4-FFF2-40B4-BE49-F238E27FC236}">
                <a16:creationId xmlns:a16="http://schemas.microsoft.com/office/drawing/2014/main" id="{15A5C673-CC86-BF23-26C5-EFD07711BD2D}"/>
              </a:ext>
            </a:extLst>
          </p:cNvPr>
          <p:cNvGrpSpPr/>
          <p:nvPr/>
        </p:nvGrpSpPr>
        <p:grpSpPr>
          <a:xfrm>
            <a:off x="5669909" y="4884704"/>
            <a:ext cx="1446392" cy="1445841"/>
            <a:chOff x="4817897" y="694433"/>
            <a:chExt cx="1446392" cy="1445841"/>
          </a:xfrm>
        </p:grpSpPr>
        <p:sp>
          <p:nvSpPr>
            <p:cNvPr id="255" name="Freeform 254">
              <a:extLst>
                <a:ext uri="{FF2B5EF4-FFF2-40B4-BE49-F238E27FC236}">
                  <a16:creationId xmlns:a16="http://schemas.microsoft.com/office/drawing/2014/main" id="{EDE01515-A71E-91F7-2E9C-CE2C377F3CD4}"/>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B41F7A"/>
            </a:solidFill>
            <a:ln w="4233" cap="flat">
              <a:noFill/>
              <a:prstDash val="solid"/>
              <a:miter/>
            </a:ln>
          </p:spPr>
          <p:txBody>
            <a:bodyPr rtlCol="0" anchor="ctr"/>
            <a:lstStyle/>
            <a:p>
              <a:pPr algn="l" rtl="0"/>
              <a:endParaRPr lang="en-US" dirty="0"/>
            </a:p>
          </p:txBody>
        </p:sp>
        <p:sp>
          <p:nvSpPr>
            <p:cNvPr id="256" name="Freeform 255">
              <a:extLst>
                <a:ext uri="{FF2B5EF4-FFF2-40B4-BE49-F238E27FC236}">
                  <a16:creationId xmlns:a16="http://schemas.microsoft.com/office/drawing/2014/main" id="{3E7722AC-53AD-B2CE-CA51-C9E93822559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259" name="Text Placeholder 2">
            <a:extLst>
              <a:ext uri="{FF2B5EF4-FFF2-40B4-BE49-F238E27FC236}">
                <a16:creationId xmlns:a16="http://schemas.microsoft.com/office/drawing/2014/main" id="{3C88786D-B5E6-9C48-4E9F-89AD1DCF6F50}"/>
              </a:ext>
            </a:extLst>
          </p:cNvPr>
          <p:cNvSpPr txBox="1">
            <a:spLocks/>
          </p:cNvSpPr>
          <p:nvPr/>
        </p:nvSpPr>
        <p:spPr>
          <a:xfrm>
            <a:off x="7134534" y="638218"/>
            <a:ext cx="4957908" cy="58222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80"/>
              </a:lnSpc>
              <a:spcBef>
                <a:spcPts val="0"/>
              </a:spcBef>
            </a:pPr>
            <a:r>
              <a:rPr lang="en-US" sz="2200" b="1" dirty="0">
                <a:solidFill>
                  <a:srgbClr val="7F1C58"/>
                </a:solidFill>
              </a:rPr>
              <a:t>Antes de la Crisis</a:t>
            </a:r>
          </a:p>
          <a:p>
            <a:pPr marL="342900" indent="-342900" algn="l" rtl="0">
              <a:lnSpc>
                <a:spcPts val="2280"/>
              </a:lnSpc>
              <a:spcBef>
                <a:spcPts val="0"/>
              </a:spcBef>
              <a:buClr>
                <a:srgbClr val="7F1C58"/>
              </a:buClr>
              <a:buFont typeface="Arial" panose="020B0604020202020204" pitchFamily="34" charset="0"/>
              <a:buChar char="•"/>
            </a:pPr>
            <a:r>
              <a:rPr lang="en-US" sz="2200" dirty="0">
                <a:solidFill>
                  <a:srgbClr val="616161"/>
                </a:solidFill>
              </a:rPr>
              <a:t>Formando confianza</a:t>
            </a:r>
          </a:p>
          <a:p>
            <a:pPr marL="342900" indent="-342900" algn="l" rtl="0">
              <a:lnSpc>
                <a:spcPts val="2280"/>
              </a:lnSpc>
              <a:spcBef>
                <a:spcPts val="0"/>
              </a:spcBef>
              <a:buClr>
                <a:srgbClr val="7F1C58"/>
              </a:buClr>
              <a:buFont typeface="Arial" panose="020B0604020202020204" pitchFamily="34" charset="0"/>
              <a:buChar char="•"/>
            </a:pPr>
            <a:r>
              <a:rPr lang="en-US" sz="2200" dirty="0">
                <a:solidFill>
                  <a:srgbClr val="616161"/>
                </a:solidFill>
              </a:rPr>
              <a:t>Entrenamiento de liderazgo</a:t>
            </a:r>
          </a:p>
          <a:p>
            <a:pPr marL="342900" indent="-342900" algn="l" rtl="0">
              <a:lnSpc>
                <a:spcPts val="2280"/>
              </a:lnSpc>
              <a:spcBef>
                <a:spcPts val="0"/>
              </a:spcBef>
              <a:buClr>
                <a:srgbClr val="7F1C58"/>
              </a:buClr>
              <a:buFont typeface="Arial" panose="020B0604020202020204" pitchFamily="34" charset="0"/>
              <a:buChar char="•"/>
            </a:pPr>
            <a:r>
              <a:rPr lang="en-US" sz="2200" dirty="0">
                <a:solidFill>
                  <a:srgbClr val="616161"/>
                </a:solidFill>
              </a:rPr>
              <a:t>Sistemas de alerta temprana</a:t>
            </a:r>
          </a:p>
          <a:p>
            <a:pPr algn="l" rtl="0">
              <a:lnSpc>
                <a:spcPts val="2280"/>
              </a:lnSpc>
              <a:spcBef>
                <a:spcPts val="0"/>
              </a:spcBef>
            </a:pPr>
            <a:endParaRPr lang="en-US" sz="2200" dirty="0">
              <a:solidFill>
                <a:srgbClr val="616161"/>
              </a:solidFill>
            </a:endParaRPr>
          </a:p>
        </p:txBody>
      </p:sp>
      <p:sp>
        <p:nvSpPr>
          <p:cNvPr id="260" name="Text Placeholder 2">
            <a:extLst>
              <a:ext uri="{FF2B5EF4-FFF2-40B4-BE49-F238E27FC236}">
                <a16:creationId xmlns:a16="http://schemas.microsoft.com/office/drawing/2014/main" id="{0E20A38A-941B-7209-A315-1A990444A6D1}"/>
              </a:ext>
            </a:extLst>
          </p:cNvPr>
          <p:cNvSpPr>
            <a:spLocks noGrp="1"/>
          </p:cNvSpPr>
          <p:nvPr>
            <p:ph type="body" sz="quarter" idx="16"/>
          </p:nvPr>
        </p:nvSpPr>
        <p:spPr>
          <a:xfrm>
            <a:off x="8368804" y="2538814"/>
            <a:ext cx="3778566" cy="1157102"/>
          </a:xfrm>
        </p:spPr>
        <p:txBody>
          <a:bodyPr>
            <a:noAutofit/>
          </a:bodyPr>
          <a:lstStyle/>
          <a:p>
            <a:pPr algn="l" rtl="0">
              <a:lnSpc>
                <a:spcPts val="2280"/>
              </a:lnSpc>
              <a:spcBef>
                <a:spcPts val="0"/>
              </a:spcBef>
            </a:pPr>
            <a:r>
              <a:rPr lang="en-US" sz="2200" b="1" dirty="0">
                <a:solidFill>
                  <a:srgbClr val="F16924"/>
                </a:solidFill>
              </a:rPr>
              <a:t>durante la crisis</a:t>
            </a:r>
          </a:p>
          <a:p>
            <a:pPr marL="342900" indent="-342900" algn="l" rtl="0">
              <a:lnSpc>
                <a:spcPts val="2280"/>
              </a:lnSpc>
              <a:spcBef>
                <a:spcPts val="0"/>
              </a:spcBef>
              <a:buClr>
                <a:srgbClr val="F16924"/>
              </a:buClr>
              <a:buFont typeface="Arial" panose="020B0604020202020204" pitchFamily="34" charset="0"/>
              <a:buChar char="•"/>
            </a:pPr>
            <a:r>
              <a:rPr lang="en-US" sz="2200" dirty="0"/>
              <a:t>Comunicación</a:t>
            </a:r>
          </a:p>
          <a:p>
            <a:pPr marL="342900" indent="-342900" algn="l" rtl="0">
              <a:lnSpc>
                <a:spcPts val="2280"/>
              </a:lnSpc>
              <a:spcBef>
                <a:spcPts val="0"/>
              </a:spcBef>
              <a:buClr>
                <a:srgbClr val="F16924"/>
              </a:buClr>
              <a:buFont typeface="Arial" panose="020B0604020202020204" pitchFamily="34" charset="0"/>
              <a:buChar char="•"/>
            </a:pPr>
            <a:r>
              <a:rPr lang="en-US" sz="2200" dirty="0"/>
              <a:t>Prioridades</a:t>
            </a:r>
          </a:p>
          <a:p>
            <a:pPr marL="342900" indent="-342900" algn="l" rtl="0">
              <a:lnSpc>
                <a:spcPts val="2280"/>
              </a:lnSpc>
              <a:spcBef>
                <a:spcPts val="0"/>
              </a:spcBef>
              <a:buClr>
                <a:srgbClr val="F16924"/>
              </a:buClr>
              <a:buFont typeface="Arial" panose="020B0604020202020204" pitchFamily="34" charset="0"/>
              <a:buChar char="•"/>
            </a:pPr>
            <a:r>
              <a:rPr lang="en-US" sz="2200" dirty="0"/>
              <a:t>Coraje ciudadano</a:t>
            </a:r>
          </a:p>
          <a:p>
            <a:pPr marL="342900" indent="-342900" algn="l" rtl="0">
              <a:lnSpc>
                <a:spcPts val="2280"/>
              </a:lnSpc>
              <a:spcBef>
                <a:spcPts val="0"/>
              </a:spcBef>
              <a:buClr>
                <a:srgbClr val="F16924"/>
              </a:buClr>
              <a:buFont typeface="Arial" panose="020B0604020202020204" pitchFamily="34" charset="0"/>
              <a:buChar char="•"/>
            </a:pPr>
            <a:r>
              <a:rPr lang="en-US" sz="2200" dirty="0"/>
              <a:t>Orientación</a:t>
            </a:r>
          </a:p>
          <a:p>
            <a:pPr marL="342900" indent="-342900" algn="l" rtl="0">
              <a:lnSpc>
                <a:spcPts val="2280"/>
              </a:lnSpc>
              <a:spcBef>
                <a:spcPts val="0"/>
              </a:spcBef>
              <a:buClr>
                <a:srgbClr val="F16924"/>
              </a:buClr>
              <a:buFont typeface="Arial" panose="020B0604020202020204" pitchFamily="34" charset="0"/>
              <a:buChar char="•"/>
            </a:pPr>
            <a:r>
              <a:rPr lang="en-US" sz="2200" dirty="0"/>
              <a:t>Gestión simbólica</a:t>
            </a:r>
          </a:p>
          <a:p>
            <a:pPr marL="342900" indent="-342900" algn="l" rtl="0">
              <a:lnSpc>
                <a:spcPts val="2280"/>
              </a:lnSpc>
              <a:spcBef>
                <a:spcPts val="0"/>
              </a:spcBef>
              <a:buClr>
                <a:srgbClr val="F16924"/>
              </a:buClr>
              <a:buFont typeface="Arial" panose="020B0604020202020204" pitchFamily="34" charset="0"/>
              <a:buChar char="•"/>
            </a:pPr>
            <a:r>
              <a:rPr lang="en-US" sz="2200" dirty="0"/>
              <a:t>Escenarios de recuperación</a:t>
            </a:r>
          </a:p>
          <a:p>
            <a:pPr algn="l" rtl="0">
              <a:lnSpc>
                <a:spcPts val="2280"/>
              </a:lnSpc>
              <a:spcBef>
                <a:spcPts val="0"/>
              </a:spcBef>
            </a:pPr>
            <a:endParaRPr lang="en-US" sz="2200" dirty="0"/>
          </a:p>
        </p:txBody>
      </p:sp>
      <p:sp>
        <p:nvSpPr>
          <p:cNvPr id="261" name="Text Placeholder 2">
            <a:extLst>
              <a:ext uri="{FF2B5EF4-FFF2-40B4-BE49-F238E27FC236}">
                <a16:creationId xmlns:a16="http://schemas.microsoft.com/office/drawing/2014/main" id="{39F7FFF2-3249-5EA0-933F-5934F974780D}"/>
              </a:ext>
            </a:extLst>
          </p:cNvPr>
          <p:cNvSpPr txBox="1">
            <a:spLocks/>
          </p:cNvSpPr>
          <p:nvPr/>
        </p:nvSpPr>
        <p:spPr>
          <a:xfrm>
            <a:off x="7308926" y="5179847"/>
            <a:ext cx="3283608" cy="989804"/>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80"/>
              </a:lnSpc>
              <a:spcBef>
                <a:spcPts val="0"/>
              </a:spcBef>
            </a:pPr>
            <a:r>
              <a:rPr lang="en-US" sz="2200" b="1" dirty="0">
                <a:solidFill>
                  <a:srgbClr val="B41F7A"/>
                </a:solidFill>
              </a:rPr>
              <a:t>Después de la Crisis</a:t>
            </a:r>
          </a:p>
          <a:p>
            <a:pPr marL="342900" indent="-342900" algn="l" rtl="0">
              <a:lnSpc>
                <a:spcPts val="2280"/>
              </a:lnSpc>
              <a:spcBef>
                <a:spcPts val="0"/>
              </a:spcBef>
              <a:buClr>
                <a:srgbClr val="B41F7A"/>
              </a:buClr>
              <a:buFont typeface="Arial" panose="020B0604020202020204" pitchFamily="34" charset="0"/>
              <a:buChar char="•"/>
            </a:pPr>
            <a:r>
              <a:rPr lang="en-US" sz="2200" dirty="0">
                <a:solidFill>
                  <a:srgbClr val="616161"/>
                </a:solidFill>
              </a:rPr>
              <a:t>Aprendizaje sistemático</a:t>
            </a:r>
          </a:p>
          <a:p>
            <a:pPr marL="342900" indent="-342900" algn="l" rtl="0">
              <a:lnSpc>
                <a:spcPts val="2280"/>
              </a:lnSpc>
              <a:spcBef>
                <a:spcPts val="0"/>
              </a:spcBef>
              <a:buClr>
                <a:srgbClr val="B41F7A"/>
              </a:buClr>
              <a:buFont typeface="Arial" panose="020B0604020202020204" pitchFamily="34" charset="0"/>
              <a:buChar char="•"/>
            </a:pPr>
            <a:r>
              <a:rPr lang="en-US" sz="2200" dirty="0">
                <a:solidFill>
                  <a:srgbClr val="616161"/>
                </a:solidFill>
              </a:rPr>
              <a:t>Plan de sucesión</a:t>
            </a:r>
          </a:p>
          <a:p>
            <a:pPr marL="342900" indent="-342900" algn="l" rtl="0">
              <a:lnSpc>
                <a:spcPts val="2280"/>
              </a:lnSpc>
              <a:spcBef>
                <a:spcPts val="0"/>
              </a:spcBef>
              <a:buClr>
                <a:srgbClr val="B41F7A"/>
              </a:buClr>
              <a:buFont typeface="Arial" panose="020B0604020202020204" pitchFamily="34" charset="0"/>
              <a:buChar char="•"/>
            </a:pPr>
            <a:r>
              <a:rPr lang="en-US" sz="2200" dirty="0">
                <a:solidFill>
                  <a:srgbClr val="616161"/>
                </a:solidFill>
              </a:rPr>
              <a:t>Formando confianza</a:t>
            </a:r>
          </a:p>
          <a:p>
            <a:pPr algn="l" rtl="0">
              <a:lnSpc>
                <a:spcPts val="2280"/>
              </a:lnSpc>
              <a:spcBef>
                <a:spcPts val="0"/>
              </a:spcBef>
            </a:pPr>
            <a:endParaRPr lang="en-US" sz="2200" dirty="0">
              <a:solidFill>
                <a:srgbClr val="616161"/>
              </a:solidFill>
            </a:endParaRPr>
          </a:p>
        </p:txBody>
      </p:sp>
      <p:cxnSp>
        <p:nvCxnSpPr>
          <p:cNvPr id="335" name="Straight Connector 334">
            <a:extLst>
              <a:ext uri="{FF2B5EF4-FFF2-40B4-BE49-F238E27FC236}">
                <a16:creationId xmlns:a16="http://schemas.microsoft.com/office/drawing/2014/main" id="{14E612F2-A778-E5F3-FFC9-2F95B5D8B4CC}"/>
              </a:ext>
            </a:extLst>
          </p:cNvPr>
          <p:cNvCxnSpPr>
            <a:cxnSpLocks/>
          </p:cNvCxnSpPr>
          <p:nvPr/>
        </p:nvCxnSpPr>
        <p:spPr>
          <a:xfrm>
            <a:off x="5242359" y="4881243"/>
            <a:ext cx="524937" cy="423041"/>
          </a:xfrm>
          <a:prstGeom prst="line">
            <a:avLst/>
          </a:prstGeom>
          <a:ln w="3810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656E9FF6-AEC7-3AFB-A299-C2A8E7C89D3F}"/>
              </a:ext>
            </a:extLst>
          </p:cNvPr>
          <p:cNvCxnSpPr>
            <a:cxnSpLocks/>
          </p:cNvCxnSpPr>
          <p:nvPr/>
        </p:nvCxnSpPr>
        <p:spPr>
          <a:xfrm flipV="1">
            <a:off x="5042404" y="1423895"/>
            <a:ext cx="524937" cy="423041"/>
          </a:xfrm>
          <a:prstGeom prst="line">
            <a:avLst/>
          </a:prstGeom>
          <a:ln w="3810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CAD7B213-842D-81D5-4F18-438705378ED2}"/>
              </a:ext>
            </a:extLst>
          </p:cNvPr>
          <p:cNvCxnSpPr>
            <a:cxnSpLocks/>
          </p:cNvCxnSpPr>
          <p:nvPr/>
        </p:nvCxnSpPr>
        <p:spPr>
          <a:xfrm>
            <a:off x="6029437" y="3458445"/>
            <a:ext cx="817902" cy="6663"/>
          </a:xfrm>
          <a:prstGeom prst="line">
            <a:avLst/>
          </a:prstGeom>
          <a:ln w="38100">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aphic 8">
            <a:extLst>
              <a:ext uri="{FF2B5EF4-FFF2-40B4-BE49-F238E27FC236}">
                <a16:creationId xmlns:a16="http://schemas.microsoft.com/office/drawing/2014/main" id="{B1DB0B7C-5E3E-41EE-9E2C-C798739EE1F5}"/>
              </a:ext>
            </a:extLst>
          </p:cNvPr>
          <p:cNvGrpSpPr/>
          <p:nvPr/>
        </p:nvGrpSpPr>
        <p:grpSpPr>
          <a:xfrm>
            <a:off x="5531043" y="570732"/>
            <a:ext cx="1446392" cy="1445841"/>
            <a:chOff x="4817897" y="694433"/>
            <a:chExt cx="1446392" cy="1445841"/>
          </a:xfrm>
        </p:grpSpPr>
        <p:sp>
          <p:nvSpPr>
            <p:cNvPr id="29" name="Freeform 28">
              <a:extLst>
                <a:ext uri="{FF2B5EF4-FFF2-40B4-BE49-F238E27FC236}">
                  <a16:creationId xmlns:a16="http://schemas.microsoft.com/office/drawing/2014/main" id="{6FD45C50-AA3B-2AE0-0939-79F447E1C2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7F1C58"/>
            </a:solidFill>
            <a:ln w="4233" cap="flat">
              <a:noFill/>
              <a:prstDash val="solid"/>
              <a:miter/>
            </a:ln>
          </p:spPr>
          <p:txBody>
            <a:bodyPr rtlCol="0" anchor="ctr"/>
            <a:lstStyle/>
            <a:p>
              <a:pPr algn="l" rtl="0"/>
              <a:endParaRPr lang="en-US" dirty="0"/>
            </a:p>
          </p:txBody>
        </p:sp>
        <p:sp>
          <p:nvSpPr>
            <p:cNvPr id="31" name="Freeform 30">
              <a:extLst>
                <a:ext uri="{FF2B5EF4-FFF2-40B4-BE49-F238E27FC236}">
                  <a16:creationId xmlns:a16="http://schemas.microsoft.com/office/drawing/2014/main" id="{617AAFC6-56B6-4B98-E312-889FB5D38EF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grpSp>
        <p:nvGrpSpPr>
          <p:cNvPr id="44" name="Graphic 8">
            <a:extLst>
              <a:ext uri="{FF2B5EF4-FFF2-40B4-BE49-F238E27FC236}">
                <a16:creationId xmlns:a16="http://schemas.microsoft.com/office/drawing/2014/main" id="{954290D9-C016-AB69-8CEA-1CC7DEC411BA}"/>
              </a:ext>
            </a:extLst>
          </p:cNvPr>
          <p:cNvGrpSpPr/>
          <p:nvPr/>
        </p:nvGrpSpPr>
        <p:grpSpPr>
          <a:xfrm>
            <a:off x="6723181" y="2740154"/>
            <a:ext cx="1446392" cy="1445841"/>
            <a:chOff x="4817897" y="694433"/>
            <a:chExt cx="1446392" cy="1445841"/>
          </a:xfrm>
        </p:grpSpPr>
        <p:sp>
          <p:nvSpPr>
            <p:cNvPr id="45" name="Freeform 44">
              <a:extLst>
                <a:ext uri="{FF2B5EF4-FFF2-40B4-BE49-F238E27FC236}">
                  <a16:creationId xmlns:a16="http://schemas.microsoft.com/office/drawing/2014/main" id="{AD477DA9-46AE-4101-5058-889F232163C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46" name="Freeform 45">
              <a:extLst>
                <a:ext uri="{FF2B5EF4-FFF2-40B4-BE49-F238E27FC236}">
                  <a16:creationId xmlns:a16="http://schemas.microsoft.com/office/drawing/2014/main" id="{22A0AC7A-6A24-ADC9-FEFF-3F1DB7A7C82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215" name="Rectangle 214">
            <a:extLst>
              <a:ext uri="{FF2B5EF4-FFF2-40B4-BE49-F238E27FC236}">
                <a16:creationId xmlns:a16="http://schemas.microsoft.com/office/drawing/2014/main" id="{13AFE945-1351-4152-C7FB-365CFAADD6FC}"/>
              </a:ext>
            </a:extLst>
          </p:cNvPr>
          <p:cNvSpPr/>
          <p:nvPr/>
        </p:nvSpPr>
        <p:spPr>
          <a:xfrm>
            <a:off x="538194" y="226984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grpSp>
        <p:nvGrpSpPr>
          <p:cNvPr id="9" name="Graphic 3">
            <a:extLst>
              <a:ext uri="{FF2B5EF4-FFF2-40B4-BE49-F238E27FC236}">
                <a16:creationId xmlns:a16="http://schemas.microsoft.com/office/drawing/2014/main" id="{D91E1096-AA58-C1AF-1957-FA058CEC1383}"/>
              </a:ext>
            </a:extLst>
          </p:cNvPr>
          <p:cNvGrpSpPr/>
          <p:nvPr/>
        </p:nvGrpSpPr>
        <p:grpSpPr>
          <a:xfrm>
            <a:off x="5934044" y="881053"/>
            <a:ext cx="707330" cy="798180"/>
            <a:chOff x="4643578" y="432838"/>
            <a:chExt cx="1028134" cy="1160188"/>
          </a:xfrm>
          <a:solidFill>
            <a:srgbClr val="616161"/>
          </a:solidFill>
        </p:grpSpPr>
        <p:sp>
          <p:nvSpPr>
            <p:cNvPr id="10" name="Freeform 9">
              <a:extLst>
                <a:ext uri="{FF2B5EF4-FFF2-40B4-BE49-F238E27FC236}">
                  <a16:creationId xmlns:a16="http://schemas.microsoft.com/office/drawing/2014/main" id="{473F6C7C-2F6F-1F3A-5196-5583CD95FE7D}"/>
                </a:ext>
              </a:extLst>
            </p:cNvPr>
            <p:cNvSpPr/>
            <p:nvPr/>
          </p:nvSpPr>
          <p:spPr>
            <a:xfrm>
              <a:off x="5046765" y="465751"/>
              <a:ext cx="419643" cy="433356"/>
            </a:xfrm>
            <a:custGeom>
              <a:avLst/>
              <a:gdLst>
                <a:gd name="connsiteX0" fmla="*/ 416901 w 419643"/>
                <a:gd name="connsiteY0" fmla="*/ 257819 h 433356"/>
                <a:gd name="connsiteX1" fmla="*/ 416901 w 419643"/>
                <a:gd name="connsiteY1" fmla="*/ 433356 h 433356"/>
                <a:gd name="connsiteX2" fmla="*/ 35656 w 419643"/>
                <a:gd name="connsiteY2" fmla="*/ 433356 h 433356"/>
                <a:gd name="connsiteX3" fmla="*/ 35656 w 419643"/>
                <a:gd name="connsiteY3" fmla="*/ 301704 h 433356"/>
                <a:gd name="connsiteX4" fmla="*/ 0 w 419643"/>
                <a:gd name="connsiteY4" fmla="*/ 164566 h 433356"/>
                <a:gd name="connsiteX5" fmla="*/ 0 w 419643"/>
                <a:gd name="connsiteY5" fmla="*/ 24685 h 433356"/>
                <a:gd name="connsiteX6" fmla="*/ 24686 w 419643"/>
                <a:gd name="connsiteY6" fmla="*/ 0 h 433356"/>
                <a:gd name="connsiteX7" fmla="*/ 287991 w 419643"/>
                <a:gd name="connsiteY7" fmla="*/ 0 h 433356"/>
                <a:gd name="connsiteX8" fmla="*/ 287991 w 419643"/>
                <a:gd name="connsiteY8" fmla="*/ 71312 h 433356"/>
                <a:gd name="connsiteX9" fmla="*/ 345588 w 419643"/>
                <a:gd name="connsiteY9" fmla="*/ 128910 h 433356"/>
                <a:gd name="connsiteX10" fmla="*/ 416901 w 419643"/>
                <a:gd name="connsiteY10" fmla="*/ 128910 h 433356"/>
                <a:gd name="connsiteX11" fmla="*/ 416901 w 419643"/>
                <a:gd name="connsiteY11" fmla="*/ 178280 h 433356"/>
                <a:gd name="connsiteX12" fmla="*/ 419643 w 419643"/>
                <a:gd name="connsiteY12" fmla="*/ 189250 h 43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643" h="433356">
                  <a:moveTo>
                    <a:pt x="416901" y="257819"/>
                  </a:moveTo>
                  <a:lnTo>
                    <a:pt x="416901" y="433356"/>
                  </a:lnTo>
                  <a:cubicBezTo>
                    <a:pt x="381245" y="433356"/>
                    <a:pt x="74055" y="433356"/>
                    <a:pt x="35656" y="433356"/>
                  </a:cubicBezTo>
                  <a:lnTo>
                    <a:pt x="35656" y="301704"/>
                  </a:lnTo>
                  <a:cubicBezTo>
                    <a:pt x="35656" y="227649"/>
                    <a:pt x="5486" y="181022"/>
                    <a:pt x="0" y="164566"/>
                  </a:cubicBezTo>
                  <a:lnTo>
                    <a:pt x="0" y="24685"/>
                  </a:lnTo>
                  <a:cubicBezTo>
                    <a:pt x="0" y="10971"/>
                    <a:pt x="10972" y="0"/>
                    <a:pt x="24686" y="0"/>
                  </a:cubicBezTo>
                  <a:lnTo>
                    <a:pt x="287991" y="0"/>
                  </a:lnTo>
                  <a:lnTo>
                    <a:pt x="287991" y="71312"/>
                  </a:lnTo>
                  <a:cubicBezTo>
                    <a:pt x="287991" y="104225"/>
                    <a:pt x="315418" y="128910"/>
                    <a:pt x="345588" y="128910"/>
                  </a:cubicBezTo>
                  <a:lnTo>
                    <a:pt x="416901" y="128910"/>
                  </a:lnTo>
                  <a:lnTo>
                    <a:pt x="416901" y="178280"/>
                  </a:lnTo>
                  <a:cubicBezTo>
                    <a:pt x="416901" y="181022"/>
                    <a:pt x="416901" y="186508"/>
                    <a:pt x="419643" y="189250"/>
                  </a:cubicBezTo>
                </a:path>
              </a:pathLst>
            </a:custGeom>
            <a:solidFill>
              <a:srgbClr val="7F1C58"/>
            </a:solidFill>
            <a:ln w="27426" cap="flat">
              <a:noFill/>
              <a:prstDash val="solid"/>
              <a:miter/>
            </a:ln>
          </p:spPr>
          <p:txBody>
            <a:bodyPr rtlCol="0" anchor="ctr"/>
            <a:lstStyle/>
            <a:p>
              <a:pPr algn="l" rtl="0"/>
              <a:endParaRPr lang="en-US" dirty="0"/>
            </a:p>
          </p:txBody>
        </p:sp>
        <p:grpSp>
          <p:nvGrpSpPr>
            <p:cNvPr id="11" name="Graphic 3">
              <a:extLst>
                <a:ext uri="{FF2B5EF4-FFF2-40B4-BE49-F238E27FC236}">
                  <a16:creationId xmlns:a16="http://schemas.microsoft.com/office/drawing/2014/main" id="{32E2E769-314A-7B21-9AF7-36AE2EE65BD2}"/>
                </a:ext>
              </a:extLst>
            </p:cNvPr>
            <p:cNvGrpSpPr/>
            <p:nvPr/>
          </p:nvGrpSpPr>
          <p:grpSpPr>
            <a:xfrm>
              <a:off x="4643578" y="432838"/>
              <a:ext cx="1028134" cy="1160188"/>
              <a:chOff x="4643578" y="432838"/>
              <a:chExt cx="1028134" cy="1160188"/>
            </a:xfrm>
            <a:grpFill/>
          </p:grpSpPr>
          <p:sp>
            <p:nvSpPr>
              <p:cNvPr id="12" name="Freeform 11">
                <a:extLst>
                  <a:ext uri="{FF2B5EF4-FFF2-40B4-BE49-F238E27FC236}">
                    <a16:creationId xmlns:a16="http://schemas.microsoft.com/office/drawing/2014/main" id="{205FACEB-E397-E2D8-00FC-B37E3FDB77DE}"/>
                  </a:ext>
                </a:extLst>
              </p:cNvPr>
              <p:cNvSpPr/>
              <p:nvPr/>
            </p:nvSpPr>
            <p:spPr>
              <a:xfrm>
                <a:off x="5115334" y="53157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pPr algn="l" rtl="0"/>
                <a:endParaRPr lang="en-US"/>
              </a:p>
            </p:txBody>
          </p:sp>
          <p:grpSp>
            <p:nvGrpSpPr>
              <p:cNvPr id="13" name="Graphic 3">
                <a:extLst>
                  <a:ext uri="{FF2B5EF4-FFF2-40B4-BE49-F238E27FC236}">
                    <a16:creationId xmlns:a16="http://schemas.microsoft.com/office/drawing/2014/main" id="{35DB5946-F7B2-89FD-C860-B5902B82DF76}"/>
                  </a:ext>
                </a:extLst>
              </p:cNvPr>
              <p:cNvGrpSpPr/>
              <p:nvPr/>
            </p:nvGrpSpPr>
            <p:grpSpPr>
              <a:xfrm>
                <a:off x="4643578" y="432838"/>
                <a:ext cx="1028134" cy="1160188"/>
                <a:chOff x="4643578" y="432838"/>
                <a:chExt cx="1028134" cy="1160188"/>
              </a:xfrm>
              <a:grpFill/>
            </p:grpSpPr>
            <p:sp>
              <p:nvSpPr>
                <p:cNvPr id="14" name="Freeform 13">
                  <a:extLst>
                    <a:ext uri="{FF2B5EF4-FFF2-40B4-BE49-F238E27FC236}">
                      <a16:creationId xmlns:a16="http://schemas.microsoft.com/office/drawing/2014/main" id="{FA2E7CC8-D43C-C43C-40EA-FF32D92C4A35}"/>
                    </a:ext>
                  </a:extLst>
                </p:cNvPr>
                <p:cNvSpPr/>
                <p:nvPr/>
              </p:nvSpPr>
              <p:spPr>
                <a:xfrm>
                  <a:off x="5115334" y="61111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pPr algn="l" rtl="0"/>
                  <a:endParaRPr lang="en-US"/>
                </a:p>
              </p:txBody>
            </p:sp>
            <p:sp>
              <p:nvSpPr>
                <p:cNvPr id="15" name="Freeform 14">
                  <a:extLst>
                    <a:ext uri="{FF2B5EF4-FFF2-40B4-BE49-F238E27FC236}">
                      <a16:creationId xmlns:a16="http://schemas.microsoft.com/office/drawing/2014/main" id="{9543D6FD-9F37-8A3D-174E-E98069FE3077}"/>
                    </a:ext>
                  </a:extLst>
                </p:cNvPr>
                <p:cNvSpPr/>
                <p:nvPr/>
              </p:nvSpPr>
              <p:spPr>
                <a:xfrm>
                  <a:off x="4643578" y="432838"/>
                  <a:ext cx="1028134" cy="1160188"/>
                </a:xfrm>
                <a:custGeom>
                  <a:avLst/>
                  <a:gdLst>
                    <a:gd name="connsiteX0" fmla="*/ 1017568 w 1028134"/>
                    <a:gd name="connsiteY0" fmla="*/ 661006 h 1160188"/>
                    <a:gd name="connsiteX1" fmla="*/ 935285 w 1028134"/>
                    <a:gd name="connsiteY1" fmla="*/ 515639 h 1160188"/>
                    <a:gd name="connsiteX2" fmla="*/ 935285 w 1028134"/>
                    <a:gd name="connsiteY2" fmla="*/ 515639 h 1160188"/>
                    <a:gd name="connsiteX3" fmla="*/ 880429 w 1028134"/>
                    <a:gd name="connsiteY3" fmla="*/ 469012 h 1160188"/>
                    <a:gd name="connsiteX4" fmla="*/ 855744 w 1028134"/>
                    <a:gd name="connsiteY4" fmla="*/ 469012 h 1160188"/>
                    <a:gd name="connsiteX5" fmla="*/ 855744 w 1028134"/>
                    <a:gd name="connsiteY5" fmla="*/ 293476 h 1160188"/>
                    <a:gd name="connsiteX6" fmla="*/ 839288 w 1028134"/>
                    <a:gd name="connsiteY6" fmla="*/ 277019 h 1160188"/>
                    <a:gd name="connsiteX7" fmla="*/ 822830 w 1028134"/>
                    <a:gd name="connsiteY7" fmla="*/ 293476 h 1160188"/>
                    <a:gd name="connsiteX8" fmla="*/ 822830 w 1028134"/>
                    <a:gd name="connsiteY8" fmla="*/ 469012 h 1160188"/>
                    <a:gd name="connsiteX9" fmla="*/ 441587 w 1028134"/>
                    <a:gd name="connsiteY9" fmla="*/ 469012 h 1160188"/>
                    <a:gd name="connsiteX10" fmla="*/ 441587 w 1028134"/>
                    <a:gd name="connsiteY10" fmla="*/ 337360 h 1160188"/>
                    <a:gd name="connsiteX11" fmla="*/ 405929 w 1028134"/>
                    <a:gd name="connsiteY11" fmla="*/ 200222 h 1160188"/>
                    <a:gd name="connsiteX12" fmla="*/ 405929 w 1028134"/>
                    <a:gd name="connsiteY12" fmla="*/ 60341 h 1160188"/>
                    <a:gd name="connsiteX13" fmla="*/ 430615 w 1028134"/>
                    <a:gd name="connsiteY13" fmla="*/ 35656 h 1160188"/>
                    <a:gd name="connsiteX14" fmla="*/ 693920 w 1028134"/>
                    <a:gd name="connsiteY14" fmla="*/ 35656 h 1160188"/>
                    <a:gd name="connsiteX15" fmla="*/ 693920 w 1028134"/>
                    <a:gd name="connsiteY15" fmla="*/ 106968 h 1160188"/>
                    <a:gd name="connsiteX16" fmla="*/ 751519 w 1028134"/>
                    <a:gd name="connsiteY16" fmla="*/ 164566 h 1160188"/>
                    <a:gd name="connsiteX17" fmla="*/ 822830 w 1028134"/>
                    <a:gd name="connsiteY17" fmla="*/ 164566 h 1160188"/>
                    <a:gd name="connsiteX18" fmla="*/ 822830 w 1028134"/>
                    <a:gd name="connsiteY18" fmla="*/ 213936 h 1160188"/>
                    <a:gd name="connsiteX19" fmla="*/ 839288 w 1028134"/>
                    <a:gd name="connsiteY19" fmla="*/ 230392 h 1160188"/>
                    <a:gd name="connsiteX20" fmla="*/ 855744 w 1028134"/>
                    <a:gd name="connsiteY20" fmla="*/ 213936 h 1160188"/>
                    <a:gd name="connsiteX21" fmla="*/ 855744 w 1028134"/>
                    <a:gd name="connsiteY21" fmla="*/ 159080 h 1160188"/>
                    <a:gd name="connsiteX22" fmla="*/ 842030 w 1028134"/>
                    <a:gd name="connsiteY22" fmla="*/ 128910 h 1160188"/>
                    <a:gd name="connsiteX23" fmla="*/ 726833 w 1028134"/>
                    <a:gd name="connsiteY23" fmla="*/ 13714 h 1160188"/>
                    <a:gd name="connsiteX24" fmla="*/ 696664 w 1028134"/>
                    <a:gd name="connsiteY24" fmla="*/ 0 h 1160188"/>
                    <a:gd name="connsiteX25" fmla="*/ 430615 w 1028134"/>
                    <a:gd name="connsiteY25" fmla="*/ 0 h 1160188"/>
                    <a:gd name="connsiteX26" fmla="*/ 373017 w 1028134"/>
                    <a:gd name="connsiteY26" fmla="*/ 57598 h 1160188"/>
                    <a:gd name="connsiteX27" fmla="*/ 373017 w 1028134"/>
                    <a:gd name="connsiteY27" fmla="*/ 120682 h 1160188"/>
                    <a:gd name="connsiteX28" fmla="*/ 329132 w 1028134"/>
                    <a:gd name="connsiteY28" fmla="*/ 24685 h 1160188"/>
                    <a:gd name="connsiteX29" fmla="*/ 255077 w 1028134"/>
                    <a:gd name="connsiteY29" fmla="*/ 24685 h 1160188"/>
                    <a:gd name="connsiteX30" fmla="*/ 200222 w 1028134"/>
                    <a:gd name="connsiteY30" fmla="*/ 145366 h 1160188"/>
                    <a:gd name="connsiteX31" fmla="*/ 200222 w 1028134"/>
                    <a:gd name="connsiteY31" fmla="*/ 145366 h 1160188"/>
                    <a:gd name="connsiteX32" fmla="*/ 142624 w 1028134"/>
                    <a:gd name="connsiteY32" fmla="*/ 334617 h 1160188"/>
                    <a:gd name="connsiteX33" fmla="*/ 142624 w 1028134"/>
                    <a:gd name="connsiteY33" fmla="*/ 466270 h 1160188"/>
                    <a:gd name="connsiteX34" fmla="*/ 57599 w 1028134"/>
                    <a:gd name="connsiteY34" fmla="*/ 466270 h 1160188"/>
                    <a:gd name="connsiteX35" fmla="*/ 2744 w 1028134"/>
                    <a:gd name="connsiteY35" fmla="*/ 512897 h 1160188"/>
                    <a:gd name="connsiteX36" fmla="*/ 0 w 1028134"/>
                    <a:gd name="connsiteY36" fmla="*/ 554038 h 1160188"/>
                    <a:gd name="connsiteX37" fmla="*/ 85027 w 1028134"/>
                    <a:gd name="connsiteY37" fmla="*/ 877684 h 1160188"/>
                    <a:gd name="connsiteX38" fmla="*/ 85027 w 1028134"/>
                    <a:gd name="connsiteY38" fmla="*/ 1044992 h 1160188"/>
                    <a:gd name="connsiteX39" fmla="*/ 41142 w 1028134"/>
                    <a:gd name="connsiteY39" fmla="*/ 1102591 h 1160188"/>
                    <a:gd name="connsiteX40" fmla="*/ 98741 w 1028134"/>
                    <a:gd name="connsiteY40" fmla="*/ 1160189 h 1160188"/>
                    <a:gd name="connsiteX41" fmla="*/ 693920 w 1028134"/>
                    <a:gd name="connsiteY41" fmla="*/ 1160189 h 1160188"/>
                    <a:gd name="connsiteX42" fmla="*/ 751519 w 1028134"/>
                    <a:gd name="connsiteY42" fmla="*/ 1102591 h 1160188"/>
                    <a:gd name="connsiteX43" fmla="*/ 707634 w 1028134"/>
                    <a:gd name="connsiteY43" fmla="*/ 1044992 h 1160188"/>
                    <a:gd name="connsiteX44" fmla="*/ 707634 w 1028134"/>
                    <a:gd name="connsiteY44" fmla="*/ 998366 h 1160188"/>
                    <a:gd name="connsiteX45" fmla="*/ 729577 w 1028134"/>
                    <a:gd name="connsiteY45" fmla="*/ 979166 h 1160188"/>
                    <a:gd name="connsiteX46" fmla="*/ 844772 w 1028134"/>
                    <a:gd name="connsiteY46" fmla="*/ 987394 h 1160188"/>
                    <a:gd name="connsiteX47" fmla="*/ 935285 w 1028134"/>
                    <a:gd name="connsiteY47" fmla="*/ 905112 h 1160188"/>
                    <a:gd name="connsiteX48" fmla="*/ 935285 w 1028134"/>
                    <a:gd name="connsiteY48" fmla="*/ 789916 h 1160188"/>
                    <a:gd name="connsiteX49" fmla="*/ 951741 w 1028134"/>
                    <a:gd name="connsiteY49" fmla="*/ 765231 h 1160188"/>
                    <a:gd name="connsiteX50" fmla="*/ 990140 w 1028134"/>
                    <a:gd name="connsiteY50" fmla="*/ 751517 h 1160188"/>
                    <a:gd name="connsiteX51" fmla="*/ 1017568 w 1028134"/>
                    <a:gd name="connsiteY51" fmla="*/ 661006 h 1160188"/>
                    <a:gd name="connsiteX52" fmla="*/ 1017568 w 1028134"/>
                    <a:gd name="connsiteY52" fmla="*/ 661006 h 1160188"/>
                    <a:gd name="connsiteX53" fmla="*/ 798146 w 1028134"/>
                    <a:gd name="connsiteY53" fmla="*/ 131653 h 1160188"/>
                    <a:gd name="connsiteX54" fmla="*/ 748775 w 1028134"/>
                    <a:gd name="connsiteY54" fmla="*/ 131653 h 1160188"/>
                    <a:gd name="connsiteX55" fmla="*/ 724091 w 1028134"/>
                    <a:gd name="connsiteY55" fmla="*/ 106968 h 1160188"/>
                    <a:gd name="connsiteX56" fmla="*/ 724091 w 1028134"/>
                    <a:gd name="connsiteY56" fmla="*/ 57598 h 1160188"/>
                    <a:gd name="connsiteX57" fmla="*/ 798146 w 1028134"/>
                    <a:gd name="connsiteY57" fmla="*/ 131653 h 1160188"/>
                    <a:gd name="connsiteX58" fmla="*/ 285248 w 1028134"/>
                    <a:gd name="connsiteY58" fmla="*/ 38399 h 1160188"/>
                    <a:gd name="connsiteX59" fmla="*/ 298962 w 1028134"/>
                    <a:gd name="connsiteY59" fmla="*/ 38399 h 1160188"/>
                    <a:gd name="connsiteX60" fmla="*/ 342846 w 1028134"/>
                    <a:gd name="connsiteY60" fmla="*/ 137138 h 1160188"/>
                    <a:gd name="connsiteX61" fmla="*/ 244107 w 1028134"/>
                    <a:gd name="connsiteY61" fmla="*/ 137138 h 1160188"/>
                    <a:gd name="connsiteX62" fmla="*/ 285248 w 1028134"/>
                    <a:gd name="connsiteY62" fmla="*/ 38399 h 1160188"/>
                    <a:gd name="connsiteX63" fmla="*/ 224907 w 1028134"/>
                    <a:gd name="connsiteY63" fmla="*/ 170051 h 1160188"/>
                    <a:gd name="connsiteX64" fmla="*/ 353818 w 1028134"/>
                    <a:gd name="connsiteY64" fmla="*/ 170051 h 1160188"/>
                    <a:gd name="connsiteX65" fmla="*/ 400445 w 1028134"/>
                    <a:gd name="connsiteY65" fmla="*/ 287990 h 1160188"/>
                    <a:gd name="connsiteX66" fmla="*/ 178280 w 1028134"/>
                    <a:gd name="connsiteY66" fmla="*/ 287990 h 1160188"/>
                    <a:gd name="connsiteX67" fmla="*/ 224907 w 1028134"/>
                    <a:gd name="connsiteY67" fmla="*/ 170051 h 1160188"/>
                    <a:gd name="connsiteX68" fmla="*/ 224907 w 1028134"/>
                    <a:gd name="connsiteY68" fmla="*/ 170051 h 1160188"/>
                    <a:gd name="connsiteX69" fmla="*/ 175538 w 1028134"/>
                    <a:gd name="connsiteY69" fmla="*/ 337360 h 1160188"/>
                    <a:gd name="connsiteX70" fmla="*/ 175538 w 1028134"/>
                    <a:gd name="connsiteY70" fmla="*/ 323646 h 1160188"/>
                    <a:gd name="connsiteX71" fmla="*/ 405929 w 1028134"/>
                    <a:gd name="connsiteY71" fmla="*/ 323646 h 1160188"/>
                    <a:gd name="connsiteX72" fmla="*/ 405929 w 1028134"/>
                    <a:gd name="connsiteY72" fmla="*/ 337360 h 1160188"/>
                    <a:gd name="connsiteX73" fmla="*/ 405929 w 1028134"/>
                    <a:gd name="connsiteY73" fmla="*/ 469012 h 1160188"/>
                    <a:gd name="connsiteX74" fmla="*/ 172794 w 1028134"/>
                    <a:gd name="connsiteY74" fmla="*/ 469012 h 1160188"/>
                    <a:gd name="connsiteX75" fmla="*/ 172794 w 1028134"/>
                    <a:gd name="connsiteY75" fmla="*/ 337360 h 1160188"/>
                    <a:gd name="connsiteX76" fmla="*/ 74055 w 1028134"/>
                    <a:gd name="connsiteY76" fmla="*/ 1105333 h 1160188"/>
                    <a:gd name="connsiteX77" fmla="*/ 98741 w 1028134"/>
                    <a:gd name="connsiteY77" fmla="*/ 1080648 h 1160188"/>
                    <a:gd name="connsiteX78" fmla="*/ 145366 w 1028134"/>
                    <a:gd name="connsiteY78" fmla="*/ 1080648 h 1160188"/>
                    <a:gd name="connsiteX79" fmla="*/ 161824 w 1028134"/>
                    <a:gd name="connsiteY79" fmla="*/ 1064192 h 1160188"/>
                    <a:gd name="connsiteX80" fmla="*/ 145366 w 1028134"/>
                    <a:gd name="connsiteY80" fmla="*/ 1047735 h 1160188"/>
                    <a:gd name="connsiteX81" fmla="*/ 117939 w 1028134"/>
                    <a:gd name="connsiteY81" fmla="*/ 1047735 h 1160188"/>
                    <a:gd name="connsiteX82" fmla="*/ 117939 w 1028134"/>
                    <a:gd name="connsiteY82" fmla="*/ 883170 h 1160188"/>
                    <a:gd name="connsiteX83" fmla="*/ 32914 w 1028134"/>
                    <a:gd name="connsiteY83" fmla="*/ 559524 h 1160188"/>
                    <a:gd name="connsiteX84" fmla="*/ 35656 w 1028134"/>
                    <a:gd name="connsiteY84" fmla="*/ 523868 h 1160188"/>
                    <a:gd name="connsiteX85" fmla="*/ 54855 w 1028134"/>
                    <a:gd name="connsiteY85" fmla="*/ 507411 h 1160188"/>
                    <a:gd name="connsiteX86" fmla="*/ 611637 w 1028134"/>
                    <a:gd name="connsiteY86" fmla="*/ 507411 h 1160188"/>
                    <a:gd name="connsiteX87" fmla="*/ 614381 w 1028134"/>
                    <a:gd name="connsiteY87" fmla="*/ 526610 h 1160188"/>
                    <a:gd name="connsiteX88" fmla="*/ 704892 w 1028134"/>
                    <a:gd name="connsiteY88" fmla="*/ 688433 h 1160188"/>
                    <a:gd name="connsiteX89" fmla="*/ 693920 w 1028134"/>
                    <a:gd name="connsiteY89" fmla="*/ 726832 h 1160188"/>
                    <a:gd name="connsiteX90" fmla="*/ 655522 w 1028134"/>
                    <a:gd name="connsiteY90" fmla="*/ 740546 h 1160188"/>
                    <a:gd name="connsiteX91" fmla="*/ 617123 w 1028134"/>
                    <a:gd name="connsiteY91" fmla="*/ 795401 h 1160188"/>
                    <a:gd name="connsiteX92" fmla="*/ 617123 w 1028134"/>
                    <a:gd name="connsiteY92" fmla="*/ 910597 h 1160188"/>
                    <a:gd name="connsiteX93" fmla="*/ 562267 w 1028134"/>
                    <a:gd name="connsiteY93" fmla="*/ 959967 h 1160188"/>
                    <a:gd name="connsiteX94" fmla="*/ 447071 w 1028134"/>
                    <a:gd name="connsiteY94" fmla="*/ 951739 h 1160188"/>
                    <a:gd name="connsiteX95" fmla="*/ 389473 w 1028134"/>
                    <a:gd name="connsiteY95" fmla="*/ 1006594 h 1160188"/>
                    <a:gd name="connsiteX96" fmla="*/ 389473 w 1028134"/>
                    <a:gd name="connsiteY96" fmla="*/ 1050478 h 1160188"/>
                    <a:gd name="connsiteX97" fmla="*/ 224907 w 1028134"/>
                    <a:gd name="connsiteY97" fmla="*/ 1050478 h 1160188"/>
                    <a:gd name="connsiteX98" fmla="*/ 208451 w 1028134"/>
                    <a:gd name="connsiteY98" fmla="*/ 1066935 h 1160188"/>
                    <a:gd name="connsiteX99" fmla="*/ 224907 w 1028134"/>
                    <a:gd name="connsiteY99" fmla="*/ 1083391 h 1160188"/>
                    <a:gd name="connsiteX100" fmla="*/ 408673 w 1028134"/>
                    <a:gd name="connsiteY100" fmla="*/ 1083391 h 1160188"/>
                    <a:gd name="connsiteX101" fmla="*/ 433357 w 1028134"/>
                    <a:gd name="connsiteY101" fmla="*/ 1108076 h 1160188"/>
                    <a:gd name="connsiteX102" fmla="*/ 408673 w 1028134"/>
                    <a:gd name="connsiteY102" fmla="*/ 1132761 h 1160188"/>
                    <a:gd name="connsiteX103" fmla="*/ 98741 w 1028134"/>
                    <a:gd name="connsiteY103" fmla="*/ 1132761 h 1160188"/>
                    <a:gd name="connsiteX104" fmla="*/ 74055 w 1028134"/>
                    <a:gd name="connsiteY104" fmla="*/ 1105333 h 1160188"/>
                    <a:gd name="connsiteX105" fmla="*/ 74055 w 1028134"/>
                    <a:gd name="connsiteY105" fmla="*/ 1105333 h 1160188"/>
                    <a:gd name="connsiteX106" fmla="*/ 718605 w 1028134"/>
                    <a:gd name="connsiteY106" fmla="*/ 1105333 h 1160188"/>
                    <a:gd name="connsiteX107" fmla="*/ 693920 w 1028134"/>
                    <a:gd name="connsiteY107" fmla="*/ 1130018 h 1160188"/>
                    <a:gd name="connsiteX108" fmla="*/ 460785 w 1028134"/>
                    <a:gd name="connsiteY108" fmla="*/ 1130018 h 1160188"/>
                    <a:gd name="connsiteX109" fmla="*/ 466270 w 1028134"/>
                    <a:gd name="connsiteY109" fmla="*/ 1105333 h 1160188"/>
                    <a:gd name="connsiteX110" fmla="*/ 460785 w 1028134"/>
                    <a:gd name="connsiteY110" fmla="*/ 1080648 h 1160188"/>
                    <a:gd name="connsiteX111" fmla="*/ 693920 w 1028134"/>
                    <a:gd name="connsiteY111" fmla="*/ 1080648 h 1160188"/>
                    <a:gd name="connsiteX112" fmla="*/ 718605 w 1028134"/>
                    <a:gd name="connsiteY112" fmla="*/ 1105333 h 1160188"/>
                    <a:gd name="connsiteX113" fmla="*/ 718605 w 1028134"/>
                    <a:gd name="connsiteY113" fmla="*/ 1105333 h 1160188"/>
                    <a:gd name="connsiteX114" fmla="*/ 976426 w 1028134"/>
                    <a:gd name="connsiteY114" fmla="*/ 721347 h 1160188"/>
                    <a:gd name="connsiteX115" fmla="*/ 938027 w 1028134"/>
                    <a:gd name="connsiteY115" fmla="*/ 735060 h 1160188"/>
                    <a:gd name="connsiteX116" fmla="*/ 899627 w 1028134"/>
                    <a:gd name="connsiteY116" fmla="*/ 789916 h 1160188"/>
                    <a:gd name="connsiteX117" fmla="*/ 899627 w 1028134"/>
                    <a:gd name="connsiteY117" fmla="*/ 905112 h 1160188"/>
                    <a:gd name="connsiteX118" fmla="*/ 844772 w 1028134"/>
                    <a:gd name="connsiteY118" fmla="*/ 954481 h 1160188"/>
                    <a:gd name="connsiteX119" fmla="*/ 729577 w 1028134"/>
                    <a:gd name="connsiteY119" fmla="*/ 946253 h 1160188"/>
                    <a:gd name="connsiteX120" fmla="*/ 671978 w 1028134"/>
                    <a:gd name="connsiteY120" fmla="*/ 1001108 h 1160188"/>
                    <a:gd name="connsiteX121" fmla="*/ 671978 w 1028134"/>
                    <a:gd name="connsiteY121" fmla="*/ 1044992 h 1160188"/>
                    <a:gd name="connsiteX122" fmla="*/ 419643 w 1028134"/>
                    <a:gd name="connsiteY122" fmla="*/ 1044992 h 1160188"/>
                    <a:gd name="connsiteX123" fmla="*/ 419643 w 1028134"/>
                    <a:gd name="connsiteY123" fmla="*/ 1001108 h 1160188"/>
                    <a:gd name="connsiteX124" fmla="*/ 441587 w 1028134"/>
                    <a:gd name="connsiteY124" fmla="*/ 981909 h 1160188"/>
                    <a:gd name="connsiteX125" fmla="*/ 556781 w 1028134"/>
                    <a:gd name="connsiteY125" fmla="*/ 990137 h 1160188"/>
                    <a:gd name="connsiteX126" fmla="*/ 647294 w 1028134"/>
                    <a:gd name="connsiteY126" fmla="*/ 907854 h 1160188"/>
                    <a:gd name="connsiteX127" fmla="*/ 647294 w 1028134"/>
                    <a:gd name="connsiteY127" fmla="*/ 792658 h 1160188"/>
                    <a:gd name="connsiteX128" fmla="*/ 663750 w 1028134"/>
                    <a:gd name="connsiteY128" fmla="*/ 767973 h 1160188"/>
                    <a:gd name="connsiteX129" fmla="*/ 702149 w 1028134"/>
                    <a:gd name="connsiteY129" fmla="*/ 754260 h 1160188"/>
                    <a:gd name="connsiteX130" fmla="*/ 729577 w 1028134"/>
                    <a:gd name="connsiteY130" fmla="*/ 663749 h 1160188"/>
                    <a:gd name="connsiteX131" fmla="*/ 647294 w 1028134"/>
                    <a:gd name="connsiteY131" fmla="*/ 518382 h 1160188"/>
                    <a:gd name="connsiteX132" fmla="*/ 644550 w 1028134"/>
                    <a:gd name="connsiteY132" fmla="*/ 504668 h 1160188"/>
                    <a:gd name="connsiteX133" fmla="*/ 877686 w 1028134"/>
                    <a:gd name="connsiteY133" fmla="*/ 504668 h 1160188"/>
                    <a:gd name="connsiteX134" fmla="*/ 896885 w 1028134"/>
                    <a:gd name="connsiteY134" fmla="*/ 521125 h 1160188"/>
                    <a:gd name="connsiteX135" fmla="*/ 896885 w 1028134"/>
                    <a:gd name="connsiteY135" fmla="*/ 521125 h 1160188"/>
                    <a:gd name="connsiteX136" fmla="*/ 987396 w 1028134"/>
                    <a:gd name="connsiteY136" fmla="*/ 682948 h 1160188"/>
                    <a:gd name="connsiteX137" fmla="*/ 976426 w 1028134"/>
                    <a:gd name="connsiteY137" fmla="*/ 721347 h 1160188"/>
                    <a:gd name="connsiteX138" fmla="*/ 976426 w 1028134"/>
                    <a:gd name="connsiteY138" fmla="*/ 721347 h 116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028134" h="1160188">
                      <a:moveTo>
                        <a:pt x="1017568" y="661006"/>
                      </a:moveTo>
                      <a:cubicBezTo>
                        <a:pt x="973682" y="592437"/>
                        <a:pt x="940769" y="567752"/>
                        <a:pt x="935285" y="515639"/>
                      </a:cubicBezTo>
                      <a:lnTo>
                        <a:pt x="935285" y="515639"/>
                      </a:lnTo>
                      <a:cubicBezTo>
                        <a:pt x="932541" y="488212"/>
                        <a:pt x="907857" y="469012"/>
                        <a:pt x="880429" y="469012"/>
                      </a:cubicBezTo>
                      <a:lnTo>
                        <a:pt x="855744" y="469012"/>
                      </a:lnTo>
                      <a:lnTo>
                        <a:pt x="855744" y="293476"/>
                      </a:lnTo>
                      <a:cubicBezTo>
                        <a:pt x="855744" y="285247"/>
                        <a:pt x="847516" y="277019"/>
                        <a:pt x="839288" y="277019"/>
                      </a:cubicBezTo>
                      <a:cubicBezTo>
                        <a:pt x="831058" y="277019"/>
                        <a:pt x="822830" y="285247"/>
                        <a:pt x="822830" y="293476"/>
                      </a:cubicBezTo>
                      <a:lnTo>
                        <a:pt x="822830" y="469012"/>
                      </a:lnTo>
                      <a:cubicBezTo>
                        <a:pt x="787175" y="469012"/>
                        <a:pt x="479984" y="469012"/>
                        <a:pt x="441587" y="469012"/>
                      </a:cubicBezTo>
                      <a:lnTo>
                        <a:pt x="441587" y="337360"/>
                      </a:lnTo>
                      <a:cubicBezTo>
                        <a:pt x="441587" y="263305"/>
                        <a:pt x="411415" y="216678"/>
                        <a:pt x="405929" y="200222"/>
                      </a:cubicBezTo>
                      <a:lnTo>
                        <a:pt x="405929" y="60341"/>
                      </a:lnTo>
                      <a:cubicBezTo>
                        <a:pt x="405929" y="46627"/>
                        <a:pt x="416901" y="35656"/>
                        <a:pt x="430615" y="35656"/>
                      </a:cubicBezTo>
                      <a:lnTo>
                        <a:pt x="693920" y="35656"/>
                      </a:lnTo>
                      <a:lnTo>
                        <a:pt x="693920" y="106968"/>
                      </a:lnTo>
                      <a:cubicBezTo>
                        <a:pt x="693920" y="139881"/>
                        <a:pt x="721348" y="164566"/>
                        <a:pt x="751519" y="164566"/>
                      </a:cubicBezTo>
                      <a:lnTo>
                        <a:pt x="822830" y="164566"/>
                      </a:lnTo>
                      <a:lnTo>
                        <a:pt x="822830" y="213936"/>
                      </a:lnTo>
                      <a:cubicBezTo>
                        <a:pt x="822830" y="222164"/>
                        <a:pt x="831058" y="230392"/>
                        <a:pt x="839288" y="230392"/>
                      </a:cubicBezTo>
                      <a:cubicBezTo>
                        <a:pt x="847516" y="230392"/>
                        <a:pt x="855744" y="222164"/>
                        <a:pt x="855744" y="213936"/>
                      </a:cubicBezTo>
                      <a:lnTo>
                        <a:pt x="855744" y="159080"/>
                      </a:lnTo>
                      <a:cubicBezTo>
                        <a:pt x="855744" y="148109"/>
                        <a:pt x="850258" y="137138"/>
                        <a:pt x="842030" y="128910"/>
                      </a:cubicBezTo>
                      <a:lnTo>
                        <a:pt x="726833" y="13714"/>
                      </a:lnTo>
                      <a:cubicBezTo>
                        <a:pt x="718605" y="5486"/>
                        <a:pt x="707634" y="0"/>
                        <a:pt x="696664" y="0"/>
                      </a:cubicBezTo>
                      <a:lnTo>
                        <a:pt x="430615" y="0"/>
                      </a:lnTo>
                      <a:cubicBezTo>
                        <a:pt x="397701" y="0"/>
                        <a:pt x="373017" y="27428"/>
                        <a:pt x="373017" y="57598"/>
                      </a:cubicBezTo>
                      <a:lnTo>
                        <a:pt x="373017" y="120682"/>
                      </a:lnTo>
                      <a:lnTo>
                        <a:pt x="329132" y="24685"/>
                      </a:lnTo>
                      <a:cubicBezTo>
                        <a:pt x="315418" y="-8228"/>
                        <a:pt x="268791" y="-8228"/>
                        <a:pt x="255077" y="24685"/>
                      </a:cubicBezTo>
                      <a:lnTo>
                        <a:pt x="200222" y="145366"/>
                      </a:lnTo>
                      <a:cubicBezTo>
                        <a:pt x="200222" y="145366"/>
                        <a:pt x="200222" y="145366"/>
                        <a:pt x="200222" y="145366"/>
                      </a:cubicBezTo>
                      <a:cubicBezTo>
                        <a:pt x="175538" y="205707"/>
                        <a:pt x="142624" y="252334"/>
                        <a:pt x="142624" y="334617"/>
                      </a:cubicBezTo>
                      <a:lnTo>
                        <a:pt x="142624" y="466270"/>
                      </a:lnTo>
                      <a:lnTo>
                        <a:pt x="57599" y="466270"/>
                      </a:lnTo>
                      <a:cubicBezTo>
                        <a:pt x="30171" y="466270"/>
                        <a:pt x="8228" y="485469"/>
                        <a:pt x="2744" y="512897"/>
                      </a:cubicBezTo>
                      <a:cubicBezTo>
                        <a:pt x="0" y="526610"/>
                        <a:pt x="0" y="540324"/>
                        <a:pt x="0" y="554038"/>
                      </a:cubicBezTo>
                      <a:cubicBezTo>
                        <a:pt x="2744" y="702147"/>
                        <a:pt x="85027" y="724089"/>
                        <a:pt x="85027" y="877684"/>
                      </a:cubicBezTo>
                      <a:lnTo>
                        <a:pt x="85027" y="1044992"/>
                      </a:lnTo>
                      <a:cubicBezTo>
                        <a:pt x="60341" y="1050478"/>
                        <a:pt x="41142" y="1075163"/>
                        <a:pt x="41142" y="1102591"/>
                      </a:cubicBezTo>
                      <a:cubicBezTo>
                        <a:pt x="41142" y="1135504"/>
                        <a:pt x="68569" y="1160189"/>
                        <a:pt x="98741" y="1160189"/>
                      </a:cubicBezTo>
                      <a:lnTo>
                        <a:pt x="693920" y="1160189"/>
                      </a:lnTo>
                      <a:cubicBezTo>
                        <a:pt x="726833" y="1160189"/>
                        <a:pt x="751519" y="1132761"/>
                        <a:pt x="751519" y="1102591"/>
                      </a:cubicBezTo>
                      <a:cubicBezTo>
                        <a:pt x="751519" y="1075163"/>
                        <a:pt x="732319" y="1053221"/>
                        <a:pt x="707634" y="1044992"/>
                      </a:cubicBezTo>
                      <a:lnTo>
                        <a:pt x="707634" y="998366"/>
                      </a:lnTo>
                      <a:cubicBezTo>
                        <a:pt x="707634" y="987394"/>
                        <a:pt x="718605" y="976423"/>
                        <a:pt x="729577" y="979166"/>
                      </a:cubicBezTo>
                      <a:lnTo>
                        <a:pt x="844772" y="987394"/>
                      </a:lnTo>
                      <a:cubicBezTo>
                        <a:pt x="894143" y="990137"/>
                        <a:pt x="935285" y="951739"/>
                        <a:pt x="935285" y="905112"/>
                      </a:cubicBezTo>
                      <a:lnTo>
                        <a:pt x="935285" y="789916"/>
                      </a:lnTo>
                      <a:cubicBezTo>
                        <a:pt x="935285" y="778945"/>
                        <a:pt x="940769" y="770716"/>
                        <a:pt x="951741" y="765231"/>
                      </a:cubicBezTo>
                      <a:lnTo>
                        <a:pt x="990140" y="751517"/>
                      </a:lnTo>
                      <a:cubicBezTo>
                        <a:pt x="1025796" y="737803"/>
                        <a:pt x="1039510" y="693919"/>
                        <a:pt x="1017568" y="661006"/>
                      </a:cubicBezTo>
                      <a:lnTo>
                        <a:pt x="1017568" y="661006"/>
                      </a:lnTo>
                      <a:close/>
                      <a:moveTo>
                        <a:pt x="798146" y="131653"/>
                      </a:moveTo>
                      <a:lnTo>
                        <a:pt x="748775" y="131653"/>
                      </a:lnTo>
                      <a:cubicBezTo>
                        <a:pt x="735061" y="131653"/>
                        <a:pt x="724091" y="120682"/>
                        <a:pt x="724091" y="106968"/>
                      </a:cubicBezTo>
                      <a:lnTo>
                        <a:pt x="724091" y="57598"/>
                      </a:lnTo>
                      <a:lnTo>
                        <a:pt x="798146" y="131653"/>
                      </a:lnTo>
                      <a:close/>
                      <a:moveTo>
                        <a:pt x="285248" y="38399"/>
                      </a:moveTo>
                      <a:cubicBezTo>
                        <a:pt x="287991" y="32913"/>
                        <a:pt x="296219" y="32913"/>
                        <a:pt x="298962" y="38399"/>
                      </a:cubicBezTo>
                      <a:lnTo>
                        <a:pt x="342846" y="137138"/>
                      </a:lnTo>
                      <a:lnTo>
                        <a:pt x="244107" y="137138"/>
                      </a:lnTo>
                      <a:lnTo>
                        <a:pt x="285248" y="38399"/>
                      </a:lnTo>
                      <a:close/>
                      <a:moveTo>
                        <a:pt x="224907" y="170051"/>
                      </a:moveTo>
                      <a:lnTo>
                        <a:pt x="353818" y="170051"/>
                      </a:lnTo>
                      <a:cubicBezTo>
                        <a:pt x="383987" y="238620"/>
                        <a:pt x="392215" y="255077"/>
                        <a:pt x="400445" y="287990"/>
                      </a:cubicBezTo>
                      <a:lnTo>
                        <a:pt x="178280" y="287990"/>
                      </a:lnTo>
                      <a:cubicBezTo>
                        <a:pt x="189252" y="246849"/>
                        <a:pt x="200222" y="227649"/>
                        <a:pt x="224907" y="170051"/>
                      </a:cubicBezTo>
                      <a:lnTo>
                        <a:pt x="224907" y="170051"/>
                      </a:lnTo>
                      <a:close/>
                      <a:moveTo>
                        <a:pt x="175538" y="337360"/>
                      </a:moveTo>
                      <a:cubicBezTo>
                        <a:pt x="175538" y="331874"/>
                        <a:pt x="175538" y="326389"/>
                        <a:pt x="175538" y="323646"/>
                      </a:cubicBezTo>
                      <a:lnTo>
                        <a:pt x="405929" y="323646"/>
                      </a:lnTo>
                      <a:cubicBezTo>
                        <a:pt x="405929" y="329131"/>
                        <a:pt x="405929" y="334617"/>
                        <a:pt x="405929" y="337360"/>
                      </a:cubicBezTo>
                      <a:lnTo>
                        <a:pt x="405929" y="469012"/>
                      </a:lnTo>
                      <a:lnTo>
                        <a:pt x="172794" y="469012"/>
                      </a:lnTo>
                      <a:lnTo>
                        <a:pt x="172794" y="337360"/>
                      </a:lnTo>
                      <a:close/>
                      <a:moveTo>
                        <a:pt x="74055" y="1105333"/>
                      </a:moveTo>
                      <a:cubicBezTo>
                        <a:pt x="74055" y="1091619"/>
                        <a:pt x="85027" y="1080648"/>
                        <a:pt x="98741" y="1080648"/>
                      </a:cubicBezTo>
                      <a:lnTo>
                        <a:pt x="145366" y="1080648"/>
                      </a:lnTo>
                      <a:cubicBezTo>
                        <a:pt x="153596" y="1080648"/>
                        <a:pt x="161824" y="1072420"/>
                        <a:pt x="161824" y="1064192"/>
                      </a:cubicBezTo>
                      <a:cubicBezTo>
                        <a:pt x="161824" y="1055964"/>
                        <a:pt x="153596" y="1047735"/>
                        <a:pt x="145366" y="1047735"/>
                      </a:cubicBezTo>
                      <a:lnTo>
                        <a:pt x="117939" y="1047735"/>
                      </a:lnTo>
                      <a:lnTo>
                        <a:pt x="117939" y="883170"/>
                      </a:lnTo>
                      <a:cubicBezTo>
                        <a:pt x="117939" y="718604"/>
                        <a:pt x="32914" y="696662"/>
                        <a:pt x="32914" y="559524"/>
                      </a:cubicBezTo>
                      <a:cubicBezTo>
                        <a:pt x="32914" y="545810"/>
                        <a:pt x="32914" y="534839"/>
                        <a:pt x="35656" y="523868"/>
                      </a:cubicBezTo>
                      <a:cubicBezTo>
                        <a:pt x="35656" y="512897"/>
                        <a:pt x="46627" y="507411"/>
                        <a:pt x="54855" y="507411"/>
                      </a:cubicBezTo>
                      <a:lnTo>
                        <a:pt x="611637" y="507411"/>
                      </a:lnTo>
                      <a:cubicBezTo>
                        <a:pt x="611637" y="512897"/>
                        <a:pt x="614381" y="518382"/>
                        <a:pt x="614381" y="526610"/>
                      </a:cubicBezTo>
                      <a:cubicBezTo>
                        <a:pt x="622609" y="592437"/>
                        <a:pt x="661008" y="622607"/>
                        <a:pt x="704892" y="688433"/>
                      </a:cubicBezTo>
                      <a:cubicBezTo>
                        <a:pt x="715863" y="702147"/>
                        <a:pt x="707634" y="721347"/>
                        <a:pt x="693920" y="726832"/>
                      </a:cubicBezTo>
                      <a:lnTo>
                        <a:pt x="655522" y="740546"/>
                      </a:lnTo>
                      <a:cubicBezTo>
                        <a:pt x="633580" y="748774"/>
                        <a:pt x="617123" y="770716"/>
                        <a:pt x="617123" y="795401"/>
                      </a:cubicBezTo>
                      <a:lnTo>
                        <a:pt x="617123" y="910597"/>
                      </a:lnTo>
                      <a:cubicBezTo>
                        <a:pt x="617123" y="940768"/>
                        <a:pt x="592439" y="962710"/>
                        <a:pt x="562267" y="959967"/>
                      </a:cubicBezTo>
                      <a:lnTo>
                        <a:pt x="447071" y="951739"/>
                      </a:lnTo>
                      <a:cubicBezTo>
                        <a:pt x="414159" y="948996"/>
                        <a:pt x="389473" y="973681"/>
                        <a:pt x="389473" y="1006594"/>
                      </a:cubicBezTo>
                      <a:lnTo>
                        <a:pt x="389473" y="1050478"/>
                      </a:lnTo>
                      <a:lnTo>
                        <a:pt x="224907" y="1050478"/>
                      </a:lnTo>
                      <a:cubicBezTo>
                        <a:pt x="216679" y="1050478"/>
                        <a:pt x="208451" y="1058706"/>
                        <a:pt x="208451" y="1066935"/>
                      </a:cubicBezTo>
                      <a:cubicBezTo>
                        <a:pt x="208451" y="1075163"/>
                        <a:pt x="216679" y="1083391"/>
                        <a:pt x="224907" y="1083391"/>
                      </a:cubicBezTo>
                      <a:lnTo>
                        <a:pt x="408673" y="1083391"/>
                      </a:lnTo>
                      <a:cubicBezTo>
                        <a:pt x="422387" y="1083391"/>
                        <a:pt x="433357" y="1094362"/>
                        <a:pt x="433357" y="1108076"/>
                      </a:cubicBezTo>
                      <a:cubicBezTo>
                        <a:pt x="433357" y="1121790"/>
                        <a:pt x="422387" y="1132761"/>
                        <a:pt x="408673" y="1132761"/>
                      </a:cubicBezTo>
                      <a:lnTo>
                        <a:pt x="98741" y="1132761"/>
                      </a:lnTo>
                      <a:cubicBezTo>
                        <a:pt x="85027" y="1130018"/>
                        <a:pt x="74055" y="1119047"/>
                        <a:pt x="74055" y="1105333"/>
                      </a:cubicBezTo>
                      <a:lnTo>
                        <a:pt x="74055" y="1105333"/>
                      </a:lnTo>
                      <a:close/>
                      <a:moveTo>
                        <a:pt x="718605" y="1105333"/>
                      </a:moveTo>
                      <a:cubicBezTo>
                        <a:pt x="718605" y="1119047"/>
                        <a:pt x="707634" y="1130018"/>
                        <a:pt x="693920" y="1130018"/>
                      </a:cubicBezTo>
                      <a:lnTo>
                        <a:pt x="460785" y="1130018"/>
                      </a:lnTo>
                      <a:cubicBezTo>
                        <a:pt x="463528" y="1121790"/>
                        <a:pt x="466270" y="1113561"/>
                        <a:pt x="466270" y="1105333"/>
                      </a:cubicBezTo>
                      <a:cubicBezTo>
                        <a:pt x="466270" y="1097105"/>
                        <a:pt x="463528" y="1088877"/>
                        <a:pt x="460785" y="1080648"/>
                      </a:cubicBezTo>
                      <a:lnTo>
                        <a:pt x="693920" y="1080648"/>
                      </a:lnTo>
                      <a:cubicBezTo>
                        <a:pt x="707634" y="1077906"/>
                        <a:pt x="718605" y="1091619"/>
                        <a:pt x="718605" y="1105333"/>
                      </a:cubicBezTo>
                      <a:lnTo>
                        <a:pt x="718605" y="1105333"/>
                      </a:lnTo>
                      <a:close/>
                      <a:moveTo>
                        <a:pt x="976426" y="721347"/>
                      </a:moveTo>
                      <a:lnTo>
                        <a:pt x="938027" y="735060"/>
                      </a:lnTo>
                      <a:cubicBezTo>
                        <a:pt x="916085" y="743289"/>
                        <a:pt x="899627" y="765231"/>
                        <a:pt x="899627" y="789916"/>
                      </a:cubicBezTo>
                      <a:lnTo>
                        <a:pt x="899627" y="905112"/>
                      </a:lnTo>
                      <a:cubicBezTo>
                        <a:pt x="899627" y="935282"/>
                        <a:pt x="874943" y="957224"/>
                        <a:pt x="844772" y="954481"/>
                      </a:cubicBezTo>
                      <a:lnTo>
                        <a:pt x="729577" y="946253"/>
                      </a:lnTo>
                      <a:cubicBezTo>
                        <a:pt x="696664" y="943510"/>
                        <a:pt x="671978" y="968195"/>
                        <a:pt x="671978" y="1001108"/>
                      </a:cubicBezTo>
                      <a:lnTo>
                        <a:pt x="671978" y="1044992"/>
                      </a:lnTo>
                      <a:lnTo>
                        <a:pt x="419643" y="1044992"/>
                      </a:lnTo>
                      <a:lnTo>
                        <a:pt x="419643" y="1001108"/>
                      </a:lnTo>
                      <a:cubicBezTo>
                        <a:pt x="419643" y="990137"/>
                        <a:pt x="430615" y="979166"/>
                        <a:pt x="441587" y="981909"/>
                      </a:cubicBezTo>
                      <a:lnTo>
                        <a:pt x="556781" y="990137"/>
                      </a:lnTo>
                      <a:cubicBezTo>
                        <a:pt x="606153" y="992880"/>
                        <a:pt x="647294" y="954481"/>
                        <a:pt x="647294" y="907854"/>
                      </a:cubicBezTo>
                      <a:lnTo>
                        <a:pt x="647294" y="792658"/>
                      </a:lnTo>
                      <a:cubicBezTo>
                        <a:pt x="647294" y="781687"/>
                        <a:pt x="652778" y="773459"/>
                        <a:pt x="663750" y="767973"/>
                      </a:cubicBezTo>
                      <a:lnTo>
                        <a:pt x="702149" y="754260"/>
                      </a:lnTo>
                      <a:cubicBezTo>
                        <a:pt x="737805" y="740546"/>
                        <a:pt x="751519" y="696662"/>
                        <a:pt x="729577" y="663749"/>
                      </a:cubicBezTo>
                      <a:cubicBezTo>
                        <a:pt x="685692" y="595180"/>
                        <a:pt x="652778" y="570495"/>
                        <a:pt x="647294" y="518382"/>
                      </a:cubicBezTo>
                      <a:cubicBezTo>
                        <a:pt x="647294" y="512897"/>
                        <a:pt x="647294" y="510154"/>
                        <a:pt x="644550" y="504668"/>
                      </a:cubicBezTo>
                      <a:lnTo>
                        <a:pt x="877686" y="504668"/>
                      </a:lnTo>
                      <a:cubicBezTo>
                        <a:pt x="888657" y="504668"/>
                        <a:pt x="896885" y="512897"/>
                        <a:pt x="896885" y="521125"/>
                      </a:cubicBezTo>
                      <a:lnTo>
                        <a:pt x="896885" y="521125"/>
                      </a:lnTo>
                      <a:cubicBezTo>
                        <a:pt x="905113" y="586951"/>
                        <a:pt x="943513" y="617122"/>
                        <a:pt x="987396" y="682948"/>
                      </a:cubicBezTo>
                      <a:cubicBezTo>
                        <a:pt x="998368" y="693919"/>
                        <a:pt x="992882" y="713118"/>
                        <a:pt x="976426" y="721347"/>
                      </a:cubicBezTo>
                      <a:lnTo>
                        <a:pt x="976426" y="721347"/>
                      </a:lnTo>
                      <a:close/>
                    </a:path>
                  </a:pathLst>
                </a:custGeom>
                <a:grpFill/>
                <a:ln w="27426" cap="flat">
                  <a:noFill/>
                  <a:prstDash val="solid"/>
                  <a:miter/>
                </a:ln>
              </p:spPr>
              <p:txBody>
                <a:bodyPr rtlCol="0" anchor="ctr"/>
                <a:lstStyle/>
                <a:p>
                  <a:pPr algn="l" rtl="0"/>
                  <a:endParaRPr lang="en-US"/>
                </a:p>
              </p:txBody>
            </p:sp>
          </p:grpSp>
        </p:grpSp>
      </p:grpSp>
      <p:grpSp>
        <p:nvGrpSpPr>
          <p:cNvPr id="16" name="Graphic 3">
            <a:extLst>
              <a:ext uri="{FF2B5EF4-FFF2-40B4-BE49-F238E27FC236}">
                <a16:creationId xmlns:a16="http://schemas.microsoft.com/office/drawing/2014/main" id="{D37078E2-2DDA-D218-87C2-79BDB0F44009}"/>
              </a:ext>
            </a:extLst>
          </p:cNvPr>
          <p:cNvGrpSpPr/>
          <p:nvPr/>
        </p:nvGrpSpPr>
        <p:grpSpPr>
          <a:xfrm>
            <a:off x="7118721" y="3050253"/>
            <a:ext cx="690566" cy="763372"/>
            <a:chOff x="2811409" y="3683011"/>
            <a:chExt cx="858485" cy="948995"/>
          </a:xfrm>
          <a:solidFill>
            <a:srgbClr val="616161"/>
          </a:solidFill>
        </p:grpSpPr>
        <p:sp>
          <p:nvSpPr>
            <p:cNvPr id="17" name="Freeform 16">
              <a:extLst>
                <a:ext uri="{FF2B5EF4-FFF2-40B4-BE49-F238E27FC236}">
                  <a16:creationId xmlns:a16="http://schemas.microsoft.com/office/drawing/2014/main" id="{57F18CE4-30E3-C825-AE5A-7189EBE2A4C3}"/>
                </a:ext>
              </a:extLst>
            </p:cNvPr>
            <p:cNvSpPr/>
            <p:nvPr/>
          </p:nvSpPr>
          <p:spPr>
            <a:xfrm>
              <a:off x="3071972" y="3702210"/>
              <a:ext cx="340103" cy="441584"/>
            </a:xfrm>
            <a:custGeom>
              <a:avLst/>
              <a:gdLst>
                <a:gd name="connsiteX0" fmla="*/ 0 w 340103"/>
                <a:gd name="connsiteY0" fmla="*/ 153594 h 441584"/>
                <a:gd name="connsiteX1" fmla="*/ 54855 w 340103"/>
                <a:gd name="connsiteY1" fmla="*/ 43884 h 441584"/>
                <a:gd name="connsiteX2" fmla="*/ 170052 w 340103"/>
                <a:gd name="connsiteY2" fmla="*/ 0 h 441584"/>
                <a:gd name="connsiteX3" fmla="*/ 340104 w 340103"/>
                <a:gd name="connsiteY3" fmla="*/ 170051 h 441584"/>
                <a:gd name="connsiteX4" fmla="*/ 309932 w 340103"/>
                <a:gd name="connsiteY4" fmla="*/ 268791 h 441584"/>
                <a:gd name="connsiteX5" fmla="*/ 309932 w 340103"/>
                <a:gd name="connsiteY5" fmla="*/ 268791 h 441584"/>
                <a:gd name="connsiteX6" fmla="*/ 222163 w 340103"/>
                <a:gd name="connsiteY6" fmla="*/ 408671 h 441584"/>
                <a:gd name="connsiteX7" fmla="*/ 219421 w 340103"/>
                <a:gd name="connsiteY7" fmla="*/ 416900 h 441584"/>
                <a:gd name="connsiteX8" fmla="*/ 219421 w 340103"/>
                <a:gd name="connsiteY8" fmla="*/ 436099 h 441584"/>
                <a:gd name="connsiteX9" fmla="*/ 213936 w 340103"/>
                <a:gd name="connsiteY9" fmla="*/ 441584 h 441584"/>
                <a:gd name="connsiteX10" fmla="*/ 213936 w 340103"/>
                <a:gd name="connsiteY10" fmla="*/ 441584 h 441584"/>
                <a:gd name="connsiteX11" fmla="*/ 222163 w 340103"/>
                <a:gd name="connsiteY11" fmla="*/ 290733 h 441584"/>
                <a:gd name="connsiteX12" fmla="*/ 238621 w 340103"/>
                <a:gd name="connsiteY12" fmla="*/ 290733 h 441584"/>
                <a:gd name="connsiteX13" fmla="*/ 279763 w 340103"/>
                <a:gd name="connsiteY13" fmla="*/ 249591 h 441584"/>
                <a:gd name="connsiteX14" fmla="*/ 279763 w 340103"/>
                <a:gd name="connsiteY14" fmla="*/ 246849 h 441584"/>
                <a:gd name="connsiteX15" fmla="*/ 238621 w 340103"/>
                <a:gd name="connsiteY15" fmla="*/ 205707 h 441584"/>
                <a:gd name="connsiteX16" fmla="*/ 197480 w 340103"/>
                <a:gd name="connsiteY16" fmla="*/ 244106 h 441584"/>
                <a:gd name="connsiteX17" fmla="*/ 197480 w 340103"/>
                <a:gd name="connsiteY17" fmla="*/ 260562 h 441584"/>
                <a:gd name="connsiteX18" fmla="*/ 148110 w 340103"/>
                <a:gd name="connsiteY18" fmla="*/ 260562 h 441584"/>
                <a:gd name="connsiteX19" fmla="*/ 148110 w 340103"/>
                <a:gd name="connsiteY19" fmla="*/ 244106 h 441584"/>
                <a:gd name="connsiteX20" fmla="*/ 106969 w 340103"/>
                <a:gd name="connsiteY20" fmla="*/ 205707 h 441584"/>
                <a:gd name="connsiteX21" fmla="*/ 65827 w 340103"/>
                <a:gd name="connsiteY21" fmla="*/ 246849 h 441584"/>
                <a:gd name="connsiteX22" fmla="*/ 65827 w 340103"/>
                <a:gd name="connsiteY22" fmla="*/ 249591 h 441584"/>
                <a:gd name="connsiteX23" fmla="*/ 106969 w 340103"/>
                <a:gd name="connsiteY23" fmla="*/ 290733 h 441584"/>
                <a:gd name="connsiteX24" fmla="*/ 123425 w 340103"/>
                <a:gd name="connsiteY24" fmla="*/ 290733 h 441584"/>
                <a:gd name="connsiteX25" fmla="*/ 131653 w 340103"/>
                <a:gd name="connsiteY25" fmla="*/ 441584 h 441584"/>
                <a:gd name="connsiteX26" fmla="*/ 126167 w 340103"/>
                <a:gd name="connsiteY26" fmla="*/ 436099 h 441584"/>
                <a:gd name="connsiteX27" fmla="*/ 126167 w 340103"/>
                <a:gd name="connsiteY27" fmla="*/ 416900 h 441584"/>
                <a:gd name="connsiteX28" fmla="*/ 123425 w 340103"/>
                <a:gd name="connsiteY28" fmla="*/ 408671 h 441584"/>
                <a:gd name="connsiteX29" fmla="*/ 35656 w 340103"/>
                <a:gd name="connsiteY29" fmla="*/ 268791 h 441584"/>
                <a:gd name="connsiteX30" fmla="*/ 35656 w 340103"/>
                <a:gd name="connsiteY30" fmla="*/ 268791 h 441584"/>
                <a:gd name="connsiteX31" fmla="*/ 8228 w 340103"/>
                <a:gd name="connsiteY31" fmla="*/ 208450 h 4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0103" h="441584">
                  <a:moveTo>
                    <a:pt x="0" y="153594"/>
                  </a:moveTo>
                  <a:cubicBezTo>
                    <a:pt x="2742" y="112453"/>
                    <a:pt x="24686" y="71312"/>
                    <a:pt x="54855" y="43884"/>
                  </a:cubicBezTo>
                  <a:cubicBezTo>
                    <a:pt x="87769" y="13714"/>
                    <a:pt x="126167" y="0"/>
                    <a:pt x="170052" y="0"/>
                  </a:cubicBezTo>
                  <a:cubicBezTo>
                    <a:pt x="263305" y="0"/>
                    <a:pt x="340104" y="76797"/>
                    <a:pt x="340104" y="170051"/>
                  </a:cubicBezTo>
                  <a:cubicBezTo>
                    <a:pt x="340104" y="205707"/>
                    <a:pt x="329132" y="238620"/>
                    <a:pt x="309932" y="268791"/>
                  </a:cubicBezTo>
                  <a:cubicBezTo>
                    <a:pt x="309932" y="268791"/>
                    <a:pt x="309932" y="268791"/>
                    <a:pt x="309932" y="268791"/>
                  </a:cubicBezTo>
                  <a:lnTo>
                    <a:pt x="222163" y="408671"/>
                  </a:lnTo>
                  <a:cubicBezTo>
                    <a:pt x="219421" y="411414"/>
                    <a:pt x="219421" y="414157"/>
                    <a:pt x="219421" y="416900"/>
                  </a:cubicBezTo>
                  <a:lnTo>
                    <a:pt x="219421" y="436099"/>
                  </a:lnTo>
                  <a:cubicBezTo>
                    <a:pt x="219421" y="438842"/>
                    <a:pt x="216679" y="441584"/>
                    <a:pt x="213936" y="441584"/>
                  </a:cubicBezTo>
                  <a:lnTo>
                    <a:pt x="213936" y="441584"/>
                  </a:lnTo>
                  <a:lnTo>
                    <a:pt x="222163" y="290733"/>
                  </a:lnTo>
                  <a:lnTo>
                    <a:pt x="238621" y="290733"/>
                  </a:lnTo>
                  <a:cubicBezTo>
                    <a:pt x="260563" y="290733"/>
                    <a:pt x="279763" y="271533"/>
                    <a:pt x="279763" y="249591"/>
                  </a:cubicBezTo>
                  <a:lnTo>
                    <a:pt x="279763" y="246849"/>
                  </a:lnTo>
                  <a:cubicBezTo>
                    <a:pt x="279763" y="224906"/>
                    <a:pt x="260563" y="205707"/>
                    <a:pt x="238621" y="205707"/>
                  </a:cubicBezTo>
                  <a:cubicBezTo>
                    <a:pt x="216679" y="205707"/>
                    <a:pt x="197480" y="222163"/>
                    <a:pt x="197480" y="244106"/>
                  </a:cubicBezTo>
                  <a:lnTo>
                    <a:pt x="197480" y="260562"/>
                  </a:lnTo>
                  <a:lnTo>
                    <a:pt x="148110" y="260562"/>
                  </a:lnTo>
                  <a:lnTo>
                    <a:pt x="148110" y="244106"/>
                  </a:lnTo>
                  <a:cubicBezTo>
                    <a:pt x="148110" y="222163"/>
                    <a:pt x="128910" y="205707"/>
                    <a:pt x="106969" y="205707"/>
                  </a:cubicBezTo>
                  <a:cubicBezTo>
                    <a:pt x="85025" y="205707"/>
                    <a:pt x="65827" y="224906"/>
                    <a:pt x="65827" y="246849"/>
                  </a:cubicBezTo>
                  <a:lnTo>
                    <a:pt x="65827" y="249591"/>
                  </a:lnTo>
                  <a:cubicBezTo>
                    <a:pt x="65827" y="271533"/>
                    <a:pt x="85025" y="290733"/>
                    <a:pt x="106969" y="290733"/>
                  </a:cubicBezTo>
                  <a:lnTo>
                    <a:pt x="123425" y="290733"/>
                  </a:lnTo>
                  <a:lnTo>
                    <a:pt x="131653" y="441584"/>
                  </a:lnTo>
                  <a:cubicBezTo>
                    <a:pt x="128910" y="441584"/>
                    <a:pt x="126167" y="438842"/>
                    <a:pt x="126167" y="436099"/>
                  </a:cubicBezTo>
                  <a:lnTo>
                    <a:pt x="126167" y="416900"/>
                  </a:lnTo>
                  <a:cubicBezTo>
                    <a:pt x="126167" y="414157"/>
                    <a:pt x="126167" y="411414"/>
                    <a:pt x="123425" y="408671"/>
                  </a:cubicBezTo>
                  <a:lnTo>
                    <a:pt x="35656" y="268791"/>
                  </a:lnTo>
                  <a:cubicBezTo>
                    <a:pt x="35656" y="268791"/>
                    <a:pt x="35656" y="268791"/>
                    <a:pt x="35656" y="268791"/>
                  </a:cubicBezTo>
                  <a:cubicBezTo>
                    <a:pt x="21942" y="249591"/>
                    <a:pt x="13714" y="230392"/>
                    <a:pt x="8228" y="208450"/>
                  </a:cubicBezTo>
                </a:path>
              </a:pathLst>
            </a:custGeom>
            <a:solidFill>
              <a:srgbClr val="F16924"/>
            </a:solidFill>
            <a:ln w="27426" cap="flat">
              <a:noFill/>
              <a:prstDash val="solid"/>
              <a:miter/>
            </a:ln>
          </p:spPr>
          <p:txBody>
            <a:bodyPr rtlCol="0" anchor="ctr"/>
            <a:lstStyle/>
            <a:p>
              <a:pPr algn="l" rtl="0"/>
              <a:endParaRPr lang="en-US"/>
            </a:p>
          </p:txBody>
        </p:sp>
        <p:grpSp>
          <p:nvGrpSpPr>
            <p:cNvPr id="18" name="Graphic 3">
              <a:extLst>
                <a:ext uri="{FF2B5EF4-FFF2-40B4-BE49-F238E27FC236}">
                  <a16:creationId xmlns:a16="http://schemas.microsoft.com/office/drawing/2014/main" id="{F68FDB0B-A3B7-36B0-1BB3-4AB99244C5E8}"/>
                </a:ext>
              </a:extLst>
            </p:cNvPr>
            <p:cNvGrpSpPr/>
            <p:nvPr/>
          </p:nvGrpSpPr>
          <p:grpSpPr>
            <a:xfrm>
              <a:off x="2811409" y="3683011"/>
              <a:ext cx="858485" cy="948995"/>
              <a:chOff x="2811409" y="3683011"/>
              <a:chExt cx="858485" cy="948995"/>
            </a:xfrm>
            <a:grpFill/>
          </p:grpSpPr>
          <p:sp>
            <p:nvSpPr>
              <p:cNvPr id="19" name="Freeform 18">
                <a:extLst>
                  <a:ext uri="{FF2B5EF4-FFF2-40B4-BE49-F238E27FC236}">
                    <a16:creationId xmlns:a16="http://schemas.microsoft.com/office/drawing/2014/main" id="{E38649C4-46C4-8FAF-FA8E-1A3BDE7E6FA4}"/>
                  </a:ext>
                </a:extLst>
              </p:cNvPr>
              <p:cNvSpPr/>
              <p:nvPr/>
            </p:nvSpPr>
            <p:spPr>
              <a:xfrm>
                <a:off x="2811409" y="3998429"/>
                <a:ext cx="858485" cy="633577"/>
              </a:xfrm>
              <a:custGeom>
                <a:avLst/>
                <a:gdLst>
                  <a:gd name="connsiteX0" fmla="*/ 828316 w 858485"/>
                  <a:gd name="connsiteY0" fmla="*/ 35656 h 633577"/>
                  <a:gd name="connsiteX1" fmla="*/ 770717 w 858485"/>
                  <a:gd name="connsiteY1" fmla="*/ 35656 h 633577"/>
                  <a:gd name="connsiteX2" fmla="*/ 770717 w 858485"/>
                  <a:gd name="connsiteY2" fmla="*/ 30170 h 633577"/>
                  <a:gd name="connsiteX3" fmla="*/ 743289 w 858485"/>
                  <a:gd name="connsiteY3" fmla="*/ 2743 h 633577"/>
                  <a:gd name="connsiteX4" fmla="*/ 630837 w 858485"/>
                  <a:gd name="connsiteY4" fmla="*/ 2743 h 633577"/>
                  <a:gd name="connsiteX5" fmla="*/ 617123 w 858485"/>
                  <a:gd name="connsiteY5" fmla="*/ 16456 h 633577"/>
                  <a:gd name="connsiteX6" fmla="*/ 630837 w 858485"/>
                  <a:gd name="connsiteY6" fmla="*/ 30170 h 633577"/>
                  <a:gd name="connsiteX7" fmla="*/ 743289 w 858485"/>
                  <a:gd name="connsiteY7" fmla="*/ 30170 h 633577"/>
                  <a:gd name="connsiteX8" fmla="*/ 743289 w 858485"/>
                  <a:gd name="connsiteY8" fmla="*/ 30170 h 633577"/>
                  <a:gd name="connsiteX9" fmla="*/ 743289 w 858485"/>
                  <a:gd name="connsiteY9" fmla="*/ 200221 h 633577"/>
                  <a:gd name="connsiteX10" fmla="*/ 757003 w 858485"/>
                  <a:gd name="connsiteY10" fmla="*/ 213935 h 633577"/>
                  <a:gd name="connsiteX11" fmla="*/ 770717 w 858485"/>
                  <a:gd name="connsiteY11" fmla="*/ 200221 h 633577"/>
                  <a:gd name="connsiteX12" fmla="*/ 770717 w 858485"/>
                  <a:gd name="connsiteY12" fmla="*/ 65826 h 633577"/>
                  <a:gd name="connsiteX13" fmla="*/ 828316 w 858485"/>
                  <a:gd name="connsiteY13" fmla="*/ 65826 h 633577"/>
                  <a:gd name="connsiteX14" fmla="*/ 831058 w 858485"/>
                  <a:gd name="connsiteY14" fmla="*/ 68569 h 633577"/>
                  <a:gd name="connsiteX15" fmla="*/ 831058 w 858485"/>
                  <a:gd name="connsiteY15" fmla="*/ 554038 h 633577"/>
                  <a:gd name="connsiteX16" fmla="*/ 773461 w 858485"/>
                  <a:gd name="connsiteY16" fmla="*/ 611636 h 633577"/>
                  <a:gd name="connsiteX17" fmla="*/ 85025 w 858485"/>
                  <a:gd name="connsiteY17" fmla="*/ 611636 h 633577"/>
                  <a:gd name="connsiteX18" fmla="*/ 27428 w 858485"/>
                  <a:gd name="connsiteY18" fmla="*/ 554038 h 633577"/>
                  <a:gd name="connsiteX19" fmla="*/ 27428 w 858485"/>
                  <a:gd name="connsiteY19" fmla="*/ 65826 h 633577"/>
                  <a:gd name="connsiteX20" fmla="*/ 30170 w 858485"/>
                  <a:gd name="connsiteY20" fmla="*/ 63083 h 633577"/>
                  <a:gd name="connsiteX21" fmla="*/ 87769 w 858485"/>
                  <a:gd name="connsiteY21" fmla="*/ 63083 h 633577"/>
                  <a:gd name="connsiteX22" fmla="*/ 87769 w 858485"/>
                  <a:gd name="connsiteY22" fmla="*/ 540324 h 633577"/>
                  <a:gd name="connsiteX23" fmla="*/ 123425 w 858485"/>
                  <a:gd name="connsiteY23" fmla="*/ 575980 h 633577"/>
                  <a:gd name="connsiteX24" fmla="*/ 735061 w 858485"/>
                  <a:gd name="connsiteY24" fmla="*/ 575980 h 633577"/>
                  <a:gd name="connsiteX25" fmla="*/ 770717 w 858485"/>
                  <a:gd name="connsiteY25" fmla="*/ 540324 h 633577"/>
                  <a:gd name="connsiteX26" fmla="*/ 770717 w 858485"/>
                  <a:gd name="connsiteY26" fmla="*/ 257819 h 633577"/>
                  <a:gd name="connsiteX27" fmla="*/ 757003 w 858485"/>
                  <a:gd name="connsiteY27" fmla="*/ 244106 h 633577"/>
                  <a:gd name="connsiteX28" fmla="*/ 743289 w 858485"/>
                  <a:gd name="connsiteY28" fmla="*/ 257819 h 633577"/>
                  <a:gd name="connsiteX29" fmla="*/ 743289 w 858485"/>
                  <a:gd name="connsiteY29" fmla="*/ 458041 h 633577"/>
                  <a:gd name="connsiteX30" fmla="*/ 518384 w 858485"/>
                  <a:gd name="connsiteY30" fmla="*/ 458041 h 633577"/>
                  <a:gd name="connsiteX31" fmla="*/ 444329 w 858485"/>
                  <a:gd name="connsiteY31" fmla="*/ 490954 h 633577"/>
                  <a:gd name="connsiteX32" fmla="*/ 444329 w 858485"/>
                  <a:gd name="connsiteY32" fmla="*/ 309932 h 633577"/>
                  <a:gd name="connsiteX33" fmla="*/ 430615 w 858485"/>
                  <a:gd name="connsiteY33" fmla="*/ 296218 h 633577"/>
                  <a:gd name="connsiteX34" fmla="*/ 416901 w 858485"/>
                  <a:gd name="connsiteY34" fmla="*/ 309932 h 633577"/>
                  <a:gd name="connsiteX35" fmla="*/ 416901 w 858485"/>
                  <a:gd name="connsiteY35" fmla="*/ 490954 h 633577"/>
                  <a:gd name="connsiteX36" fmla="*/ 342846 w 858485"/>
                  <a:gd name="connsiteY36" fmla="*/ 458041 h 633577"/>
                  <a:gd name="connsiteX37" fmla="*/ 279763 w 858485"/>
                  <a:gd name="connsiteY37" fmla="*/ 458041 h 633577"/>
                  <a:gd name="connsiteX38" fmla="*/ 266049 w 858485"/>
                  <a:gd name="connsiteY38" fmla="*/ 471755 h 633577"/>
                  <a:gd name="connsiteX39" fmla="*/ 279763 w 858485"/>
                  <a:gd name="connsiteY39" fmla="*/ 485469 h 633577"/>
                  <a:gd name="connsiteX40" fmla="*/ 342846 w 858485"/>
                  <a:gd name="connsiteY40" fmla="*/ 485469 h 633577"/>
                  <a:gd name="connsiteX41" fmla="*/ 416901 w 858485"/>
                  <a:gd name="connsiteY41" fmla="*/ 545810 h 633577"/>
                  <a:gd name="connsiteX42" fmla="*/ 123425 w 858485"/>
                  <a:gd name="connsiteY42" fmla="*/ 545810 h 633577"/>
                  <a:gd name="connsiteX43" fmla="*/ 115197 w 858485"/>
                  <a:gd name="connsiteY43" fmla="*/ 537581 h 633577"/>
                  <a:gd name="connsiteX44" fmla="*/ 115197 w 858485"/>
                  <a:gd name="connsiteY44" fmla="*/ 485469 h 633577"/>
                  <a:gd name="connsiteX45" fmla="*/ 216679 w 858485"/>
                  <a:gd name="connsiteY45" fmla="*/ 485469 h 633577"/>
                  <a:gd name="connsiteX46" fmla="*/ 230393 w 858485"/>
                  <a:gd name="connsiteY46" fmla="*/ 471755 h 633577"/>
                  <a:gd name="connsiteX47" fmla="*/ 216679 w 858485"/>
                  <a:gd name="connsiteY47" fmla="*/ 458041 h 633577"/>
                  <a:gd name="connsiteX48" fmla="*/ 115197 w 858485"/>
                  <a:gd name="connsiteY48" fmla="*/ 458041 h 633577"/>
                  <a:gd name="connsiteX49" fmla="*/ 115197 w 858485"/>
                  <a:gd name="connsiteY49" fmla="*/ 27428 h 633577"/>
                  <a:gd name="connsiteX50" fmla="*/ 115197 w 858485"/>
                  <a:gd name="connsiteY50" fmla="*/ 27428 h 633577"/>
                  <a:gd name="connsiteX51" fmla="*/ 227649 w 858485"/>
                  <a:gd name="connsiteY51" fmla="*/ 27428 h 633577"/>
                  <a:gd name="connsiteX52" fmla="*/ 241363 w 858485"/>
                  <a:gd name="connsiteY52" fmla="*/ 13714 h 633577"/>
                  <a:gd name="connsiteX53" fmla="*/ 227649 w 858485"/>
                  <a:gd name="connsiteY53" fmla="*/ 0 h 633577"/>
                  <a:gd name="connsiteX54" fmla="*/ 115197 w 858485"/>
                  <a:gd name="connsiteY54" fmla="*/ 0 h 633577"/>
                  <a:gd name="connsiteX55" fmla="*/ 87769 w 858485"/>
                  <a:gd name="connsiteY55" fmla="*/ 27428 h 633577"/>
                  <a:gd name="connsiteX56" fmla="*/ 87769 w 858485"/>
                  <a:gd name="connsiteY56" fmla="*/ 32913 h 633577"/>
                  <a:gd name="connsiteX57" fmla="*/ 30170 w 858485"/>
                  <a:gd name="connsiteY57" fmla="*/ 32913 h 633577"/>
                  <a:gd name="connsiteX58" fmla="*/ 0 w 858485"/>
                  <a:gd name="connsiteY58" fmla="*/ 63083 h 633577"/>
                  <a:gd name="connsiteX59" fmla="*/ 0 w 858485"/>
                  <a:gd name="connsiteY59" fmla="*/ 548552 h 633577"/>
                  <a:gd name="connsiteX60" fmla="*/ 85025 w 858485"/>
                  <a:gd name="connsiteY60" fmla="*/ 633578 h 633577"/>
                  <a:gd name="connsiteX61" fmla="*/ 773461 w 858485"/>
                  <a:gd name="connsiteY61" fmla="*/ 633578 h 633577"/>
                  <a:gd name="connsiteX62" fmla="*/ 858486 w 858485"/>
                  <a:gd name="connsiteY62" fmla="*/ 548552 h 633577"/>
                  <a:gd name="connsiteX63" fmla="*/ 858486 w 858485"/>
                  <a:gd name="connsiteY63" fmla="*/ 65826 h 633577"/>
                  <a:gd name="connsiteX64" fmla="*/ 828316 w 858485"/>
                  <a:gd name="connsiteY64" fmla="*/ 35656 h 633577"/>
                  <a:gd name="connsiteX65" fmla="*/ 828316 w 858485"/>
                  <a:gd name="connsiteY65" fmla="*/ 35656 h 633577"/>
                  <a:gd name="connsiteX66" fmla="*/ 518384 w 858485"/>
                  <a:gd name="connsiteY66" fmla="*/ 485469 h 633577"/>
                  <a:gd name="connsiteX67" fmla="*/ 743289 w 858485"/>
                  <a:gd name="connsiteY67" fmla="*/ 485469 h 633577"/>
                  <a:gd name="connsiteX68" fmla="*/ 743289 w 858485"/>
                  <a:gd name="connsiteY68" fmla="*/ 537581 h 633577"/>
                  <a:gd name="connsiteX69" fmla="*/ 735061 w 858485"/>
                  <a:gd name="connsiteY69" fmla="*/ 545810 h 633577"/>
                  <a:gd name="connsiteX70" fmla="*/ 444329 w 858485"/>
                  <a:gd name="connsiteY70" fmla="*/ 545810 h 633577"/>
                  <a:gd name="connsiteX71" fmla="*/ 518384 w 858485"/>
                  <a:gd name="connsiteY71" fmla="*/ 485469 h 633577"/>
                  <a:gd name="connsiteX72" fmla="*/ 518384 w 858485"/>
                  <a:gd name="connsiteY72" fmla="*/ 485469 h 633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58485" h="633577">
                    <a:moveTo>
                      <a:pt x="828316" y="35656"/>
                    </a:moveTo>
                    <a:lnTo>
                      <a:pt x="770717" y="35656"/>
                    </a:lnTo>
                    <a:lnTo>
                      <a:pt x="770717" y="30170"/>
                    </a:lnTo>
                    <a:cubicBezTo>
                      <a:pt x="770717" y="13714"/>
                      <a:pt x="757003" y="2743"/>
                      <a:pt x="743289" y="2743"/>
                    </a:cubicBezTo>
                    <a:lnTo>
                      <a:pt x="630837" y="2743"/>
                    </a:lnTo>
                    <a:cubicBezTo>
                      <a:pt x="622609" y="2743"/>
                      <a:pt x="617123" y="8228"/>
                      <a:pt x="617123" y="16456"/>
                    </a:cubicBezTo>
                    <a:cubicBezTo>
                      <a:pt x="617123" y="24685"/>
                      <a:pt x="622609" y="30170"/>
                      <a:pt x="630837" y="30170"/>
                    </a:cubicBezTo>
                    <a:lnTo>
                      <a:pt x="743289" y="30170"/>
                    </a:lnTo>
                    <a:cubicBezTo>
                      <a:pt x="743289" y="30170"/>
                      <a:pt x="743289" y="30170"/>
                      <a:pt x="743289" y="30170"/>
                    </a:cubicBezTo>
                    <a:lnTo>
                      <a:pt x="743289" y="200221"/>
                    </a:lnTo>
                    <a:cubicBezTo>
                      <a:pt x="743289" y="208450"/>
                      <a:pt x="748775" y="213935"/>
                      <a:pt x="757003" y="213935"/>
                    </a:cubicBezTo>
                    <a:cubicBezTo>
                      <a:pt x="765233" y="213935"/>
                      <a:pt x="770717" y="208450"/>
                      <a:pt x="770717" y="200221"/>
                    </a:cubicBezTo>
                    <a:lnTo>
                      <a:pt x="770717" y="65826"/>
                    </a:lnTo>
                    <a:lnTo>
                      <a:pt x="828316" y="65826"/>
                    </a:lnTo>
                    <a:cubicBezTo>
                      <a:pt x="831058" y="65826"/>
                      <a:pt x="831058" y="68569"/>
                      <a:pt x="831058" y="68569"/>
                    </a:cubicBezTo>
                    <a:lnTo>
                      <a:pt x="831058" y="554038"/>
                    </a:lnTo>
                    <a:cubicBezTo>
                      <a:pt x="831058" y="586951"/>
                      <a:pt x="806374" y="611636"/>
                      <a:pt x="773461" y="611636"/>
                    </a:cubicBezTo>
                    <a:lnTo>
                      <a:pt x="85025" y="611636"/>
                    </a:lnTo>
                    <a:cubicBezTo>
                      <a:pt x="52113" y="611636"/>
                      <a:pt x="27428" y="586951"/>
                      <a:pt x="27428" y="554038"/>
                    </a:cubicBezTo>
                    <a:lnTo>
                      <a:pt x="27428" y="65826"/>
                    </a:lnTo>
                    <a:cubicBezTo>
                      <a:pt x="27428" y="63083"/>
                      <a:pt x="30170" y="63083"/>
                      <a:pt x="30170" y="63083"/>
                    </a:cubicBezTo>
                    <a:lnTo>
                      <a:pt x="87769" y="63083"/>
                    </a:lnTo>
                    <a:lnTo>
                      <a:pt x="87769" y="540324"/>
                    </a:lnTo>
                    <a:cubicBezTo>
                      <a:pt x="87769" y="559523"/>
                      <a:pt x="104225" y="575980"/>
                      <a:pt x="123425" y="575980"/>
                    </a:cubicBezTo>
                    <a:lnTo>
                      <a:pt x="735061" y="575980"/>
                    </a:lnTo>
                    <a:cubicBezTo>
                      <a:pt x="754261" y="575980"/>
                      <a:pt x="770717" y="559523"/>
                      <a:pt x="770717" y="540324"/>
                    </a:cubicBezTo>
                    <a:lnTo>
                      <a:pt x="770717" y="257819"/>
                    </a:lnTo>
                    <a:cubicBezTo>
                      <a:pt x="770717" y="249591"/>
                      <a:pt x="765233" y="244106"/>
                      <a:pt x="757003" y="244106"/>
                    </a:cubicBezTo>
                    <a:cubicBezTo>
                      <a:pt x="748775" y="244106"/>
                      <a:pt x="743289" y="249591"/>
                      <a:pt x="743289" y="257819"/>
                    </a:cubicBezTo>
                    <a:lnTo>
                      <a:pt x="743289" y="458041"/>
                    </a:lnTo>
                    <a:lnTo>
                      <a:pt x="518384" y="458041"/>
                    </a:lnTo>
                    <a:cubicBezTo>
                      <a:pt x="488212" y="458041"/>
                      <a:pt x="463528" y="469012"/>
                      <a:pt x="444329" y="490954"/>
                    </a:cubicBezTo>
                    <a:lnTo>
                      <a:pt x="444329" y="309932"/>
                    </a:lnTo>
                    <a:cubicBezTo>
                      <a:pt x="444329" y="301704"/>
                      <a:pt x="438843" y="296218"/>
                      <a:pt x="430615" y="296218"/>
                    </a:cubicBezTo>
                    <a:cubicBezTo>
                      <a:pt x="422387" y="296218"/>
                      <a:pt x="416901" y="301704"/>
                      <a:pt x="416901" y="309932"/>
                    </a:cubicBezTo>
                    <a:lnTo>
                      <a:pt x="416901" y="490954"/>
                    </a:lnTo>
                    <a:cubicBezTo>
                      <a:pt x="397701" y="471755"/>
                      <a:pt x="373016" y="458041"/>
                      <a:pt x="342846" y="458041"/>
                    </a:cubicBezTo>
                    <a:lnTo>
                      <a:pt x="279763" y="458041"/>
                    </a:lnTo>
                    <a:cubicBezTo>
                      <a:pt x="271535" y="458041"/>
                      <a:pt x="266049" y="463527"/>
                      <a:pt x="266049" y="471755"/>
                    </a:cubicBezTo>
                    <a:cubicBezTo>
                      <a:pt x="266049" y="479983"/>
                      <a:pt x="271535" y="485469"/>
                      <a:pt x="279763" y="485469"/>
                    </a:cubicBezTo>
                    <a:lnTo>
                      <a:pt x="342846" y="485469"/>
                    </a:lnTo>
                    <a:cubicBezTo>
                      <a:pt x="378502" y="485469"/>
                      <a:pt x="408673" y="512896"/>
                      <a:pt x="416901" y="545810"/>
                    </a:cubicBezTo>
                    <a:lnTo>
                      <a:pt x="123425" y="545810"/>
                    </a:lnTo>
                    <a:cubicBezTo>
                      <a:pt x="117939" y="545810"/>
                      <a:pt x="115197" y="543067"/>
                      <a:pt x="115197" y="537581"/>
                    </a:cubicBezTo>
                    <a:lnTo>
                      <a:pt x="115197" y="485469"/>
                    </a:lnTo>
                    <a:lnTo>
                      <a:pt x="216679" y="485469"/>
                    </a:lnTo>
                    <a:cubicBezTo>
                      <a:pt x="224907" y="485469"/>
                      <a:pt x="230393" y="479983"/>
                      <a:pt x="230393" y="471755"/>
                    </a:cubicBezTo>
                    <a:cubicBezTo>
                      <a:pt x="230393" y="463527"/>
                      <a:pt x="224907" y="458041"/>
                      <a:pt x="216679" y="458041"/>
                    </a:cubicBezTo>
                    <a:lnTo>
                      <a:pt x="115197" y="458041"/>
                    </a:lnTo>
                    <a:lnTo>
                      <a:pt x="115197" y="27428"/>
                    </a:lnTo>
                    <a:cubicBezTo>
                      <a:pt x="115197" y="27428"/>
                      <a:pt x="115197" y="27428"/>
                      <a:pt x="115197" y="27428"/>
                    </a:cubicBezTo>
                    <a:lnTo>
                      <a:pt x="227649" y="27428"/>
                    </a:lnTo>
                    <a:cubicBezTo>
                      <a:pt x="235877" y="27428"/>
                      <a:pt x="241363" y="21942"/>
                      <a:pt x="241363" y="13714"/>
                    </a:cubicBezTo>
                    <a:cubicBezTo>
                      <a:pt x="241363" y="5485"/>
                      <a:pt x="235877" y="0"/>
                      <a:pt x="227649" y="0"/>
                    </a:cubicBezTo>
                    <a:lnTo>
                      <a:pt x="115197" y="0"/>
                    </a:lnTo>
                    <a:cubicBezTo>
                      <a:pt x="98739" y="0"/>
                      <a:pt x="87769" y="13714"/>
                      <a:pt x="87769" y="27428"/>
                    </a:cubicBezTo>
                    <a:lnTo>
                      <a:pt x="87769" y="32913"/>
                    </a:lnTo>
                    <a:lnTo>
                      <a:pt x="30170" y="32913"/>
                    </a:lnTo>
                    <a:cubicBezTo>
                      <a:pt x="13714" y="32913"/>
                      <a:pt x="0" y="46627"/>
                      <a:pt x="0" y="63083"/>
                    </a:cubicBezTo>
                    <a:lnTo>
                      <a:pt x="0" y="548552"/>
                    </a:lnTo>
                    <a:cubicBezTo>
                      <a:pt x="0" y="595179"/>
                      <a:pt x="38399" y="633578"/>
                      <a:pt x="85025" y="633578"/>
                    </a:cubicBezTo>
                    <a:lnTo>
                      <a:pt x="773461" y="633578"/>
                    </a:lnTo>
                    <a:cubicBezTo>
                      <a:pt x="820088" y="633578"/>
                      <a:pt x="858486" y="595179"/>
                      <a:pt x="858486" y="548552"/>
                    </a:cubicBezTo>
                    <a:lnTo>
                      <a:pt x="858486" y="65826"/>
                    </a:lnTo>
                    <a:cubicBezTo>
                      <a:pt x="858486" y="49369"/>
                      <a:pt x="844772" y="35656"/>
                      <a:pt x="828316" y="35656"/>
                    </a:cubicBezTo>
                    <a:lnTo>
                      <a:pt x="828316" y="35656"/>
                    </a:lnTo>
                    <a:close/>
                    <a:moveTo>
                      <a:pt x="518384" y="485469"/>
                    </a:moveTo>
                    <a:lnTo>
                      <a:pt x="743289" y="485469"/>
                    </a:lnTo>
                    <a:lnTo>
                      <a:pt x="743289" y="537581"/>
                    </a:lnTo>
                    <a:cubicBezTo>
                      <a:pt x="743289" y="543067"/>
                      <a:pt x="740547" y="545810"/>
                      <a:pt x="735061" y="545810"/>
                    </a:cubicBezTo>
                    <a:lnTo>
                      <a:pt x="444329" y="545810"/>
                    </a:lnTo>
                    <a:cubicBezTo>
                      <a:pt x="452557" y="512896"/>
                      <a:pt x="482726" y="485469"/>
                      <a:pt x="518384" y="485469"/>
                    </a:cubicBezTo>
                    <a:lnTo>
                      <a:pt x="518384" y="485469"/>
                    </a:lnTo>
                    <a:close/>
                  </a:path>
                </a:pathLst>
              </a:custGeom>
              <a:grpFill/>
              <a:ln w="27426" cap="flat">
                <a:noFill/>
                <a:prstDash val="solid"/>
                <a:miter/>
              </a:ln>
            </p:spPr>
            <p:txBody>
              <a:bodyPr rtlCol="0" anchor="ctr"/>
              <a:lstStyle/>
              <a:p>
                <a:pPr algn="l" rtl="0"/>
                <a:endParaRPr lang="en-US"/>
              </a:p>
            </p:txBody>
          </p:sp>
          <p:sp>
            <p:nvSpPr>
              <p:cNvPr id="20" name="Freeform 19">
                <a:extLst>
                  <a:ext uri="{FF2B5EF4-FFF2-40B4-BE49-F238E27FC236}">
                    <a16:creationId xmlns:a16="http://schemas.microsoft.com/office/drawing/2014/main" id="{57978BCC-BC8D-1513-D674-EA7418F67543}"/>
                  </a:ext>
                </a:extLst>
              </p:cNvPr>
              <p:cNvSpPr/>
              <p:nvPr/>
            </p:nvSpPr>
            <p:spPr>
              <a:xfrm>
                <a:off x="3043831" y="3683011"/>
                <a:ext cx="398414" cy="562266"/>
              </a:xfrm>
              <a:custGeom>
                <a:avLst/>
                <a:gdLst>
                  <a:gd name="connsiteX0" fmla="*/ 11685 w 398414"/>
                  <a:gd name="connsiteY0" fmla="*/ 200221 h 562266"/>
                  <a:gd name="connsiteX1" fmla="*/ 28141 w 398414"/>
                  <a:gd name="connsiteY1" fmla="*/ 186508 h 562266"/>
                  <a:gd name="connsiteX2" fmla="*/ 82996 w 398414"/>
                  <a:gd name="connsiteY2" fmla="*/ 76797 h 562266"/>
                  <a:gd name="connsiteX3" fmla="*/ 198193 w 398414"/>
                  <a:gd name="connsiteY3" fmla="*/ 32913 h 562266"/>
                  <a:gd name="connsiteX4" fmla="*/ 368245 w 398414"/>
                  <a:gd name="connsiteY4" fmla="*/ 202964 h 562266"/>
                  <a:gd name="connsiteX5" fmla="*/ 338073 w 398414"/>
                  <a:gd name="connsiteY5" fmla="*/ 301704 h 562266"/>
                  <a:gd name="connsiteX6" fmla="*/ 338073 w 398414"/>
                  <a:gd name="connsiteY6" fmla="*/ 301704 h 562266"/>
                  <a:gd name="connsiteX7" fmla="*/ 250304 w 398414"/>
                  <a:gd name="connsiteY7" fmla="*/ 441584 h 562266"/>
                  <a:gd name="connsiteX8" fmla="*/ 247562 w 398414"/>
                  <a:gd name="connsiteY8" fmla="*/ 449813 h 562266"/>
                  <a:gd name="connsiteX9" fmla="*/ 247562 w 398414"/>
                  <a:gd name="connsiteY9" fmla="*/ 469012 h 562266"/>
                  <a:gd name="connsiteX10" fmla="*/ 242076 w 398414"/>
                  <a:gd name="connsiteY10" fmla="*/ 474498 h 562266"/>
                  <a:gd name="connsiteX11" fmla="*/ 242076 w 398414"/>
                  <a:gd name="connsiteY11" fmla="*/ 474498 h 562266"/>
                  <a:gd name="connsiteX12" fmla="*/ 250304 w 398414"/>
                  <a:gd name="connsiteY12" fmla="*/ 323646 h 562266"/>
                  <a:gd name="connsiteX13" fmla="*/ 266762 w 398414"/>
                  <a:gd name="connsiteY13" fmla="*/ 323646 h 562266"/>
                  <a:gd name="connsiteX14" fmla="*/ 307904 w 398414"/>
                  <a:gd name="connsiteY14" fmla="*/ 282504 h 562266"/>
                  <a:gd name="connsiteX15" fmla="*/ 307904 w 398414"/>
                  <a:gd name="connsiteY15" fmla="*/ 279762 h 562266"/>
                  <a:gd name="connsiteX16" fmla="*/ 266762 w 398414"/>
                  <a:gd name="connsiteY16" fmla="*/ 238620 h 562266"/>
                  <a:gd name="connsiteX17" fmla="*/ 225621 w 398414"/>
                  <a:gd name="connsiteY17" fmla="*/ 277019 h 562266"/>
                  <a:gd name="connsiteX18" fmla="*/ 225621 w 398414"/>
                  <a:gd name="connsiteY18" fmla="*/ 293475 h 562266"/>
                  <a:gd name="connsiteX19" fmla="*/ 176251 w 398414"/>
                  <a:gd name="connsiteY19" fmla="*/ 293475 h 562266"/>
                  <a:gd name="connsiteX20" fmla="*/ 176251 w 398414"/>
                  <a:gd name="connsiteY20" fmla="*/ 277019 h 562266"/>
                  <a:gd name="connsiteX21" fmla="*/ 135110 w 398414"/>
                  <a:gd name="connsiteY21" fmla="*/ 238620 h 562266"/>
                  <a:gd name="connsiteX22" fmla="*/ 93968 w 398414"/>
                  <a:gd name="connsiteY22" fmla="*/ 279762 h 562266"/>
                  <a:gd name="connsiteX23" fmla="*/ 93968 w 398414"/>
                  <a:gd name="connsiteY23" fmla="*/ 282504 h 562266"/>
                  <a:gd name="connsiteX24" fmla="*/ 135110 w 398414"/>
                  <a:gd name="connsiteY24" fmla="*/ 323646 h 562266"/>
                  <a:gd name="connsiteX25" fmla="*/ 151565 w 398414"/>
                  <a:gd name="connsiteY25" fmla="*/ 323646 h 562266"/>
                  <a:gd name="connsiteX26" fmla="*/ 159793 w 398414"/>
                  <a:gd name="connsiteY26" fmla="*/ 474498 h 562266"/>
                  <a:gd name="connsiteX27" fmla="*/ 154308 w 398414"/>
                  <a:gd name="connsiteY27" fmla="*/ 469012 h 562266"/>
                  <a:gd name="connsiteX28" fmla="*/ 154308 w 398414"/>
                  <a:gd name="connsiteY28" fmla="*/ 449813 h 562266"/>
                  <a:gd name="connsiteX29" fmla="*/ 151565 w 398414"/>
                  <a:gd name="connsiteY29" fmla="*/ 441584 h 562266"/>
                  <a:gd name="connsiteX30" fmla="*/ 63797 w 398414"/>
                  <a:gd name="connsiteY30" fmla="*/ 301704 h 562266"/>
                  <a:gd name="connsiteX31" fmla="*/ 63797 w 398414"/>
                  <a:gd name="connsiteY31" fmla="*/ 301704 h 562266"/>
                  <a:gd name="connsiteX32" fmla="*/ 36369 w 398414"/>
                  <a:gd name="connsiteY32" fmla="*/ 241363 h 562266"/>
                  <a:gd name="connsiteX33" fmla="*/ 19913 w 398414"/>
                  <a:gd name="connsiteY33" fmla="*/ 230392 h 562266"/>
                  <a:gd name="connsiteX34" fmla="*/ 8941 w 398414"/>
                  <a:gd name="connsiteY34" fmla="*/ 246849 h 562266"/>
                  <a:gd name="connsiteX35" fmla="*/ 39113 w 398414"/>
                  <a:gd name="connsiteY35" fmla="*/ 315418 h 562266"/>
                  <a:gd name="connsiteX36" fmla="*/ 126880 w 398414"/>
                  <a:gd name="connsiteY36" fmla="*/ 449813 h 562266"/>
                  <a:gd name="connsiteX37" fmla="*/ 126880 w 398414"/>
                  <a:gd name="connsiteY37" fmla="*/ 463527 h 562266"/>
                  <a:gd name="connsiteX38" fmla="*/ 146080 w 398414"/>
                  <a:gd name="connsiteY38" fmla="*/ 493697 h 562266"/>
                  <a:gd name="connsiteX39" fmla="*/ 146080 w 398414"/>
                  <a:gd name="connsiteY39" fmla="*/ 518382 h 562266"/>
                  <a:gd name="connsiteX40" fmla="*/ 189965 w 398414"/>
                  <a:gd name="connsiteY40" fmla="*/ 562266 h 562266"/>
                  <a:gd name="connsiteX41" fmla="*/ 211907 w 398414"/>
                  <a:gd name="connsiteY41" fmla="*/ 562266 h 562266"/>
                  <a:gd name="connsiteX42" fmla="*/ 255790 w 398414"/>
                  <a:gd name="connsiteY42" fmla="*/ 518382 h 562266"/>
                  <a:gd name="connsiteX43" fmla="*/ 255790 w 398414"/>
                  <a:gd name="connsiteY43" fmla="*/ 493697 h 562266"/>
                  <a:gd name="connsiteX44" fmla="*/ 274990 w 398414"/>
                  <a:gd name="connsiteY44" fmla="*/ 463527 h 562266"/>
                  <a:gd name="connsiteX45" fmla="*/ 274990 w 398414"/>
                  <a:gd name="connsiteY45" fmla="*/ 449813 h 562266"/>
                  <a:gd name="connsiteX46" fmla="*/ 362759 w 398414"/>
                  <a:gd name="connsiteY46" fmla="*/ 315418 h 562266"/>
                  <a:gd name="connsiteX47" fmla="*/ 398415 w 398414"/>
                  <a:gd name="connsiteY47" fmla="*/ 200221 h 562266"/>
                  <a:gd name="connsiteX48" fmla="*/ 198193 w 398414"/>
                  <a:gd name="connsiteY48" fmla="*/ 0 h 562266"/>
                  <a:gd name="connsiteX49" fmla="*/ 63797 w 398414"/>
                  <a:gd name="connsiteY49" fmla="*/ 52112 h 562266"/>
                  <a:gd name="connsiteX50" fmla="*/ 713 w 398414"/>
                  <a:gd name="connsiteY50" fmla="*/ 181022 h 562266"/>
                  <a:gd name="connsiteX51" fmla="*/ 11685 w 398414"/>
                  <a:gd name="connsiteY51" fmla="*/ 200221 h 562266"/>
                  <a:gd name="connsiteX52" fmla="*/ 11685 w 398414"/>
                  <a:gd name="connsiteY52" fmla="*/ 200221 h 562266"/>
                  <a:gd name="connsiteX53" fmla="*/ 250304 w 398414"/>
                  <a:gd name="connsiteY53" fmla="*/ 279762 h 562266"/>
                  <a:gd name="connsiteX54" fmla="*/ 264018 w 398414"/>
                  <a:gd name="connsiteY54" fmla="*/ 266048 h 562266"/>
                  <a:gd name="connsiteX55" fmla="*/ 277732 w 398414"/>
                  <a:gd name="connsiteY55" fmla="*/ 279762 h 562266"/>
                  <a:gd name="connsiteX56" fmla="*/ 277732 w 398414"/>
                  <a:gd name="connsiteY56" fmla="*/ 282504 h 562266"/>
                  <a:gd name="connsiteX57" fmla="*/ 264018 w 398414"/>
                  <a:gd name="connsiteY57" fmla="*/ 296218 h 562266"/>
                  <a:gd name="connsiteX58" fmla="*/ 247562 w 398414"/>
                  <a:gd name="connsiteY58" fmla="*/ 296218 h 562266"/>
                  <a:gd name="connsiteX59" fmla="*/ 250304 w 398414"/>
                  <a:gd name="connsiteY59" fmla="*/ 279762 h 562266"/>
                  <a:gd name="connsiteX60" fmla="*/ 129624 w 398414"/>
                  <a:gd name="connsiteY60" fmla="*/ 293475 h 562266"/>
                  <a:gd name="connsiteX61" fmla="*/ 115910 w 398414"/>
                  <a:gd name="connsiteY61" fmla="*/ 279762 h 562266"/>
                  <a:gd name="connsiteX62" fmla="*/ 115910 w 398414"/>
                  <a:gd name="connsiteY62" fmla="*/ 277019 h 562266"/>
                  <a:gd name="connsiteX63" fmla="*/ 129624 w 398414"/>
                  <a:gd name="connsiteY63" fmla="*/ 263305 h 562266"/>
                  <a:gd name="connsiteX64" fmla="*/ 143338 w 398414"/>
                  <a:gd name="connsiteY64" fmla="*/ 277019 h 562266"/>
                  <a:gd name="connsiteX65" fmla="*/ 143338 w 398414"/>
                  <a:gd name="connsiteY65" fmla="*/ 293475 h 562266"/>
                  <a:gd name="connsiteX66" fmla="*/ 129624 w 398414"/>
                  <a:gd name="connsiteY66" fmla="*/ 293475 h 562266"/>
                  <a:gd name="connsiteX67" fmla="*/ 220135 w 398414"/>
                  <a:gd name="connsiteY67" fmla="*/ 323646 h 562266"/>
                  <a:gd name="connsiteX68" fmla="*/ 211907 w 398414"/>
                  <a:gd name="connsiteY68" fmla="*/ 474498 h 562266"/>
                  <a:gd name="connsiteX69" fmla="*/ 184479 w 398414"/>
                  <a:gd name="connsiteY69" fmla="*/ 474498 h 562266"/>
                  <a:gd name="connsiteX70" fmla="*/ 176251 w 398414"/>
                  <a:gd name="connsiteY70" fmla="*/ 323646 h 562266"/>
                  <a:gd name="connsiteX71" fmla="*/ 220135 w 398414"/>
                  <a:gd name="connsiteY71" fmla="*/ 323646 h 562266"/>
                  <a:gd name="connsiteX72" fmla="*/ 225621 w 398414"/>
                  <a:gd name="connsiteY72" fmla="*/ 521125 h 562266"/>
                  <a:gd name="connsiteX73" fmla="*/ 209163 w 398414"/>
                  <a:gd name="connsiteY73" fmla="*/ 537581 h 562266"/>
                  <a:gd name="connsiteX74" fmla="*/ 187221 w 398414"/>
                  <a:gd name="connsiteY74" fmla="*/ 537581 h 562266"/>
                  <a:gd name="connsiteX75" fmla="*/ 170765 w 398414"/>
                  <a:gd name="connsiteY75" fmla="*/ 521125 h 562266"/>
                  <a:gd name="connsiteX76" fmla="*/ 170765 w 398414"/>
                  <a:gd name="connsiteY76" fmla="*/ 499183 h 562266"/>
                  <a:gd name="connsiteX77" fmla="*/ 225621 w 398414"/>
                  <a:gd name="connsiteY77" fmla="*/ 499183 h 562266"/>
                  <a:gd name="connsiteX78" fmla="*/ 225621 w 398414"/>
                  <a:gd name="connsiteY78" fmla="*/ 521125 h 562266"/>
                  <a:gd name="connsiteX79" fmla="*/ 225621 w 398414"/>
                  <a:gd name="connsiteY79" fmla="*/ 521125 h 56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98414" h="562266">
                    <a:moveTo>
                      <a:pt x="11685" y="200221"/>
                    </a:moveTo>
                    <a:cubicBezTo>
                      <a:pt x="19913" y="200221"/>
                      <a:pt x="25399" y="194736"/>
                      <a:pt x="28141" y="186508"/>
                    </a:cubicBezTo>
                    <a:cubicBezTo>
                      <a:pt x="30883" y="145366"/>
                      <a:pt x="52827" y="104225"/>
                      <a:pt x="82996" y="76797"/>
                    </a:cubicBezTo>
                    <a:cubicBezTo>
                      <a:pt x="115910" y="46627"/>
                      <a:pt x="154308" y="32913"/>
                      <a:pt x="198193" y="32913"/>
                    </a:cubicBezTo>
                    <a:cubicBezTo>
                      <a:pt x="291446" y="32913"/>
                      <a:pt x="368245" y="109710"/>
                      <a:pt x="368245" y="202964"/>
                    </a:cubicBezTo>
                    <a:cubicBezTo>
                      <a:pt x="368245" y="238620"/>
                      <a:pt x="357273" y="271533"/>
                      <a:pt x="338073" y="301704"/>
                    </a:cubicBezTo>
                    <a:cubicBezTo>
                      <a:pt x="338073" y="301704"/>
                      <a:pt x="338073" y="301704"/>
                      <a:pt x="338073" y="301704"/>
                    </a:cubicBezTo>
                    <a:lnTo>
                      <a:pt x="250304" y="441584"/>
                    </a:lnTo>
                    <a:cubicBezTo>
                      <a:pt x="247562" y="444327"/>
                      <a:pt x="247562" y="447070"/>
                      <a:pt x="247562" y="449813"/>
                    </a:cubicBezTo>
                    <a:lnTo>
                      <a:pt x="247562" y="469012"/>
                    </a:lnTo>
                    <a:cubicBezTo>
                      <a:pt x="247562" y="471755"/>
                      <a:pt x="244820" y="474498"/>
                      <a:pt x="242076" y="474498"/>
                    </a:cubicBezTo>
                    <a:lnTo>
                      <a:pt x="242076" y="474498"/>
                    </a:lnTo>
                    <a:lnTo>
                      <a:pt x="250304" y="323646"/>
                    </a:lnTo>
                    <a:lnTo>
                      <a:pt x="266762" y="323646"/>
                    </a:lnTo>
                    <a:cubicBezTo>
                      <a:pt x="288704" y="323646"/>
                      <a:pt x="307904" y="304446"/>
                      <a:pt x="307904" y="282504"/>
                    </a:cubicBezTo>
                    <a:lnTo>
                      <a:pt x="307904" y="279762"/>
                    </a:lnTo>
                    <a:cubicBezTo>
                      <a:pt x="307904" y="257819"/>
                      <a:pt x="288704" y="238620"/>
                      <a:pt x="266762" y="238620"/>
                    </a:cubicBezTo>
                    <a:cubicBezTo>
                      <a:pt x="244820" y="238620"/>
                      <a:pt x="225621" y="255077"/>
                      <a:pt x="225621" y="277019"/>
                    </a:cubicBezTo>
                    <a:lnTo>
                      <a:pt x="225621" y="293475"/>
                    </a:lnTo>
                    <a:lnTo>
                      <a:pt x="176251" y="293475"/>
                    </a:lnTo>
                    <a:lnTo>
                      <a:pt x="176251" y="277019"/>
                    </a:lnTo>
                    <a:cubicBezTo>
                      <a:pt x="176251" y="255077"/>
                      <a:pt x="157051" y="238620"/>
                      <a:pt x="135110" y="238620"/>
                    </a:cubicBezTo>
                    <a:cubicBezTo>
                      <a:pt x="113166" y="238620"/>
                      <a:pt x="93968" y="257819"/>
                      <a:pt x="93968" y="279762"/>
                    </a:cubicBezTo>
                    <a:lnTo>
                      <a:pt x="93968" y="282504"/>
                    </a:lnTo>
                    <a:cubicBezTo>
                      <a:pt x="93968" y="304446"/>
                      <a:pt x="113166" y="323646"/>
                      <a:pt x="135110" y="323646"/>
                    </a:cubicBezTo>
                    <a:lnTo>
                      <a:pt x="151565" y="323646"/>
                    </a:lnTo>
                    <a:lnTo>
                      <a:pt x="159793" y="474498"/>
                    </a:lnTo>
                    <a:cubicBezTo>
                      <a:pt x="157051" y="474498"/>
                      <a:pt x="154308" y="471755"/>
                      <a:pt x="154308" y="469012"/>
                    </a:cubicBezTo>
                    <a:lnTo>
                      <a:pt x="154308" y="449813"/>
                    </a:lnTo>
                    <a:cubicBezTo>
                      <a:pt x="154308" y="447070"/>
                      <a:pt x="154308" y="444327"/>
                      <a:pt x="151565" y="441584"/>
                    </a:cubicBezTo>
                    <a:lnTo>
                      <a:pt x="63797" y="301704"/>
                    </a:lnTo>
                    <a:cubicBezTo>
                      <a:pt x="63797" y="301704"/>
                      <a:pt x="63797" y="301704"/>
                      <a:pt x="63797" y="301704"/>
                    </a:cubicBezTo>
                    <a:cubicBezTo>
                      <a:pt x="50083" y="282504"/>
                      <a:pt x="41855" y="263305"/>
                      <a:pt x="36369" y="241363"/>
                    </a:cubicBezTo>
                    <a:cubicBezTo>
                      <a:pt x="33627" y="233135"/>
                      <a:pt x="28141" y="230392"/>
                      <a:pt x="19913" y="230392"/>
                    </a:cubicBezTo>
                    <a:cubicBezTo>
                      <a:pt x="11685" y="233135"/>
                      <a:pt x="8941" y="238620"/>
                      <a:pt x="8941" y="246849"/>
                    </a:cubicBezTo>
                    <a:cubicBezTo>
                      <a:pt x="14427" y="271533"/>
                      <a:pt x="25399" y="296218"/>
                      <a:pt x="39113" y="315418"/>
                    </a:cubicBezTo>
                    <a:lnTo>
                      <a:pt x="126880" y="449813"/>
                    </a:lnTo>
                    <a:lnTo>
                      <a:pt x="126880" y="463527"/>
                    </a:lnTo>
                    <a:cubicBezTo>
                      <a:pt x="126880" y="477240"/>
                      <a:pt x="135110" y="490954"/>
                      <a:pt x="146080" y="493697"/>
                    </a:cubicBezTo>
                    <a:lnTo>
                      <a:pt x="146080" y="518382"/>
                    </a:lnTo>
                    <a:cubicBezTo>
                      <a:pt x="146080" y="543067"/>
                      <a:pt x="165279" y="562266"/>
                      <a:pt x="189965" y="562266"/>
                    </a:cubicBezTo>
                    <a:lnTo>
                      <a:pt x="211907" y="562266"/>
                    </a:lnTo>
                    <a:cubicBezTo>
                      <a:pt x="236591" y="562266"/>
                      <a:pt x="255790" y="543067"/>
                      <a:pt x="255790" y="518382"/>
                    </a:cubicBezTo>
                    <a:lnTo>
                      <a:pt x="255790" y="493697"/>
                    </a:lnTo>
                    <a:cubicBezTo>
                      <a:pt x="266762" y="488211"/>
                      <a:pt x="274990" y="477240"/>
                      <a:pt x="274990" y="463527"/>
                    </a:cubicBezTo>
                    <a:lnTo>
                      <a:pt x="274990" y="449813"/>
                    </a:lnTo>
                    <a:lnTo>
                      <a:pt x="362759" y="315418"/>
                    </a:lnTo>
                    <a:cubicBezTo>
                      <a:pt x="387443" y="282504"/>
                      <a:pt x="398415" y="241363"/>
                      <a:pt x="398415" y="200221"/>
                    </a:cubicBezTo>
                    <a:cubicBezTo>
                      <a:pt x="398415" y="90511"/>
                      <a:pt x="307904" y="0"/>
                      <a:pt x="198193" y="0"/>
                    </a:cubicBezTo>
                    <a:cubicBezTo>
                      <a:pt x="148823" y="0"/>
                      <a:pt x="99452" y="19199"/>
                      <a:pt x="63797" y="52112"/>
                    </a:cubicBezTo>
                    <a:cubicBezTo>
                      <a:pt x="28141" y="85025"/>
                      <a:pt x="3455" y="131652"/>
                      <a:pt x="713" y="181022"/>
                    </a:cubicBezTo>
                    <a:cubicBezTo>
                      <a:pt x="-2029" y="191993"/>
                      <a:pt x="3455" y="197479"/>
                      <a:pt x="11685" y="200221"/>
                    </a:cubicBezTo>
                    <a:lnTo>
                      <a:pt x="11685" y="200221"/>
                    </a:lnTo>
                    <a:close/>
                    <a:moveTo>
                      <a:pt x="250304" y="279762"/>
                    </a:moveTo>
                    <a:cubicBezTo>
                      <a:pt x="250304" y="271533"/>
                      <a:pt x="255790" y="266048"/>
                      <a:pt x="264018" y="266048"/>
                    </a:cubicBezTo>
                    <a:cubicBezTo>
                      <a:pt x="272248" y="266048"/>
                      <a:pt x="277732" y="271533"/>
                      <a:pt x="277732" y="279762"/>
                    </a:cubicBezTo>
                    <a:lnTo>
                      <a:pt x="277732" y="282504"/>
                    </a:lnTo>
                    <a:cubicBezTo>
                      <a:pt x="277732" y="290733"/>
                      <a:pt x="272248" y="296218"/>
                      <a:pt x="264018" y="296218"/>
                    </a:cubicBezTo>
                    <a:lnTo>
                      <a:pt x="247562" y="296218"/>
                    </a:lnTo>
                    <a:lnTo>
                      <a:pt x="250304" y="279762"/>
                    </a:lnTo>
                    <a:close/>
                    <a:moveTo>
                      <a:pt x="129624" y="293475"/>
                    </a:moveTo>
                    <a:cubicBezTo>
                      <a:pt x="121396" y="293475"/>
                      <a:pt x="115910" y="287990"/>
                      <a:pt x="115910" y="279762"/>
                    </a:cubicBezTo>
                    <a:lnTo>
                      <a:pt x="115910" y="277019"/>
                    </a:lnTo>
                    <a:cubicBezTo>
                      <a:pt x="115910" y="268790"/>
                      <a:pt x="121396" y="263305"/>
                      <a:pt x="129624" y="263305"/>
                    </a:cubicBezTo>
                    <a:cubicBezTo>
                      <a:pt x="137852" y="263305"/>
                      <a:pt x="143338" y="268790"/>
                      <a:pt x="143338" y="277019"/>
                    </a:cubicBezTo>
                    <a:lnTo>
                      <a:pt x="143338" y="293475"/>
                    </a:lnTo>
                    <a:lnTo>
                      <a:pt x="129624" y="293475"/>
                    </a:lnTo>
                    <a:close/>
                    <a:moveTo>
                      <a:pt x="220135" y="323646"/>
                    </a:moveTo>
                    <a:lnTo>
                      <a:pt x="211907" y="474498"/>
                    </a:lnTo>
                    <a:lnTo>
                      <a:pt x="184479" y="474498"/>
                    </a:lnTo>
                    <a:lnTo>
                      <a:pt x="176251" y="323646"/>
                    </a:lnTo>
                    <a:lnTo>
                      <a:pt x="220135" y="323646"/>
                    </a:lnTo>
                    <a:close/>
                    <a:moveTo>
                      <a:pt x="225621" y="521125"/>
                    </a:moveTo>
                    <a:cubicBezTo>
                      <a:pt x="225621" y="529353"/>
                      <a:pt x="217393" y="537581"/>
                      <a:pt x="209163" y="537581"/>
                    </a:cubicBezTo>
                    <a:lnTo>
                      <a:pt x="187221" y="537581"/>
                    </a:lnTo>
                    <a:cubicBezTo>
                      <a:pt x="178993" y="537581"/>
                      <a:pt x="170765" y="529353"/>
                      <a:pt x="170765" y="521125"/>
                    </a:cubicBezTo>
                    <a:lnTo>
                      <a:pt x="170765" y="499183"/>
                    </a:lnTo>
                    <a:lnTo>
                      <a:pt x="225621" y="499183"/>
                    </a:lnTo>
                    <a:lnTo>
                      <a:pt x="225621" y="521125"/>
                    </a:lnTo>
                    <a:lnTo>
                      <a:pt x="225621" y="521125"/>
                    </a:lnTo>
                    <a:close/>
                  </a:path>
                </a:pathLst>
              </a:custGeom>
              <a:grpFill/>
              <a:ln w="27426" cap="flat">
                <a:noFill/>
                <a:prstDash val="solid"/>
                <a:miter/>
              </a:ln>
            </p:spPr>
            <p:txBody>
              <a:bodyPr rtlCol="0" anchor="ctr"/>
              <a:lstStyle/>
              <a:p>
                <a:pPr algn="l" rtl="0"/>
                <a:endParaRPr lang="en-US"/>
              </a:p>
            </p:txBody>
          </p:sp>
          <p:sp>
            <p:nvSpPr>
              <p:cNvPr id="21" name="Freeform 20">
                <a:extLst>
                  <a:ext uri="{FF2B5EF4-FFF2-40B4-BE49-F238E27FC236}">
                    <a16:creationId xmlns:a16="http://schemas.microsoft.com/office/drawing/2014/main" id="{2CC77303-8155-19AF-5218-4CD076866EF8}"/>
                  </a:ext>
                </a:extLst>
              </p:cNvPr>
              <p:cNvSpPr/>
              <p:nvPr/>
            </p:nvSpPr>
            <p:spPr>
              <a:xfrm>
                <a:off x="3471045" y="3739238"/>
                <a:ext cx="57598" cy="53483"/>
              </a:xfrm>
              <a:custGeom>
                <a:avLst/>
                <a:gdLst>
                  <a:gd name="connsiteX0" fmla="*/ 15084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4 w 57598"/>
                  <a:gd name="connsiteY4" fmla="*/ 4114 h 53483"/>
                  <a:gd name="connsiteX5" fmla="*/ 4114 w 57598"/>
                  <a:gd name="connsiteY5" fmla="*/ 31542 h 53483"/>
                  <a:gd name="connsiteX6" fmla="*/ 4114 w 57598"/>
                  <a:gd name="connsiteY6" fmla="*/ 50741 h 53483"/>
                  <a:gd name="connsiteX7" fmla="*/ 15084 w 57598"/>
                  <a:gd name="connsiteY7" fmla="*/ 53484 h 53483"/>
                  <a:gd name="connsiteX8" fmla="*/ 15084 w 57598"/>
                  <a:gd name="connsiteY8"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3483">
                    <a:moveTo>
                      <a:pt x="15084" y="53484"/>
                    </a:moveTo>
                    <a:cubicBezTo>
                      <a:pt x="17828" y="53484"/>
                      <a:pt x="20570" y="53484"/>
                      <a:pt x="23314" y="50741"/>
                    </a:cubicBezTo>
                    <a:lnTo>
                      <a:pt x="53484" y="23313"/>
                    </a:lnTo>
                    <a:cubicBezTo>
                      <a:pt x="58970" y="17828"/>
                      <a:pt x="58970" y="9600"/>
                      <a:pt x="53484" y="4114"/>
                    </a:cubicBezTo>
                    <a:cubicBezTo>
                      <a:pt x="47998" y="-1371"/>
                      <a:pt x="39770" y="-1371"/>
                      <a:pt x="34284" y="4114"/>
                    </a:cubicBezTo>
                    <a:lnTo>
                      <a:pt x="4114" y="31542"/>
                    </a:lnTo>
                    <a:cubicBezTo>
                      <a:pt x="-1371" y="37027"/>
                      <a:pt x="-1371" y="45256"/>
                      <a:pt x="4114" y="50741"/>
                    </a:cubicBezTo>
                    <a:cubicBezTo>
                      <a:pt x="6857" y="50741"/>
                      <a:pt x="9600" y="53484"/>
                      <a:pt x="15084" y="53484"/>
                    </a:cubicBezTo>
                    <a:lnTo>
                      <a:pt x="15084" y="53484"/>
                    </a:lnTo>
                    <a:close/>
                  </a:path>
                </a:pathLst>
              </a:custGeom>
              <a:grpFill/>
              <a:ln w="27426" cap="flat">
                <a:noFill/>
                <a:prstDash val="solid"/>
                <a:miter/>
              </a:ln>
            </p:spPr>
            <p:txBody>
              <a:bodyPr rtlCol="0" anchor="ctr"/>
              <a:lstStyle/>
              <a:p>
                <a:pPr algn="l" rtl="0"/>
                <a:endParaRPr lang="en-US"/>
              </a:p>
            </p:txBody>
          </p:sp>
          <p:sp>
            <p:nvSpPr>
              <p:cNvPr id="22" name="Freeform 21">
                <a:extLst>
                  <a:ext uri="{FF2B5EF4-FFF2-40B4-BE49-F238E27FC236}">
                    <a16:creationId xmlns:a16="http://schemas.microsoft.com/office/drawing/2014/main" id="{23753D00-5896-D98A-A96E-A2449B2F74BB}"/>
                  </a:ext>
                </a:extLst>
              </p:cNvPr>
              <p:cNvSpPr/>
              <p:nvPr/>
            </p:nvSpPr>
            <p:spPr>
              <a:xfrm>
                <a:off x="3471045" y="3851691"/>
                <a:ext cx="57598" cy="56226"/>
              </a:xfrm>
              <a:custGeom>
                <a:avLst/>
                <a:gdLst>
                  <a:gd name="connsiteX0" fmla="*/ 4114 w 57598"/>
                  <a:gd name="connsiteY0" fmla="*/ 26056 h 56226"/>
                  <a:gd name="connsiteX1" fmla="*/ 34284 w 57598"/>
                  <a:gd name="connsiteY1" fmla="*/ 53484 h 56226"/>
                  <a:gd name="connsiteX2" fmla="*/ 42512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 name="connsiteX8" fmla="*/ 4114 w 57598"/>
                  <a:gd name="connsiteY8"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6226">
                    <a:moveTo>
                      <a:pt x="4114" y="26056"/>
                    </a:moveTo>
                    <a:lnTo>
                      <a:pt x="34284" y="53484"/>
                    </a:lnTo>
                    <a:cubicBezTo>
                      <a:pt x="37028" y="56227"/>
                      <a:pt x="39770" y="56227"/>
                      <a:pt x="42512" y="56227"/>
                    </a:cubicBezTo>
                    <a:cubicBezTo>
                      <a:pt x="45256" y="56227"/>
                      <a:pt x="50742" y="53484"/>
                      <a:pt x="53484" y="50741"/>
                    </a:cubicBezTo>
                    <a:cubicBezTo>
                      <a:pt x="58970" y="45256"/>
                      <a:pt x="58970" y="37028"/>
                      <a:pt x="53484" y="31542"/>
                    </a:cubicBezTo>
                    <a:lnTo>
                      <a:pt x="23314" y="4114"/>
                    </a:lnTo>
                    <a:cubicBezTo>
                      <a:pt x="17828" y="-1371"/>
                      <a:pt x="9600" y="-1371"/>
                      <a:pt x="4114" y="4114"/>
                    </a:cubicBezTo>
                    <a:cubicBezTo>
                      <a:pt x="-1371" y="12342"/>
                      <a:pt x="-1371" y="20571"/>
                      <a:pt x="4114" y="26056"/>
                    </a:cubicBezTo>
                    <a:lnTo>
                      <a:pt x="4114" y="26056"/>
                    </a:lnTo>
                    <a:close/>
                  </a:path>
                </a:pathLst>
              </a:custGeom>
              <a:grpFill/>
              <a:ln w="27426" cap="flat">
                <a:noFill/>
                <a:prstDash val="solid"/>
                <a:miter/>
              </a:ln>
            </p:spPr>
            <p:txBody>
              <a:bodyPr rtlCol="0" anchor="ctr"/>
              <a:lstStyle/>
              <a:p>
                <a:pPr algn="l" rtl="0"/>
                <a:endParaRPr lang="en-US"/>
              </a:p>
            </p:txBody>
          </p:sp>
          <p:sp>
            <p:nvSpPr>
              <p:cNvPr id="23" name="Freeform 22">
                <a:extLst>
                  <a:ext uri="{FF2B5EF4-FFF2-40B4-BE49-F238E27FC236}">
                    <a16:creationId xmlns:a16="http://schemas.microsoft.com/office/drawing/2014/main" id="{32782DD9-EE1A-6C19-DAAE-0D3AA5586276}"/>
                  </a:ext>
                </a:extLst>
              </p:cNvPr>
              <p:cNvSpPr/>
              <p:nvPr/>
            </p:nvSpPr>
            <p:spPr>
              <a:xfrm>
                <a:off x="2952661" y="3736495"/>
                <a:ext cx="57598" cy="56226"/>
              </a:xfrm>
              <a:custGeom>
                <a:avLst/>
                <a:gdLst>
                  <a:gd name="connsiteX0" fmla="*/ 4114 w 57598"/>
                  <a:gd name="connsiteY0" fmla="*/ 26056 h 56226"/>
                  <a:gd name="connsiteX1" fmla="*/ 34286 w 57598"/>
                  <a:gd name="connsiteY1" fmla="*/ 53484 h 56226"/>
                  <a:gd name="connsiteX2" fmla="*/ 42514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6226">
                    <a:moveTo>
                      <a:pt x="4114" y="26056"/>
                    </a:moveTo>
                    <a:lnTo>
                      <a:pt x="34286" y="53484"/>
                    </a:lnTo>
                    <a:cubicBezTo>
                      <a:pt x="37028" y="56227"/>
                      <a:pt x="39770" y="56227"/>
                      <a:pt x="42514" y="56227"/>
                    </a:cubicBezTo>
                    <a:cubicBezTo>
                      <a:pt x="45256" y="56227"/>
                      <a:pt x="50742" y="53484"/>
                      <a:pt x="53484" y="50741"/>
                    </a:cubicBezTo>
                    <a:cubicBezTo>
                      <a:pt x="58970" y="45256"/>
                      <a:pt x="58970" y="37027"/>
                      <a:pt x="53484" y="31542"/>
                    </a:cubicBezTo>
                    <a:lnTo>
                      <a:pt x="23314" y="4114"/>
                    </a:lnTo>
                    <a:cubicBezTo>
                      <a:pt x="17828" y="-1371"/>
                      <a:pt x="9600" y="-1371"/>
                      <a:pt x="4114" y="4114"/>
                    </a:cubicBezTo>
                    <a:cubicBezTo>
                      <a:pt x="-1371" y="12342"/>
                      <a:pt x="-1371" y="20571"/>
                      <a:pt x="4114" y="26056"/>
                    </a:cubicBezTo>
                    <a:close/>
                  </a:path>
                </a:pathLst>
              </a:custGeom>
              <a:grpFill/>
              <a:ln w="27426" cap="flat">
                <a:noFill/>
                <a:prstDash val="solid"/>
                <a:miter/>
              </a:ln>
            </p:spPr>
            <p:txBody>
              <a:bodyPr rtlCol="0" anchor="ctr"/>
              <a:lstStyle/>
              <a:p>
                <a:pPr algn="l" rtl="0"/>
                <a:endParaRPr lang="en-US"/>
              </a:p>
            </p:txBody>
          </p:sp>
          <p:sp>
            <p:nvSpPr>
              <p:cNvPr id="24" name="Freeform 23">
                <a:extLst>
                  <a:ext uri="{FF2B5EF4-FFF2-40B4-BE49-F238E27FC236}">
                    <a16:creationId xmlns:a16="http://schemas.microsoft.com/office/drawing/2014/main" id="{6EBCA6FE-2D6C-F6C2-B556-41F225F45A11}"/>
                  </a:ext>
                </a:extLst>
              </p:cNvPr>
              <p:cNvSpPr/>
              <p:nvPr/>
            </p:nvSpPr>
            <p:spPr>
              <a:xfrm>
                <a:off x="2952661" y="3854434"/>
                <a:ext cx="57598" cy="53483"/>
              </a:xfrm>
              <a:custGeom>
                <a:avLst/>
                <a:gdLst>
                  <a:gd name="connsiteX0" fmla="*/ 15086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6 w 57598"/>
                  <a:gd name="connsiteY4" fmla="*/ 4114 h 53483"/>
                  <a:gd name="connsiteX5" fmla="*/ 4114 w 57598"/>
                  <a:gd name="connsiteY5" fmla="*/ 31542 h 53483"/>
                  <a:gd name="connsiteX6" fmla="*/ 4114 w 57598"/>
                  <a:gd name="connsiteY6" fmla="*/ 50741 h 53483"/>
                  <a:gd name="connsiteX7" fmla="*/ 15086 w 57598"/>
                  <a:gd name="connsiteY7"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3483">
                    <a:moveTo>
                      <a:pt x="15086" y="53484"/>
                    </a:moveTo>
                    <a:cubicBezTo>
                      <a:pt x="17828" y="53484"/>
                      <a:pt x="20572" y="53484"/>
                      <a:pt x="23314" y="50741"/>
                    </a:cubicBezTo>
                    <a:lnTo>
                      <a:pt x="53484" y="23313"/>
                    </a:lnTo>
                    <a:cubicBezTo>
                      <a:pt x="58970" y="17828"/>
                      <a:pt x="58970" y="9600"/>
                      <a:pt x="53484" y="4114"/>
                    </a:cubicBezTo>
                    <a:cubicBezTo>
                      <a:pt x="48000" y="-1371"/>
                      <a:pt x="39770" y="-1371"/>
                      <a:pt x="34286" y="4114"/>
                    </a:cubicBezTo>
                    <a:lnTo>
                      <a:pt x="4114" y="31542"/>
                    </a:lnTo>
                    <a:cubicBezTo>
                      <a:pt x="-1371" y="37027"/>
                      <a:pt x="-1371" y="45256"/>
                      <a:pt x="4114" y="50741"/>
                    </a:cubicBezTo>
                    <a:cubicBezTo>
                      <a:pt x="6858" y="50741"/>
                      <a:pt x="9600" y="53484"/>
                      <a:pt x="15086" y="53484"/>
                    </a:cubicBezTo>
                    <a:close/>
                  </a:path>
                </a:pathLst>
              </a:custGeom>
              <a:grpFill/>
              <a:ln w="27426" cap="flat">
                <a:noFill/>
                <a:prstDash val="solid"/>
                <a:miter/>
              </a:ln>
            </p:spPr>
            <p:txBody>
              <a:bodyPr rtlCol="0" anchor="ctr"/>
              <a:lstStyle/>
              <a:p>
                <a:pPr algn="l" rtl="0"/>
                <a:endParaRPr lang="en-US"/>
              </a:p>
            </p:txBody>
          </p:sp>
          <p:sp>
            <p:nvSpPr>
              <p:cNvPr id="25" name="Freeform 24">
                <a:extLst>
                  <a:ext uri="{FF2B5EF4-FFF2-40B4-BE49-F238E27FC236}">
                    <a16:creationId xmlns:a16="http://schemas.microsoft.com/office/drawing/2014/main" id="{680E9832-D2B3-3EF3-DA57-A14DD0D1B258}"/>
                  </a:ext>
                </a:extLst>
              </p:cNvPr>
              <p:cNvSpPr/>
              <p:nvPr/>
            </p:nvSpPr>
            <p:spPr>
              <a:xfrm>
                <a:off x="2954034"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pPr algn="l" rtl="0"/>
                <a:endParaRPr lang="en-US"/>
              </a:p>
            </p:txBody>
          </p:sp>
          <p:sp>
            <p:nvSpPr>
              <p:cNvPr id="26" name="Freeform 25">
                <a:extLst>
                  <a:ext uri="{FF2B5EF4-FFF2-40B4-BE49-F238E27FC236}">
                    <a16:creationId xmlns:a16="http://schemas.microsoft.com/office/drawing/2014/main" id="{BCC387CD-412C-68FC-FCB7-40151019CD36}"/>
                  </a:ext>
                </a:extLst>
              </p:cNvPr>
              <p:cNvSpPr/>
              <p:nvPr/>
            </p:nvSpPr>
            <p:spPr>
              <a:xfrm>
                <a:off x="2978717" y="4226078"/>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pPr algn="l" rtl="0"/>
                <a:endParaRPr lang="en-US"/>
              </a:p>
            </p:txBody>
          </p:sp>
          <p:sp>
            <p:nvSpPr>
              <p:cNvPr id="28" name="Freeform 27">
                <a:extLst>
                  <a:ext uri="{FF2B5EF4-FFF2-40B4-BE49-F238E27FC236}">
                    <a16:creationId xmlns:a16="http://schemas.microsoft.com/office/drawing/2014/main" id="{46607950-3213-91FE-E065-0156E994668A}"/>
                  </a:ext>
                </a:extLst>
              </p:cNvPr>
              <p:cNvSpPr/>
              <p:nvPr/>
            </p:nvSpPr>
            <p:spPr>
              <a:xfrm>
                <a:off x="2978717" y="4294647"/>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pPr algn="l" rtl="0"/>
                <a:endParaRPr lang="en-US"/>
              </a:p>
            </p:txBody>
          </p:sp>
          <p:sp>
            <p:nvSpPr>
              <p:cNvPr id="30" name="Freeform 29">
                <a:extLst>
                  <a:ext uri="{FF2B5EF4-FFF2-40B4-BE49-F238E27FC236}">
                    <a16:creationId xmlns:a16="http://schemas.microsoft.com/office/drawing/2014/main" id="{EC4D17C4-763F-A078-9CD1-1FDEBD2A1F80}"/>
                  </a:ext>
                </a:extLst>
              </p:cNvPr>
              <p:cNvSpPr/>
              <p:nvPr/>
            </p:nvSpPr>
            <p:spPr>
              <a:xfrm>
                <a:off x="2978717" y="4363216"/>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pPr algn="l" rtl="0"/>
                <a:endParaRPr lang="en-US"/>
              </a:p>
            </p:txBody>
          </p:sp>
          <p:sp>
            <p:nvSpPr>
              <p:cNvPr id="32" name="Freeform 31">
                <a:extLst>
                  <a:ext uri="{FF2B5EF4-FFF2-40B4-BE49-F238E27FC236}">
                    <a16:creationId xmlns:a16="http://schemas.microsoft.com/office/drawing/2014/main" id="{5B681F83-37A4-4A77-D113-2EAB67FB7276}"/>
                  </a:ext>
                </a:extLst>
              </p:cNvPr>
              <p:cNvSpPr/>
              <p:nvPr/>
            </p:nvSpPr>
            <p:spPr>
              <a:xfrm>
                <a:off x="3365449"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pPr algn="l" rtl="0"/>
                <a:endParaRPr lang="en-US"/>
              </a:p>
            </p:txBody>
          </p:sp>
          <p:sp>
            <p:nvSpPr>
              <p:cNvPr id="33" name="Freeform 32">
                <a:extLst>
                  <a:ext uri="{FF2B5EF4-FFF2-40B4-BE49-F238E27FC236}">
                    <a16:creationId xmlns:a16="http://schemas.microsoft.com/office/drawing/2014/main" id="{8391A0D7-25C8-DACD-4B67-A11DA52678A3}"/>
                  </a:ext>
                </a:extLst>
              </p:cNvPr>
              <p:cNvSpPr/>
              <p:nvPr/>
            </p:nvSpPr>
            <p:spPr>
              <a:xfrm>
                <a:off x="3324307" y="4226078"/>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pPr algn="l" rtl="0"/>
                <a:endParaRPr lang="en-US"/>
              </a:p>
            </p:txBody>
          </p:sp>
          <p:sp>
            <p:nvSpPr>
              <p:cNvPr id="37" name="Freeform 36">
                <a:extLst>
                  <a:ext uri="{FF2B5EF4-FFF2-40B4-BE49-F238E27FC236}">
                    <a16:creationId xmlns:a16="http://schemas.microsoft.com/office/drawing/2014/main" id="{682AB2D3-030B-2015-110D-931194318DFC}"/>
                  </a:ext>
                </a:extLst>
              </p:cNvPr>
              <p:cNvSpPr/>
              <p:nvPr/>
            </p:nvSpPr>
            <p:spPr>
              <a:xfrm>
                <a:off x="3324307" y="4294647"/>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pPr algn="l" rtl="0"/>
                <a:endParaRPr lang="en-US"/>
              </a:p>
            </p:txBody>
          </p:sp>
          <p:sp>
            <p:nvSpPr>
              <p:cNvPr id="38" name="Freeform 37">
                <a:extLst>
                  <a:ext uri="{FF2B5EF4-FFF2-40B4-BE49-F238E27FC236}">
                    <a16:creationId xmlns:a16="http://schemas.microsoft.com/office/drawing/2014/main" id="{5FB98FBD-51E5-4156-0A59-79A91DBB77F9}"/>
                  </a:ext>
                </a:extLst>
              </p:cNvPr>
              <p:cNvSpPr/>
              <p:nvPr/>
            </p:nvSpPr>
            <p:spPr>
              <a:xfrm>
                <a:off x="3324307" y="4363216"/>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pPr algn="l" rtl="0"/>
                <a:endParaRPr lang="en-US"/>
              </a:p>
            </p:txBody>
          </p:sp>
        </p:grpSp>
      </p:grpSp>
      <p:grpSp>
        <p:nvGrpSpPr>
          <p:cNvPr id="39" name="Graphic 3">
            <a:extLst>
              <a:ext uri="{FF2B5EF4-FFF2-40B4-BE49-F238E27FC236}">
                <a16:creationId xmlns:a16="http://schemas.microsoft.com/office/drawing/2014/main" id="{C3E12000-07A8-FDA2-0014-631E6E2FDF02}"/>
              </a:ext>
            </a:extLst>
          </p:cNvPr>
          <p:cNvGrpSpPr/>
          <p:nvPr/>
        </p:nvGrpSpPr>
        <p:grpSpPr>
          <a:xfrm>
            <a:off x="5984107" y="5289275"/>
            <a:ext cx="730034" cy="730950"/>
            <a:chOff x="6601914" y="3685068"/>
            <a:chExt cx="1090935" cy="1092304"/>
          </a:xfrm>
          <a:solidFill>
            <a:srgbClr val="616161"/>
          </a:solidFill>
        </p:grpSpPr>
        <p:sp>
          <p:nvSpPr>
            <p:cNvPr id="40" name="Freeform 39">
              <a:extLst>
                <a:ext uri="{FF2B5EF4-FFF2-40B4-BE49-F238E27FC236}">
                  <a16:creationId xmlns:a16="http://schemas.microsoft.com/office/drawing/2014/main" id="{35314FFE-ED2D-ED85-DF53-7A05C4930D29}"/>
                </a:ext>
              </a:extLst>
            </p:cNvPr>
            <p:cNvSpPr/>
            <p:nvPr/>
          </p:nvSpPr>
          <p:spPr>
            <a:xfrm>
              <a:off x="7504284" y="3891461"/>
              <a:ext cx="49369" cy="469012"/>
            </a:xfrm>
            <a:custGeom>
              <a:avLst/>
              <a:gdLst>
                <a:gd name="connsiteX0" fmla="*/ -1 w 49369"/>
                <a:gd name="connsiteY0" fmla="*/ 0 h 469012"/>
                <a:gd name="connsiteX1" fmla="*/ 49369 w 49369"/>
                <a:gd name="connsiteY1" fmla="*/ 0 h 469012"/>
                <a:gd name="connsiteX2" fmla="*/ 49369 w 49369"/>
                <a:gd name="connsiteY2" fmla="*/ 469012 h 469012"/>
                <a:gd name="connsiteX3" fmla="*/ -1 w 49369"/>
                <a:gd name="connsiteY3" fmla="*/ 469012 h 469012"/>
              </a:gdLst>
              <a:ahLst/>
              <a:cxnLst>
                <a:cxn ang="0">
                  <a:pos x="connsiteX0" y="connsiteY0"/>
                </a:cxn>
                <a:cxn ang="0">
                  <a:pos x="connsiteX1" y="connsiteY1"/>
                </a:cxn>
                <a:cxn ang="0">
                  <a:pos x="connsiteX2" y="connsiteY2"/>
                </a:cxn>
                <a:cxn ang="0">
                  <a:pos x="connsiteX3" y="connsiteY3"/>
                </a:cxn>
              </a:cxnLst>
              <a:rect l="l" t="t" r="r" b="b"/>
              <a:pathLst>
                <a:path w="49369" h="469012">
                  <a:moveTo>
                    <a:pt x="-1" y="0"/>
                  </a:moveTo>
                  <a:lnTo>
                    <a:pt x="49369" y="0"/>
                  </a:lnTo>
                  <a:lnTo>
                    <a:pt x="49369" y="469012"/>
                  </a:lnTo>
                  <a:lnTo>
                    <a:pt x="-1" y="469012"/>
                  </a:lnTo>
                  <a:close/>
                </a:path>
              </a:pathLst>
            </a:custGeom>
            <a:solidFill>
              <a:srgbClr val="B41F7A"/>
            </a:solidFill>
            <a:ln w="27426" cap="flat">
              <a:noFill/>
              <a:prstDash val="solid"/>
              <a:miter/>
            </a:ln>
          </p:spPr>
          <p:txBody>
            <a:bodyPr rtlCol="0" anchor="ctr"/>
            <a:lstStyle/>
            <a:p>
              <a:pPr algn="l" rtl="0"/>
              <a:endParaRPr lang="en-US"/>
            </a:p>
          </p:txBody>
        </p:sp>
        <p:sp>
          <p:nvSpPr>
            <p:cNvPr id="41" name="Freeform 40">
              <a:extLst>
                <a:ext uri="{FF2B5EF4-FFF2-40B4-BE49-F238E27FC236}">
                  <a16:creationId xmlns:a16="http://schemas.microsoft.com/office/drawing/2014/main" id="{EAD858E3-2099-37E0-A3FA-27915737610C}"/>
                </a:ext>
              </a:extLst>
            </p:cNvPr>
            <p:cNvSpPr/>
            <p:nvPr/>
          </p:nvSpPr>
          <p:spPr>
            <a:xfrm>
              <a:off x="6708882" y="3822892"/>
              <a:ext cx="230392" cy="255076"/>
            </a:xfrm>
            <a:custGeom>
              <a:avLst/>
              <a:gdLst>
                <a:gd name="connsiteX0" fmla="*/ -1 w 230392"/>
                <a:gd name="connsiteY0" fmla="*/ 0 h 255076"/>
                <a:gd name="connsiteX1" fmla="*/ 230392 w 230392"/>
                <a:gd name="connsiteY1" fmla="*/ 0 h 255076"/>
                <a:gd name="connsiteX2" fmla="*/ 230392 w 230392"/>
                <a:gd name="connsiteY2" fmla="*/ 255077 h 255076"/>
                <a:gd name="connsiteX3" fmla="*/ -1 w 230392"/>
                <a:gd name="connsiteY3" fmla="*/ 255077 h 255076"/>
              </a:gdLst>
              <a:ahLst/>
              <a:cxnLst>
                <a:cxn ang="0">
                  <a:pos x="connsiteX0" y="connsiteY0"/>
                </a:cxn>
                <a:cxn ang="0">
                  <a:pos x="connsiteX1" y="connsiteY1"/>
                </a:cxn>
                <a:cxn ang="0">
                  <a:pos x="connsiteX2" y="connsiteY2"/>
                </a:cxn>
                <a:cxn ang="0">
                  <a:pos x="connsiteX3" y="connsiteY3"/>
                </a:cxn>
              </a:cxnLst>
              <a:rect l="l" t="t" r="r" b="b"/>
              <a:pathLst>
                <a:path w="230392" h="255076">
                  <a:moveTo>
                    <a:pt x="-1" y="0"/>
                  </a:moveTo>
                  <a:lnTo>
                    <a:pt x="230392" y="0"/>
                  </a:lnTo>
                  <a:lnTo>
                    <a:pt x="230392" y="255077"/>
                  </a:lnTo>
                  <a:lnTo>
                    <a:pt x="-1" y="255077"/>
                  </a:lnTo>
                  <a:close/>
                </a:path>
              </a:pathLst>
            </a:custGeom>
            <a:solidFill>
              <a:srgbClr val="B41F7A"/>
            </a:solidFill>
            <a:ln w="27426" cap="flat">
              <a:noFill/>
              <a:prstDash val="solid"/>
              <a:miter/>
            </a:ln>
          </p:spPr>
          <p:txBody>
            <a:bodyPr rtlCol="0" anchor="ctr"/>
            <a:lstStyle/>
            <a:p>
              <a:pPr algn="l" rtl="0"/>
              <a:endParaRPr lang="en-US"/>
            </a:p>
          </p:txBody>
        </p:sp>
        <p:grpSp>
          <p:nvGrpSpPr>
            <p:cNvPr id="42" name="Graphic 3">
              <a:extLst>
                <a:ext uri="{FF2B5EF4-FFF2-40B4-BE49-F238E27FC236}">
                  <a16:creationId xmlns:a16="http://schemas.microsoft.com/office/drawing/2014/main" id="{465E6BAA-E7A4-24F9-22A6-C2819A891D53}"/>
                </a:ext>
              </a:extLst>
            </p:cNvPr>
            <p:cNvGrpSpPr/>
            <p:nvPr/>
          </p:nvGrpSpPr>
          <p:grpSpPr>
            <a:xfrm>
              <a:off x="6601914" y="3685068"/>
              <a:ext cx="1090935" cy="1092304"/>
              <a:chOff x="6601914" y="3685068"/>
              <a:chExt cx="1090935" cy="1092304"/>
            </a:xfrm>
            <a:grpFill/>
          </p:grpSpPr>
          <p:sp>
            <p:nvSpPr>
              <p:cNvPr id="43" name="Freeform 42">
                <a:extLst>
                  <a:ext uri="{FF2B5EF4-FFF2-40B4-BE49-F238E27FC236}">
                    <a16:creationId xmlns:a16="http://schemas.microsoft.com/office/drawing/2014/main" id="{031E6EF9-01C1-15B8-51B2-E63C7AD55D22}"/>
                  </a:ext>
                </a:extLst>
              </p:cNvPr>
              <p:cNvSpPr/>
              <p:nvPr/>
            </p:nvSpPr>
            <p:spPr>
              <a:xfrm>
                <a:off x="7136754" y="4173965"/>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pPr algn="l" rtl="0"/>
                <a:endParaRPr lang="en-US"/>
              </a:p>
            </p:txBody>
          </p:sp>
          <p:sp>
            <p:nvSpPr>
              <p:cNvPr id="195" name="Freeform 194">
                <a:extLst>
                  <a:ext uri="{FF2B5EF4-FFF2-40B4-BE49-F238E27FC236}">
                    <a16:creationId xmlns:a16="http://schemas.microsoft.com/office/drawing/2014/main" id="{38EB0DDF-C6CF-3E4E-D27B-A9EB5950475E}"/>
                  </a:ext>
                </a:extLst>
              </p:cNvPr>
              <p:cNvSpPr/>
              <p:nvPr/>
            </p:nvSpPr>
            <p:spPr>
              <a:xfrm>
                <a:off x="7136754" y="4126625"/>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6" y="22656"/>
                      <a:pt x="0" y="17170"/>
                      <a:pt x="0" y="11684"/>
                    </a:cubicBezTo>
                    <a:cubicBezTo>
                      <a:pt x="0" y="6199"/>
                      <a:pt x="5486" y="714"/>
                      <a:pt x="10970" y="714"/>
                    </a:cubicBezTo>
                    <a:cubicBezTo>
                      <a:pt x="19200" y="-2029"/>
                      <a:pt x="21942" y="3456"/>
                      <a:pt x="21942" y="11684"/>
                    </a:cubicBezTo>
                    <a:lnTo>
                      <a:pt x="21942" y="11684"/>
                    </a:lnTo>
                    <a:close/>
                  </a:path>
                </a:pathLst>
              </a:custGeom>
              <a:grpFill/>
              <a:ln w="27426" cap="flat">
                <a:noFill/>
                <a:prstDash val="solid"/>
                <a:miter/>
              </a:ln>
            </p:spPr>
            <p:txBody>
              <a:bodyPr rtlCol="0" anchor="ctr"/>
              <a:lstStyle/>
              <a:p>
                <a:pPr algn="l" rtl="0"/>
                <a:endParaRPr lang="en-US"/>
              </a:p>
            </p:txBody>
          </p:sp>
          <p:grpSp>
            <p:nvGrpSpPr>
              <p:cNvPr id="196" name="Graphic 3">
                <a:extLst>
                  <a:ext uri="{FF2B5EF4-FFF2-40B4-BE49-F238E27FC236}">
                    <a16:creationId xmlns:a16="http://schemas.microsoft.com/office/drawing/2014/main" id="{EFADF559-611C-4A8C-DC1A-20C332D38ED2}"/>
                  </a:ext>
                </a:extLst>
              </p:cNvPr>
              <p:cNvGrpSpPr/>
              <p:nvPr/>
            </p:nvGrpSpPr>
            <p:grpSpPr>
              <a:xfrm>
                <a:off x="6601914" y="3685068"/>
                <a:ext cx="1090935" cy="1092304"/>
                <a:chOff x="6601914" y="3685068"/>
                <a:chExt cx="1090935" cy="1092304"/>
              </a:xfrm>
              <a:grpFill/>
            </p:grpSpPr>
            <p:sp>
              <p:nvSpPr>
                <p:cNvPr id="218" name="Freeform 217">
                  <a:extLst>
                    <a:ext uri="{FF2B5EF4-FFF2-40B4-BE49-F238E27FC236}">
                      <a16:creationId xmlns:a16="http://schemas.microsoft.com/office/drawing/2014/main" id="{ED6DF034-67EB-5C5E-AAD1-F4FBCE4E9109}"/>
                    </a:ext>
                  </a:extLst>
                </p:cNvPr>
                <p:cNvSpPr/>
                <p:nvPr/>
              </p:nvSpPr>
              <p:spPr>
                <a:xfrm>
                  <a:off x="7136754" y="4077969"/>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pPr algn="l" rtl="0"/>
                  <a:endParaRPr lang="en-US"/>
                </a:p>
              </p:txBody>
            </p:sp>
            <p:sp>
              <p:nvSpPr>
                <p:cNvPr id="219" name="Freeform 218">
                  <a:extLst>
                    <a:ext uri="{FF2B5EF4-FFF2-40B4-BE49-F238E27FC236}">
                      <a16:creationId xmlns:a16="http://schemas.microsoft.com/office/drawing/2014/main" id="{13F5F331-26C1-B05C-E48A-2DAEF65F7C9C}"/>
                    </a:ext>
                  </a:extLst>
                </p:cNvPr>
                <p:cNvSpPr/>
                <p:nvPr/>
              </p:nvSpPr>
              <p:spPr>
                <a:xfrm>
                  <a:off x="6601914" y="3685068"/>
                  <a:ext cx="1090935" cy="1092304"/>
                </a:xfrm>
                <a:custGeom>
                  <a:avLst/>
                  <a:gdLst>
                    <a:gd name="connsiteX0" fmla="*/ 1088879 w 1090935"/>
                    <a:gd name="connsiteY0" fmla="*/ 102168 h 1092304"/>
                    <a:gd name="connsiteX1" fmla="*/ 1028538 w 1090935"/>
                    <a:gd name="connsiteY1" fmla="*/ 6171 h 1092304"/>
                    <a:gd name="connsiteX2" fmla="*/ 1009338 w 1090935"/>
                    <a:gd name="connsiteY2" fmla="*/ 6171 h 1092304"/>
                    <a:gd name="connsiteX3" fmla="*/ 948997 w 1090935"/>
                    <a:gd name="connsiteY3" fmla="*/ 102168 h 1092304"/>
                    <a:gd name="connsiteX4" fmla="*/ 946255 w 1090935"/>
                    <a:gd name="connsiteY4" fmla="*/ 107654 h 1092304"/>
                    <a:gd name="connsiteX5" fmla="*/ 946255 w 1090935"/>
                    <a:gd name="connsiteY5" fmla="*/ 332560 h 1092304"/>
                    <a:gd name="connsiteX6" fmla="*/ 614379 w 1090935"/>
                    <a:gd name="connsiteY6" fmla="*/ 332560 h 1092304"/>
                    <a:gd name="connsiteX7" fmla="*/ 655520 w 1090935"/>
                    <a:gd name="connsiteY7" fmla="*/ 272219 h 1092304"/>
                    <a:gd name="connsiteX8" fmla="*/ 671978 w 1090935"/>
                    <a:gd name="connsiteY8" fmla="*/ 272219 h 1092304"/>
                    <a:gd name="connsiteX9" fmla="*/ 682948 w 1090935"/>
                    <a:gd name="connsiteY9" fmla="*/ 266733 h 1092304"/>
                    <a:gd name="connsiteX10" fmla="*/ 682948 w 1090935"/>
                    <a:gd name="connsiteY10" fmla="*/ 255762 h 1092304"/>
                    <a:gd name="connsiteX11" fmla="*/ 661006 w 1090935"/>
                    <a:gd name="connsiteY11" fmla="*/ 198164 h 1092304"/>
                    <a:gd name="connsiteX12" fmla="*/ 661006 w 1090935"/>
                    <a:gd name="connsiteY12" fmla="*/ 187193 h 1092304"/>
                    <a:gd name="connsiteX13" fmla="*/ 696662 w 1090935"/>
                    <a:gd name="connsiteY13" fmla="*/ 140567 h 1092304"/>
                    <a:gd name="connsiteX14" fmla="*/ 696662 w 1090935"/>
                    <a:gd name="connsiteY14" fmla="*/ 115881 h 1092304"/>
                    <a:gd name="connsiteX15" fmla="*/ 685692 w 1090935"/>
                    <a:gd name="connsiteY15" fmla="*/ 104911 h 1092304"/>
                    <a:gd name="connsiteX16" fmla="*/ 482726 w 1090935"/>
                    <a:gd name="connsiteY16" fmla="*/ 104911 h 1092304"/>
                    <a:gd name="connsiteX17" fmla="*/ 422385 w 1090935"/>
                    <a:gd name="connsiteY17" fmla="*/ 165251 h 1092304"/>
                    <a:gd name="connsiteX18" fmla="*/ 422385 w 1090935"/>
                    <a:gd name="connsiteY18" fmla="*/ 231078 h 1092304"/>
                    <a:gd name="connsiteX19" fmla="*/ 471756 w 1090935"/>
                    <a:gd name="connsiteY19" fmla="*/ 329817 h 1092304"/>
                    <a:gd name="connsiteX20" fmla="*/ 397701 w 1090935"/>
                    <a:gd name="connsiteY20" fmla="*/ 329817 h 1092304"/>
                    <a:gd name="connsiteX21" fmla="*/ 400443 w 1090935"/>
                    <a:gd name="connsiteY21" fmla="*/ 318846 h 1092304"/>
                    <a:gd name="connsiteX22" fmla="*/ 400443 w 1090935"/>
                    <a:gd name="connsiteY22" fmla="*/ 11657 h 1092304"/>
                    <a:gd name="connsiteX23" fmla="*/ 389473 w 1090935"/>
                    <a:gd name="connsiteY23" fmla="*/ 686 h 1092304"/>
                    <a:gd name="connsiteX24" fmla="*/ 10970 w 1090935"/>
                    <a:gd name="connsiteY24" fmla="*/ 686 h 1092304"/>
                    <a:gd name="connsiteX25" fmla="*/ 0 w 1090935"/>
                    <a:gd name="connsiteY25" fmla="*/ 11657 h 1092304"/>
                    <a:gd name="connsiteX26" fmla="*/ 0 w 1090935"/>
                    <a:gd name="connsiteY26" fmla="*/ 318846 h 1092304"/>
                    <a:gd name="connsiteX27" fmla="*/ 35656 w 1090935"/>
                    <a:gd name="connsiteY27" fmla="*/ 354502 h 1092304"/>
                    <a:gd name="connsiteX28" fmla="*/ 117939 w 1090935"/>
                    <a:gd name="connsiteY28" fmla="*/ 354502 h 1092304"/>
                    <a:gd name="connsiteX29" fmla="*/ 117939 w 1090935"/>
                    <a:gd name="connsiteY29" fmla="*/ 379187 h 1092304"/>
                    <a:gd name="connsiteX30" fmla="*/ 178280 w 1090935"/>
                    <a:gd name="connsiteY30" fmla="*/ 439527 h 1092304"/>
                    <a:gd name="connsiteX31" fmla="*/ 414157 w 1090935"/>
                    <a:gd name="connsiteY31" fmla="*/ 439527 h 1092304"/>
                    <a:gd name="connsiteX32" fmla="*/ 414157 w 1090935"/>
                    <a:gd name="connsiteY32" fmla="*/ 664434 h 1092304"/>
                    <a:gd name="connsiteX33" fmla="*/ 320904 w 1090935"/>
                    <a:gd name="connsiteY33" fmla="*/ 999051 h 1092304"/>
                    <a:gd name="connsiteX34" fmla="*/ 246849 w 1090935"/>
                    <a:gd name="connsiteY34" fmla="*/ 1081334 h 1092304"/>
                    <a:gd name="connsiteX35" fmla="*/ 257819 w 1090935"/>
                    <a:gd name="connsiteY35" fmla="*/ 1092305 h 1092304"/>
                    <a:gd name="connsiteX36" fmla="*/ 471756 w 1090935"/>
                    <a:gd name="connsiteY36" fmla="*/ 1092305 h 1092304"/>
                    <a:gd name="connsiteX37" fmla="*/ 482726 w 1090935"/>
                    <a:gd name="connsiteY37" fmla="*/ 1081334 h 1092304"/>
                    <a:gd name="connsiteX38" fmla="*/ 482726 w 1090935"/>
                    <a:gd name="connsiteY38" fmla="*/ 1010022 h 1092304"/>
                    <a:gd name="connsiteX39" fmla="*/ 543068 w 1090935"/>
                    <a:gd name="connsiteY39" fmla="*/ 774144 h 1092304"/>
                    <a:gd name="connsiteX40" fmla="*/ 603409 w 1090935"/>
                    <a:gd name="connsiteY40" fmla="*/ 1010022 h 1092304"/>
                    <a:gd name="connsiteX41" fmla="*/ 603409 w 1090935"/>
                    <a:gd name="connsiteY41" fmla="*/ 1078591 h 1092304"/>
                    <a:gd name="connsiteX42" fmla="*/ 614379 w 1090935"/>
                    <a:gd name="connsiteY42" fmla="*/ 1089562 h 1092304"/>
                    <a:gd name="connsiteX43" fmla="*/ 828316 w 1090935"/>
                    <a:gd name="connsiteY43" fmla="*/ 1089562 h 1092304"/>
                    <a:gd name="connsiteX44" fmla="*/ 839286 w 1090935"/>
                    <a:gd name="connsiteY44" fmla="*/ 1078591 h 1092304"/>
                    <a:gd name="connsiteX45" fmla="*/ 757003 w 1090935"/>
                    <a:gd name="connsiteY45" fmla="*/ 996308 h 1092304"/>
                    <a:gd name="connsiteX46" fmla="*/ 754261 w 1090935"/>
                    <a:gd name="connsiteY46" fmla="*/ 996308 h 1092304"/>
                    <a:gd name="connsiteX47" fmla="*/ 674720 w 1090935"/>
                    <a:gd name="connsiteY47" fmla="*/ 661691 h 1092304"/>
                    <a:gd name="connsiteX48" fmla="*/ 674720 w 1090935"/>
                    <a:gd name="connsiteY48" fmla="*/ 436785 h 1092304"/>
                    <a:gd name="connsiteX49" fmla="*/ 910599 w 1090935"/>
                    <a:gd name="connsiteY49" fmla="*/ 436785 h 1092304"/>
                    <a:gd name="connsiteX50" fmla="*/ 946255 w 1090935"/>
                    <a:gd name="connsiteY50" fmla="*/ 425814 h 1092304"/>
                    <a:gd name="connsiteX51" fmla="*/ 946255 w 1090935"/>
                    <a:gd name="connsiteY51" fmla="*/ 521810 h 1092304"/>
                    <a:gd name="connsiteX52" fmla="*/ 957225 w 1090935"/>
                    <a:gd name="connsiteY52" fmla="*/ 532782 h 1092304"/>
                    <a:gd name="connsiteX53" fmla="*/ 968197 w 1090935"/>
                    <a:gd name="connsiteY53" fmla="*/ 521810 h 1092304"/>
                    <a:gd name="connsiteX54" fmla="*/ 968197 w 1090935"/>
                    <a:gd name="connsiteY54" fmla="*/ 118624 h 1092304"/>
                    <a:gd name="connsiteX55" fmla="*/ 1014824 w 1090935"/>
                    <a:gd name="connsiteY55" fmla="*/ 118624 h 1092304"/>
                    <a:gd name="connsiteX56" fmla="*/ 1014824 w 1090935"/>
                    <a:gd name="connsiteY56" fmla="*/ 250277 h 1092304"/>
                    <a:gd name="connsiteX57" fmla="*/ 1025794 w 1090935"/>
                    <a:gd name="connsiteY57" fmla="*/ 261248 h 1092304"/>
                    <a:gd name="connsiteX58" fmla="*/ 1036766 w 1090935"/>
                    <a:gd name="connsiteY58" fmla="*/ 250277 h 1092304"/>
                    <a:gd name="connsiteX59" fmla="*/ 1036766 w 1090935"/>
                    <a:gd name="connsiteY59" fmla="*/ 118624 h 1092304"/>
                    <a:gd name="connsiteX60" fmla="*/ 1061451 w 1090935"/>
                    <a:gd name="connsiteY60" fmla="*/ 118624 h 1092304"/>
                    <a:gd name="connsiteX61" fmla="*/ 1061451 w 1090935"/>
                    <a:gd name="connsiteY61" fmla="*/ 557466 h 1092304"/>
                    <a:gd name="connsiteX62" fmla="*/ 954483 w 1090935"/>
                    <a:gd name="connsiteY62" fmla="*/ 557466 h 1092304"/>
                    <a:gd name="connsiteX63" fmla="*/ 943511 w 1090935"/>
                    <a:gd name="connsiteY63" fmla="*/ 568437 h 1092304"/>
                    <a:gd name="connsiteX64" fmla="*/ 943511 w 1090935"/>
                    <a:gd name="connsiteY64" fmla="*/ 650720 h 1092304"/>
                    <a:gd name="connsiteX65" fmla="*/ 1003852 w 1090935"/>
                    <a:gd name="connsiteY65" fmla="*/ 711061 h 1092304"/>
                    <a:gd name="connsiteX66" fmla="*/ 1028538 w 1090935"/>
                    <a:gd name="connsiteY66" fmla="*/ 711061 h 1092304"/>
                    <a:gd name="connsiteX67" fmla="*/ 1088879 w 1090935"/>
                    <a:gd name="connsiteY67" fmla="*/ 650720 h 1092304"/>
                    <a:gd name="connsiteX68" fmla="*/ 1088879 w 1090935"/>
                    <a:gd name="connsiteY68" fmla="*/ 104911 h 1092304"/>
                    <a:gd name="connsiteX69" fmla="*/ 1088879 w 1090935"/>
                    <a:gd name="connsiteY69" fmla="*/ 102168 h 1092304"/>
                    <a:gd name="connsiteX70" fmla="*/ 1088879 w 1090935"/>
                    <a:gd name="connsiteY70" fmla="*/ 102168 h 1092304"/>
                    <a:gd name="connsiteX71" fmla="*/ 452557 w 1090935"/>
                    <a:gd name="connsiteY71" fmla="*/ 167994 h 1092304"/>
                    <a:gd name="connsiteX72" fmla="*/ 488212 w 1090935"/>
                    <a:gd name="connsiteY72" fmla="*/ 132338 h 1092304"/>
                    <a:gd name="connsiteX73" fmla="*/ 677464 w 1090935"/>
                    <a:gd name="connsiteY73" fmla="*/ 132338 h 1092304"/>
                    <a:gd name="connsiteX74" fmla="*/ 677464 w 1090935"/>
                    <a:gd name="connsiteY74" fmla="*/ 143309 h 1092304"/>
                    <a:gd name="connsiteX75" fmla="*/ 652778 w 1090935"/>
                    <a:gd name="connsiteY75" fmla="*/ 167994 h 1092304"/>
                    <a:gd name="connsiteX76" fmla="*/ 499184 w 1090935"/>
                    <a:gd name="connsiteY76" fmla="*/ 167994 h 1092304"/>
                    <a:gd name="connsiteX77" fmla="*/ 488212 w 1090935"/>
                    <a:gd name="connsiteY77" fmla="*/ 178965 h 1092304"/>
                    <a:gd name="connsiteX78" fmla="*/ 488212 w 1090935"/>
                    <a:gd name="connsiteY78" fmla="*/ 189936 h 1092304"/>
                    <a:gd name="connsiteX79" fmla="*/ 452557 w 1090935"/>
                    <a:gd name="connsiteY79" fmla="*/ 225592 h 1092304"/>
                    <a:gd name="connsiteX80" fmla="*/ 452557 w 1090935"/>
                    <a:gd name="connsiteY80" fmla="*/ 167994 h 1092304"/>
                    <a:gd name="connsiteX81" fmla="*/ 452557 w 1090935"/>
                    <a:gd name="connsiteY81" fmla="*/ 250277 h 1092304"/>
                    <a:gd name="connsiteX82" fmla="*/ 510154 w 1090935"/>
                    <a:gd name="connsiteY82" fmla="*/ 189936 h 1092304"/>
                    <a:gd name="connsiteX83" fmla="*/ 641807 w 1090935"/>
                    <a:gd name="connsiteY83" fmla="*/ 189936 h 1092304"/>
                    <a:gd name="connsiteX84" fmla="*/ 641807 w 1090935"/>
                    <a:gd name="connsiteY84" fmla="*/ 200907 h 1092304"/>
                    <a:gd name="connsiteX85" fmla="*/ 641807 w 1090935"/>
                    <a:gd name="connsiteY85" fmla="*/ 206393 h 1092304"/>
                    <a:gd name="connsiteX86" fmla="*/ 658264 w 1090935"/>
                    <a:gd name="connsiteY86" fmla="*/ 250277 h 1092304"/>
                    <a:gd name="connsiteX87" fmla="*/ 650036 w 1090935"/>
                    <a:gd name="connsiteY87" fmla="*/ 250277 h 1092304"/>
                    <a:gd name="connsiteX88" fmla="*/ 639064 w 1090935"/>
                    <a:gd name="connsiteY88" fmla="*/ 258505 h 1092304"/>
                    <a:gd name="connsiteX89" fmla="*/ 543068 w 1090935"/>
                    <a:gd name="connsiteY89" fmla="*/ 332560 h 1092304"/>
                    <a:gd name="connsiteX90" fmla="*/ 452557 w 1090935"/>
                    <a:gd name="connsiteY90" fmla="*/ 250277 h 1092304"/>
                    <a:gd name="connsiteX91" fmla="*/ 452557 w 1090935"/>
                    <a:gd name="connsiteY91" fmla="*/ 250277 h 1092304"/>
                    <a:gd name="connsiteX92" fmla="*/ 1020310 w 1090935"/>
                    <a:gd name="connsiteY92" fmla="*/ 36342 h 1092304"/>
                    <a:gd name="connsiteX93" fmla="*/ 1058708 w 1090935"/>
                    <a:gd name="connsiteY93" fmla="*/ 96682 h 1092304"/>
                    <a:gd name="connsiteX94" fmla="*/ 981910 w 1090935"/>
                    <a:gd name="connsiteY94" fmla="*/ 96682 h 1092304"/>
                    <a:gd name="connsiteX95" fmla="*/ 1020310 w 1090935"/>
                    <a:gd name="connsiteY95" fmla="*/ 36342 h 1092304"/>
                    <a:gd name="connsiteX96" fmla="*/ 381244 w 1090935"/>
                    <a:gd name="connsiteY96" fmla="*/ 285933 h 1092304"/>
                    <a:gd name="connsiteX97" fmla="*/ 213936 w 1090935"/>
                    <a:gd name="connsiteY97" fmla="*/ 285933 h 1092304"/>
                    <a:gd name="connsiteX98" fmla="*/ 213936 w 1090935"/>
                    <a:gd name="connsiteY98" fmla="*/ 25371 h 1092304"/>
                    <a:gd name="connsiteX99" fmla="*/ 381244 w 1090935"/>
                    <a:gd name="connsiteY99" fmla="*/ 25371 h 1092304"/>
                    <a:gd name="connsiteX100" fmla="*/ 381244 w 1090935"/>
                    <a:gd name="connsiteY100" fmla="*/ 285933 h 1092304"/>
                    <a:gd name="connsiteX101" fmla="*/ 24684 w 1090935"/>
                    <a:gd name="connsiteY101" fmla="*/ 321589 h 1092304"/>
                    <a:gd name="connsiteX102" fmla="*/ 24684 w 1090935"/>
                    <a:gd name="connsiteY102" fmla="*/ 25371 h 1092304"/>
                    <a:gd name="connsiteX103" fmla="*/ 191994 w 1090935"/>
                    <a:gd name="connsiteY103" fmla="*/ 25371 h 1092304"/>
                    <a:gd name="connsiteX104" fmla="*/ 191994 w 1090935"/>
                    <a:gd name="connsiteY104" fmla="*/ 285933 h 1092304"/>
                    <a:gd name="connsiteX105" fmla="*/ 60341 w 1090935"/>
                    <a:gd name="connsiteY105" fmla="*/ 285933 h 1092304"/>
                    <a:gd name="connsiteX106" fmla="*/ 49369 w 1090935"/>
                    <a:gd name="connsiteY106" fmla="*/ 296904 h 1092304"/>
                    <a:gd name="connsiteX107" fmla="*/ 60341 w 1090935"/>
                    <a:gd name="connsiteY107" fmla="*/ 307875 h 1092304"/>
                    <a:gd name="connsiteX108" fmla="*/ 381244 w 1090935"/>
                    <a:gd name="connsiteY108" fmla="*/ 307875 h 1092304"/>
                    <a:gd name="connsiteX109" fmla="*/ 381244 w 1090935"/>
                    <a:gd name="connsiteY109" fmla="*/ 318846 h 1092304"/>
                    <a:gd name="connsiteX110" fmla="*/ 370274 w 1090935"/>
                    <a:gd name="connsiteY110" fmla="*/ 329817 h 1092304"/>
                    <a:gd name="connsiteX111" fmla="*/ 35656 w 1090935"/>
                    <a:gd name="connsiteY111" fmla="*/ 329817 h 1092304"/>
                    <a:gd name="connsiteX112" fmla="*/ 24684 w 1090935"/>
                    <a:gd name="connsiteY112" fmla="*/ 321589 h 1092304"/>
                    <a:gd name="connsiteX113" fmla="*/ 24684 w 1090935"/>
                    <a:gd name="connsiteY113" fmla="*/ 321589 h 1092304"/>
                    <a:gd name="connsiteX114" fmla="*/ 142624 w 1090935"/>
                    <a:gd name="connsiteY114" fmla="*/ 381930 h 1092304"/>
                    <a:gd name="connsiteX115" fmla="*/ 142624 w 1090935"/>
                    <a:gd name="connsiteY115" fmla="*/ 357245 h 1092304"/>
                    <a:gd name="connsiteX116" fmla="*/ 178280 w 1090935"/>
                    <a:gd name="connsiteY116" fmla="*/ 357245 h 1092304"/>
                    <a:gd name="connsiteX117" fmla="*/ 178280 w 1090935"/>
                    <a:gd name="connsiteY117" fmla="*/ 417585 h 1092304"/>
                    <a:gd name="connsiteX118" fmla="*/ 142624 w 1090935"/>
                    <a:gd name="connsiteY118" fmla="*/ 381930 h 1092304"/>
                    <a:gd name="connsiteX119" fmla="*/ 142624 w 1090935"/>
                    <a:gd name="connsiteY119" fmla="*/ 381930 h 1092304"/>
                    <a:gd name="connsiteX120" fmla="*/ 463527 w 1090935"/>
                    <a:gd name="connsiteY120" fmla="*/ 1067620 h 1092304"/>
                    <a:gd name="connsiteX121" fmla="*/ 274277 w 1090935"/>
                    <a:gd name="connsiteY121" fmla="*/ 1067620 h 1092304"/>
                    <a:gd name="connsiteX122" fmla="*/ 331874 w 1090935"/>
                    <a:gd name="connsiteY122" fmla="*/ 1020993 h 1092304"/>
                    <a:gd name="connsiteX123" fmla="*/ 463527 w 1090935"/>
                    <a:gd name="connsiteY123" fmla="*/ 1020993 h 1092304"/>
                    <a:gd name="connsiteX124" fmla="*/ 463527 w 1090935"/>
                    <a:gd name="connsiteY124" fmla="*/ 1067620 h 1092304"/>
                    <a:gd name="connsiteX125" fmla="*/ 817344 w 1090935"/>
                    <a:gd name="connsiteY125" fmla="*/ 1067620 h 1092304"/>
                    <a:gd name="connsiteX126" fmla="*/ 628093 w 1090935"/>
                    <a:gd name="connsiteY126" fmla="*/ 1067620 h 1092304"/>
                    <a:gd name="connsiteX127" fmla="*/ 628093 w 1090935"/>
                    <a:gd name="connsiteY127" fmla="*/ 1020993 h 1092304"/>
                    <a:gd name="connsiteX128" fmla="*/ 759747 w 1090935"/>
                    <a:gd name="connsiteY128" fmla="*/ 1020993 h 1092304"/>
                    <a:gd name="connsiteX129" fmla="*/ 817344 w 1090935"/>
                    <a:gd name="connsiteY129" fmla="*/ 1067620 h 1092304"/>
                    <a:gd name="connsiteX130" fmla="*/ 817344 w 1090935"/>
                    <a:gd name="connsiteY130" fmla="*/ 1067620 h 1092304"/>
                    <a:gd name="connsiteX131" fmla="*/ 663750 w 1090935"/>
                    <a:gd name="connsiteY131" fmla="*/ 417585 h 1092304"/>
                    <a:gd name="connsiteX132" fmla="*/ 652778 w 1090935"/>
                    <a:gd name="connsiteY132" fmla="*/ 428557 h 1092304"/>
                    <a:gd name="connsiteX133" fmla="*/ 652778 w 1090935"/>
                    <a:gd name="connsiteY133" fmla="*/ 631521 h 1092304"/>
                    <a:gd name="connsiteX134" fmla="*/ 474498 w 1090935"/>
                    <a:gd name="connsiteY134" fmla="*/ 631521 h 1092304"/>
                    <a:gd name="connsiteX135" fmla="*/ 463527 w 1090935"/>
                    <a:gd name="connsiteY135" fmla="*/ 642492 h 1092304"/>
                    <a:gd name="connsiteX136" fmla="*/ 474498 w 1090935"/>
                    <a:gd name="connsiteY136" fmla="*/ 653463 h 1092304"/>
                    <a:gd name="connsiteX137" fmla="*/ 652778 w 1090935"/>
                    <a:gd name="connsiteY137" fmla="*/ 653463 h 1092304"/>
                    <a:gd name="connsiteX138" fmla="*/ 652778 w 1090935"/>
                    <a:gd name="connsiteY138" fmla="*/ 664434 h 1092304"/>
                    <a:gd name="connsiteX139" fmla="*/ 652778 w 1090935"/>
                    <a:gd name="connsiteY139" fmla="*/ 667177 h 1092304"/>
                    <a:gd name="connsiteX140" fmla="*/ 732319 w 1090935"/>
                    <a:gd name="connsiteY140" fmla="*/ 996308 h 1092304"/>
                    <a:gd name="connsiteX141" fmla="*/ 625351 w 1090935"/>
                    <a:gd name="connsiteY141" fmla="*/ 996308 h 1092304"/>
                    <a:gd name="connsiteX142" fmla="*/ 556781 w 1090935"/>
                    <a:gd name="connsiteY142" fmla="*/ 722032 h 1092304"/>
                    <a:gd name="connsiteX143" fmla="*/ 545810 w 1090935"/>
                    <a:gd name="connsiteY143" fmla="*/ 713804 h 1092304"/>
                    <a:gd name="connsiteX144" fmla="*/ 534840 w 1090935"/>
                    <a:gd name="connsiteY144" fmla="*/ 722032 h 1092304"/>
                    <a:gd name="connsiteX145" fmla="*/ 466270 w 1090935"/>
                    <a:gd name="connsiteY145" fmla="*/ 996308 h 1092304"/>
                    <a:gd name="connsiteX146" fmla="*/ 348332 w 1090935"/>
                    <a:gd name="connsiteY146" fmla="*/ 996308 h 1092304"/>
                    <a:gd name="connsiteX147" fmla="*/ 438843 w 1090935"/>
                    <a:gd name="connsiteY147" fmla="*/ 667177 h 1092304"/>
                    <a:gd name="connsiteX148" fmla="*/ 438843 w 1090935"/>
                    <a:gd name="connsiteY148" fmla="*/ 664434 h 1092304"/>
                    <a:gd name="connsiteX149" fmla="*/ 438843 w 1090935"/>
                    <a:gd name="connsiteY149" fmla="*/ 428557 h 1092304"/>
                    <a:gd name="connsiteX150" fmla="*/ 427871 w 1090935"/>
                    <a:gd name="connsiteY150" fmla="*/ 417585 h 1092304"/>
                    <a:gd name="connsiteX151" fmla="*/ 202964 w 1090935"/>
                    <a:gd name="connsiteY151" fmla="*/ 417585 h 1092304"/>
                    <a:gd name="connsiteX152" fmla="*/ 202964 w 1090935"/>
                    <a:gd name="connsiteY152" fmla="*/ 357245 h 1092304"/>
                    <a:gd name="connsiteX153" fmla="*/ 891399 w 1090935"/>
                    <a:gd name="connsiteY153" fmla="*/ 357245 h 1092304"/>
                    <a:gd name="connsiteX154" fmla="*/ 891399 w 1090935"/>
                    <a:gd name="connsiteY154" fmla="*/ 417585 h 1092304"/>
                    <a:gd name="connsiteX155" fmla="*/ 663750 w 1090935"/>
                    <a:gd name="connsiteY155" fmla="*/ 417585 h 1092304"/>
                    <a:gd name="connsiteX156" fmla="*/ 913341 w 1090935"/>
                    <a:gd name="connsiteY156" fmla="*/ 417585 h 1092304"/>
                    <a:gd name="connsiteX157" fmla="*/ 913341 w 1090935"/>
                    <a:gd name="connsiteY157" fmla="*/ 357245 h 1092304"/>
                    <a:gd name="connsiteX158" fmla="*/ 948997 w 1090935"/>
                    <a:gd name="connsiteY158" fmla="*/ 357245 h 1092304"/>
                    <a:gd name="connsiteX159" fmla="*/ 948997 w 1090935"/>
                    <a:gd name="connsiteY159" fmla="*/ 381930 h 1092304"/>
                    <a:gd name="connsiteX160" fmla="*/ 913341 w 1090935"/>
                    <a:gd name="connsiteY160" fmla="*/ 417585 h 1092304"/>
                    <a:gd name="connsiteX161" fmla="*/ 913341 w 1090935"/>
                    <a:gd name="connsiteY161" fmla="*/ 417585 h 1092304"/>
                    <a:gd name="connsiteX162" fmla="*/ 1066936 w 1090935"/>
                    <a:gd name="connsiteY162" fmla="*/ 582151 h 1092304"/>
                    <a:gd name="connsiteX163" fmla="*/ 1066936 w 1090935"/>
                    <a:gd name="connsiteY163" fmla="*/ 606836 h 1092304"/>
                    <a:gd name="connsiteX164" fmla="*/ 970939 w 1090935"/>
                    <a:gd name="connsiteY164" fmla="*/ 606836 h 1092304"/>
                    <a:gd name="connsiteX165" fmla="*/ 970939 w 1090935"/>
                    <a:gd name="connsiteY165" fmla="*/ 582151 h 1092304"/>
                    <a:gd name="connsiteX166" fmla="*/ 1066936 w 1090935"/>
                    <a:gd name="connsiteY166" fmla="*/ 582151 h 1092304"/>
                    <a:gd name="connsiteX167" fmla="*/ 1031280 w 1090935"/>
                    <a:gd name="connsiteY167" fmla="*/ 689119 h 1092304"/>
                    <a:gd name="connsiteX168" fmla="*/ 1006596 w 1090935"/>
                    <a:gd name="connsiteY168" fmla="*/ 689119 h 1092304"/>
                    <a:gd name="connsiteX169" fmla="*/ 970939 w 1090935"/>
                    <a:gd name="connsiteY169" fmla="*/ 653463 h 1092304"/>
                    <a:gd name="connsiteX170" fmla="*/ 970939 w 1090935"/>
                    <a:gd name="connsiteY170" fmla="*/ 628778 h 1092304"/>
                    <a:gd name="connsiteX171" fmla="*/ 1066936 w 1090935"/>
                    <a:gd name="connsiteY171" fmla="*/ 628778 h 1092304"/>
                    <a:gd name="connsiteX172" fmla="*/ 1066936 w 1090935"/>
                    <a:gd name="connsiteY172" fmla="*/ 653463 h 1092304"/>
                    <a:gd name="connsiteX173" fmla="*/ 1031280 w 1090935"/>
                    <a:gd name="connsiteY173" fmla="*/ 689119 h 1092304"/>
                    <a:gd name="connsiteX174" fmla="*/ 1031280 w 1090935"/>
                    <a:gd name="connsiteY174" fmla="*/ 689119 h 109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90935" h="1092304">
                      <a:moveTo>
                        <a:pt x="1088879" y="102168"/>
                      </a:moveTo>
                      <a:lnTo>
                        <a:pt x="1028538" y="6171"/>
                      </a:lnTo>
                      <a:cubicBezTo>
                        <a:pt x="1023052" y="-2057"/>
                        <a:pt x="1012080" y="-2057"/>
                        <a:pt x="1009338" y="6171"/>
                      </a:cubicBezTo>
                      <a:lnTo>
                        <a:pt x="948997" y="102168"/>
                      </a:lnTo>
                      <a:cubicBezTo>
                        <a:pt x="948997" y="104911"/>
                        <a:pt x="946255" y="104911"/>
                        <a:pt x="946255" y="107654"/>
                      </a:cubicBezTo>
                      <a:lnTo>
                        <a:pt x="946255" y="332560"/>
                      </a:lnTo>
                      <a:lnTo>
                        <a:pt x="614379" y="332560"/>
                      </a:lnTo>
                      <a:cubicBezTo>
                        <a:pt x="633579" y="318846"/>
                        <a:pt x="650036" y="296904"/>
                        <a:pt x="655520" y="272219"/>
                      </a:cubicBezTo>
                      <a:lnTo>
                        <a:pt x="671978" y="272219"/>
                      </a:lnTo>
                      <a:cubicBezTo>
                        <a:pt x="674720" y="272219"/>
                        <a:pt x="680206" y="269476"/>
                        <a:pt x="682948" y="266733"/>
                      </a:cubicBezTo>
                      <a:cubicBezTo>
                        <a:pt x="685692" y="263991"/>
                        <a:pt x="685692" y="258505"/>
                        <a:pt x="682948" y="255762"/>
                      </a:cubicBezTo>
                      <a:lnTo>
                        <a:pt x="661006" y="198164"/>
                      </a:lnTo>
                      <a:lnTo>
                        <a:pt x="661006" y="187193"/>
                      </a:lnTo>
                      <a:cubicBezTo>
                        <a:pt x="680206" y="181708"/>
                        <a:pt x="696662" y="162509"/>
                        <a:pt x="696662" y="140567"/>
                      </a:cubicBezTo>
                      <a:lnTo>
                        <a:pt x="696662" y="115881"/>
                      </a:lnTo>
                      <a:cubicBezTo>
                        <a:pt x="696662" y="110396"/>
                        <a:pt x="691178" y="104911"/>
                        <a:pt x="685692" y="104911"/>
                      </a:cubicBezTo>
                      <a:lnTo>
                        <a:pt x="482726" y="104911"/>
                      </a:lnTo>
                      <a:cubicBezTo>
                        <a:pt x="449813" y="104911"/>
                        <a:pt x="422385" y="132338"/>
                        <a:pt x="422385" y="165251"/>
                      </a:cubicBezTo>
                      <a:lnTo>
                        <a:pt x="422385" y="231078"/>
                      </a:lnTo>
                      <a:cubicBezTo>
                        <a:pt x="422385" y="272219"/>
                        <a:pt x="441585" y="307875"/>
                        <a:pt x="471756" y="329817"/>
                      </a:cubicBezTo>
                      <a:lnTo>
                        <a:pt x="397701" y="329817"/>
                      </a:lnTo>
                      <a:cubicBezTo>
                        <a:pt x="397701" y="327074"/>
                        <a:pt x="400443" y="321589"/>
                        <a:pt x="400443" y="318846"/>
                      </a:cubicBezTo>
                      <a:lnTo>
                        <a:pt x="400443" y="11657"/>
                      </a:lnTo>
                      <a:cubicBezTo>
                        <a:pt x="400443" y="6171"/>
                        <a:pt x="394958" y="686"/>
                        <a:pt x="389473" y="686"/>
                      </a:cubicBezTo>
                      <a:lnTo>
                        <a:pt x="10970" y="686"/>
                      </a:lnTo>
                      <a:cubicBezTo>
                        <a:pt x="5486" y="686"/>
                        <a:pt x="0" y="6171"/>
                        <a:pt x="0" y="11657"/>
                      </a:cubicBezTo>
                      <a:lnTo>
                        <a:pt x="0" y="318846"/>
                      </a:lnTo>
                      <a:cubicBezTo>
                        <a:pt x="0" y="338045"/>
                        <a:pt x="16456" y="354502"/>
                        <a:pt x="35656" y="354502"/>
                      </a:cubicBezTo>
                      <a:lnTo>
                        <a:pt x="117939" y="354502"/>
                      </a:lnTo>
                      <a:lnTo>
                        <a:pt x="117939" y="379187"/>
                      </a:lnTo>
                      <a:cubicBezTo>
                        <a:pt x="117939" y="412100"/>
                        <a:pt x="145366" y="439527"/>
                        <a:pt x="178280" y="439527"/>
                      </a:cubicBezTo>
                      <a:lnTo>
                        <a:pt x="414157" y="439527"/>
                      </a:lnTo>
                      <a:lnTo>
                        <a:pt x="414157" y="664434"/>
                      </a:lnTo>
                      <a:lnTo>
                        <a:pt x="320904" y="999051"/>
                      </a:lnTo>
                      <a:cubicBezTo>
                        <a:pt x="279763" y="1004537"/>
                        <a:pt x="246849" y="1040193"/>
                        <a:pt x="246849" y="1081334"/>
                      </a:cubicBezTo>
                      <a:cubicBezTo>
                        <a:pt x="246849" y="1086820"/>
                        <a:pt x="252335" y="1092305"/>
                        <a:pt x="257819" y="1092305"/>
                      </a:cubicBezTo>
                      <a:lnTo>
                        <a:pt x="471756" y="1092305"/>
                      </a:lnTo>
                      <a:cubicBezTo>
                        <a:pt x="477241" y="1092305"/>
                        <a:pt x="482726" y="1086820"/>
                        <a:pt x="482726" y="1081334"/>
                      </a:cubicBezTo>
                      <a:lnTo>
                        <a:pt x="482726" y="1010022"/>
                      </a:lnTo>
                      <a:lnTo>
                        <a:pt x="543068" y="774144"/>
                      </a:lnTo>
                      <a:lnTo>
                        <a:pt x="603409" y="1010022"/>
                      </a:lnTo>
                      <a:lnTo>
                        <a:pt x="603409" y="1078591"/>
                      </a:lnTo>
                      <a:cubicBezTo>
                        <a:pt x="603409" y="1084077"/>
                        <a:pt x="608895" y="1089562"/>
                        <a:pt x="614379" y="1089562"/>
                      </a:cubicBezTo>
                      <a:lnTo>
                        <a:pt x="828316" y="1089562"/>
                      </a:lnTo>
                      <a:cubicBezTo>
                        <a:pt x="833800" y="1089562"/>
                        <a:pt x="839286" y="1084077"/>
                        <a:pt x="839286" y="1078591"/>
                      </a:cubicBezTo>
                      <a:cubicBezTo>
                        <a:pt x="839286" y="1031964"/>
                        <a:pt x="800888" y="996308"/>
                        <a:pt x="757003" y="996308"/>
                      </a:cubicBezTo>
                      <a:lnTo>
                        <a:pt x="754261" y="996308"/>
                      </a:lnTo>
                      <a:lnTo>
                        <a:pt x="674720" y="661691"/>
                      </a:lnTo>
                      <a:lnTo>
                        <a:pt x="674720" y="436785"/>
                      </a:lnTo>
                      <a:lnTo>
                        <a:pt x="910599" y="436785"/>
                      </a:lnTo>
                      <a:cubicBezTo>
                        <a:pt x="924313" y="436785"/>
                        <a:pt x="935283" y="431299"/>
                        <a:pt x="946255" y="425814"/>
                      </a:cubicBezTo>
                      <a:lnTo>
                        <a:pt x="946255" y="521810"/>
                      </a:lnTo>
                      <a:cubicBezTo>
                        <a:pt x="946255" y="527296"/>
                        <a:pt x="951741" y="532782"/>
                        <a:pt x="957225" y="532782"/>
                      </a:cubicBezTo>
                      <a:cubicBezTo>
                        <a:pt x="962711" y="532782"/>
                        <a:pt x="968197" y="527296"/>
                        <a:pt x="968197" y="521810"/>
                      </a:cubicBezTo>
                      <a:lnTo>
                        <a:pt x="968197" y="118624"/>
                      </a:lnTo>
                      <a:lnTo>
                        <a:pt x="1014824" y="118624"/>
                      </a:lnTo>
                      <a:lnTo>
                        <a:pt x="1014824" y="250277"/>
                      </a:lnTo>
                      <a:cubicBezTo>
                        <a:pt x="1014824" y="255762"/>
                        <a:pt x="1020310" y="261248"/>
                        <a:pt x="1025794" y="261248"/>
                      </a:cubicBezTo>
                      <a:cubicBezTo>
                        <a:pt x="1031280" y="261248"/>
                        <a:pt x="1036766" y="255762"/>
                        <a:pt x="1036766" y="250277"/>
                      </a:cubicBezTo>
                      <a:lnTo>
                        <a:pt x="1036766" y="118624"/>
                      </a:lnTo>
                      <a:lnTo>
                        <a:pt x="1061451" y="118624"/>
                      </a:lnTo>
                      <a:lnTo>
                        <a:pt x="1061451" y="557466"/>
                      </a:lnTo>
                      <a:lnTo>
                        <a:pt x="954483" y="557466"/>
                      </a:lnTo>
                      <a:cubicBezTo>
                        <a:pt x="948997" y="557466"/>
                        <a:pt x="943511" y="562952"/>
                        <a:pt x="943511" y="568437"/>
                      </a:cubicBezTo>
                      <a:lnTo>
                        <a:pt x="943511" y="650720"/>
                      </a:lnTo>
                      <a:cubicBezTo>
                        <a:pt x="943511" y="683634"/>
                        <a:pt x="970939" y="711061"/>
                        <a:pt x="1003852" y="711061"/>
                      </a:cubicBezTo>
                      <a:lnTo>
                        <a:pt x="1028538" y="711061"/>
                      </a:lnTo>
                      <a:cubicBezTo>
                        <a:pt x="1061451" y="711061"/>
                        <a:pt x="1088879" y="683634"/>
                        <a:pt x="1088879" y="650720"/>
                      </a:cubicBezTo>
                      <a:lnTo>
                        <a:pt x="1088879" y="104911"/>
                      </a:lnTo>
                      <a:cubicBezTo>
                        <a:pt x="1091621" y="104911"/>
                        <a:pt x="1091621" y="104911"/>
                        <a:pt x="1088879" y="102168"/>
                      </a:cubicBezTo>
                      <a:lnTo>
                        <a:pt x="1088879" y="102168"/>
                      </a:lnTo>
                      <a:close/>
                      <a:moveTo>
                        <a:pt x="452557" y="167994"/>
                      </a:moveTo>
                      <a:cubicBezTo>
                        <a:pt x="452557" y="148795"/>
                        <a:pt x="469013" y="132338"/>
                        <a:pt x="488212" y="132338"/>
                      </a:cubicBezTo>
                      <a:lnTo>
                        <a:pt x="677464" y="132338"/>
                      </a:lnTo>
                      <a:lnTo>
                        <a:pt x="677464" y="143309"/>
                      </a:lnTo>
                      <a:cubicBezTo>
                        <a:pt x="677464" y="157023"/>
                        <a:pt x="666492" y="167994"/>
                        <a:pt x="652778" y="167994"/>
                      </a:cubicBezTo>
                      <a:lnTo>
                        <a:pt x="499184" y="167994"/>
                      </a:lnTo>
                      <a:cubicBezTo>
                        <a:pt x="493698" y="167994"/>
                        <a:pt x="488212" y="173480"/>
                        <a:pt x="488212" y="178965"/>
                      </a:cubicBezTo>
                      <a:lnTo>
                        <a:pt x="488212" y="189936"/>
                      </a:lnTo>
                      <a:cubicBezTo>
                        <a:pt x="488212" y="209136"/>
                        <a:pt x="471756" y="225592"/>
                        <a:pt x="452557" y="225592"/>
                      </a:cubicBezTo>
                      <a:lnTo>
                        <a:pt x="452557" y="167994"/>
                      </a:lnTo>
                      <a:close/>
                      <a:moveTo>
                        <a:pt x="452557" y="250277"/>
                      </a:moveTo>
                      <a:cubicBezTo>
                        <a:pt x="485470" y="250277"/>
                        <a:pt x="510154" y="222849"/>
                        <a:pt x="510154" y="189936"/>
                      </a:cubicBezTo>
                      <a:lnTo>
                        <a:pt x="641807" y="189936"/>
                      </a:lnTo>
                      <a:lnTo>
                        <a:pt x="641807" y="200907"/>
                      </a:lnTo>
                      <a:cubicBezTo>
                        <a:pt x="641807" y="203650"/>
                        <a:pt x="641807" y="203650"/>
                        <a:pt x="641807" y="206393"/>
                      </a:cubicBezTo>
                      <a:lnTo>
                        <a:pt x="658264" y="250277"/>
                      </a:lnTo>
                      <a:lnTo>
                        <a:pt x="650036" y="250277"/>
                      </a:lnTo>
                      <a:cubicBezTo>
                        <a:pt x="644550" y="250277"/>
                        <a:pt x="639064" y="253020"/>
                        <a:pt x="639064" y="258505"/>
                      </a:cubicBezTo>
                      <a:cubicBezTo>
                        <a:pt x="628093" y="302389"/>
                        <a:pt x="589695" y="332560"/>
                        <a:pt x="543068" y="332560"/>
                      </a:cubicBezTo>
                      <a:cubicBezTo>
                        <a:pt x="499184" y="332560"/>
                        <a:pt x="460785" y="296904"/>
                        <a:pt x="452557" y="250277"/>
                      </a:cubicBezTo>
                      <a:lnTo>
                        <a:pt x="452557" y="250277"/>
                      </a:lnTo>
                      <a:close/>
                      <a:moveTo>
                        <a:pt x="1020310" y="36342"/>
                      </a:moveTo>
                      <a:lnTo>
                        <a:pt x="1058708" y="96682"/>
                      </a:lnTo>
                      <a:lnTo>
                        <a:pt x="981910" y="96682"/>
                      </a:lnTo>
                      <a:lnTo>
                        <a:pt x="1020310" y="36342"/>
                      </a:lnTo>
                      <a:close/>
                      <a:moveTo>
                        <a:pt x="381244" y="285933"/>
                      </a:moveTo>
                      <a:lnTo>
                        <a:pt x="213936" y="285933"/>
                      </a:lnTo>
                      <a:lnTo>
                        <a:pt x="213936" y="25371"/>
                      </a:lnTo>
                      <a:lnTo>
                        <a:pt x="381244" y="25371"/>
                      </a:lnTo>
                      <a:lnTo>
                        <a:pt x="381244" y="285933"/>
                      </a:lnTo>
                      <a:close/>
                      <a:moveTo>
                        <a:pt x="24684" y="321589"/>
                      </a:moveTo>
                      <a:lnTo>
                        <a:pt x="24684" y="25371"/>
                      </a:lnTo>
                      <a:lnTo>
                        <a:pt x="191994" y="25371"/>
                      </a:lnTo>
                      <a:lnTo>
                        <a:pt x="191994" y="285933"/>
                      </a:lnTo>
                      <a:lnTo>
                        <a:pt x="60341" y="285933"/>
                      </a:lnTo>
                      <a:cubicBezTo>
                        <a:pt x="54855" y="285933"/>
                        <a:pt x="49369" y="291418"/>
                        <a:pt x="49369" y="296904"/>
                      </a:cubicBezTo>
                      <a:cubicBezTo>
                        <a:pt x="49369" y="302389"/>
                        <a:pt x="54855" y="307875"/>
                        <a:pt x="60341" y="307875"/>
                      </a:cubicBezTo>
                      <a:lnTo>
                        <a:pt x="381244" y="307875"/>
                      </a:lnTo>
                      <a:lnTo>
                        <a:pt x="381244" y="318846"/>
                      </a:lnTo>
                      <a:cubicBezTo>
                        <a:pt x="381244" y="324332"/>
                        <a:pt x="375759" y="329817"/>
                        <a:pt x="370274" y="329817"/>
                      </a:cubicBezTo>
                      <a:lnTo>
                        <a:pt x="35656" y="329817"/>
                      </a:lnTo>
                      <a:cubicBezTo>
                        <a:pt x="30170" y="332560"/>
                        <a:pt x="24684" y="327074"/>
                        <a:pt x="24684" y="321589"/>
                      </a:cubicBezTo>
                      <a:lnTo>
                        <a:pt x="24684" y="321589"/>
                      </a:lnTo>
                      <a:close/>
                      <a:moveTo>
                        <a:pt x="142624" y="381930"/>
                      </a:moveTo>
                      <a:lnTo>
                        <a:pt x="142624" y="357245"/>
                      </a:lnTo>
                      <a:lnTo>
                        <a:pt x="178280" y="357245"/>
                      </a:lnTo>
                      <a:lnTo>
                        <a:pt x="178280" y="417585"/>
                      </a:lnTo>
                      <a:cubicBezTo>
                        <a:pt x="159080" y="417585"/>
                        <a:pt x="142624" y="401129"/>
                        <a:pt x="142624" y="381930"/>
                      </a:cubicBezTo>
                      <a:lnTo>
                        <a:pt x="142624" y="381930"/>
                      </a:lnTo>
                      <a:close/>
                      <a:moveTo>
                        <a:pt x="463527" y="1067620"/>
                      </a:moveTo>
                      <a:lnTo>
                        <a:pt x="274277" y="1067620"/>
                      </a:lnTo>
                      <a:cubicBezTo>
                        <a:pt x="279763" y="1040193"/>
                        <a:pt x="304447" y="1020993"/>
                        <a:pt x="331874" y="1020993"/>
                      </a:cubicBezTo>
                      <a:lnTo>
                        <a:pt x="463527" y="1020993"/>
                      </a:lnTo>
                      <a:lnTo>
                        <a:pt x="463527" y="1067620"/>
                      </a:lnTo>
                      <a:close/>
                      <a:moveTo>
                        <a:pt x="817344" y="1067620"/>
                      </a:moveTo>
                      <a:lnTo>
                        <a:pt x="628093" y="1067620"/>
                      </a:lnTo>
                      <a:lnTo>
                        <a:pt x="628093" y="1020993"/>
                      </a:lnTo>
                      <a:lnTo>
                        <a:pt x="759747" y="1020993"/>
                      </a:lnTo>
                      <a:cubicBezTo>
                        <a:pt x="787175" y="1020993"/>
                        <a:pt x="811858" y="1042935"/>
                        <a:pt x="817344" y="1067620"/>
                      </a:cubicBezTo>
                      <a:lnTo>
                        <a:pt x="817344" y="1067620"/>
                      </a:lnTo>
                      <a:close/>
                      <a:moveTo>
                        <a:pt x="663750" y="417585"/>
                      </a:moveTo>
                      <a:cubicBezTo>
                        <a:pt x="658264" y="417585"/>
                        <a:pt x="652778" y="423071"/>
                        <a:pt x="652778" y="428557"/>
                      </a:cubicBezTo>
                      <a:lnTo>
                        <a:pt x="652778" y="631521"/>
                      </a:lnTo>
                      <a:lnTo>
                        <a:pt x="474498" y="631521"/>
                      </a:lnTo>
                      <a:cubicBezTo>
                        <a:pt x="469013" y="631521"/>
                        <a:pt x="463527" y="637006"/>
                        <a:pt x="463527" y="642492"/>
                      </a:cubicBezTo>
                      <a:cubicBezTo>
                        <a:pt x="463527" y="647978"/>
                        <a:pt x="469013" y="653463"/>
                        <a:pt x="474498" y="653463"/>
                      </a:cubicBezTo>
                      <a:lnTo>
                        <a:pt x="652778" y="653463"/>
                      </a:lnTo>
                      <a:lnTo>
                        <a:pt x="652778" y="664434"/>
                      </a:lnTo>
                      <a:cubicBezTo>
                        <a:pt x="652778" y="664434"/>
                        <a:pt x="652778" y="667177"/>
                        <a:pt x="652778" y="667177"/>
                      </a:cubicBezTo>
                      <a:lnTo>
                        <a:pt x="732319" y="996308"/>
                      </a:lnTo>
                      <a:lnTo>
                        <a:pt x="625351" y="996308"/>
                      </a:lnTo>
                      <a:lnTo>
                        <a:pt x="556781" y="722032"/>
                      </a:lnTo>
                      <a:cubicBezTo>
                        <a:pt x="556781" y="716547"/>
                        <a:pt x="551296" y="713804"/>
                        <a:pt x="545810" y="713804"/>
                      </a:cubicBezTo>
                      <a:cubicBezTo>
                        <a:pt x="540326" y="713804"/>
                        <a:pt x="534840" y="716547"/>
                        <a:pt x="534840" y="722032"/>
                      </a:cubicBezTo>
                      <a:lnTo>
                        <a:pt x="466270" y="996308"/>
                      </a:lnTo>
                      <a:lnTo>
                        <a:pt x="348332" y="996308"/>
                      </a:lnTo>
                      <a:lnTo>
                        <a:pt x="438843" y="667177"/>
                      </a:lnTo>
                      <a:cubicBezTo>
                        <a:pt x="438843" y="667177"/>
                        <a:pt x="438843" y="664434"/>
                        <a:pt x="438843" y="664434"/>
                      </a:cubicBezTo>
                      <a:lnTo>
                        <a:pt x="438843" y="428557"/>
                      </a:lnTo>
                      <a:cubicBezTo>
                        <a:pt x="438843" y="423071"/>
                        <a:pt x="433357" y="417585"/>
                        <a:pt x="427871" y="417585"/>
                      </a:cubicBezTo>
                      <a:lnTo>
                        <a:pt x="202964" y="417585"/>
                      </a:lnTo>
                      <a:lnTo>
                        <a:pt x="202964" y="357245"/>
                      </a:lnTo>
                      <a:lnTo>
                        <a:pt x="891399" y="357245"/>
                      </a:lnTo>
                      <a:lnTo>
                        <a:pt x="891399" y="417585"/>
                      </a:lnTo>
                      <a:lnTo>
                        <a:pt x="663750" y="417585"/>
                      </a:lnTo>
                      <a:close/>
                      <a:moveTo>
                        <a:pt x="913341" y="417585"/>
                      </a:moveTo>
                      <a:lnTo>
                        <a:pt x="913341" y="357245"/>
                      </a:lnTo>
                      <a:lnTo>
                        <a:pt x="948997" y="357245"/>
                      </a:lnTo>
                      <a:lnTo>
                        <a:pt x="948997" y="381930"/>
                      </a:lnTo>
                      <a:cubicBezTo>
                        <a:pt x="948997" y="401129"/>
                        <a:pt x="932541" y="417585"/>
                        <a:pt x="913341" y="417585"/>
                      </a:cubicBezTo>
                      <a:lnTo>
                        <a:pt x="913341" y="417585"/>
                      </a:lnTo>
                      <a:close/>
                      <a:moveTo>
                        <a:pt x="1066936" y="582151"/>
                      </a:moveTo>
                      <a:lnTo>
                        <a:pt x="1066936" y="606836"/>
                      </a:lnTo>
                      <a:lnTo>
                        <a:pt x="970939" y="606836"/>
                      </a:lnTo>
                      <a:lnTo>
                        <a:pt x="970939" y="582151"/>
                      </a:lnTo>
                      <a:lnTo>
                        <a:pt x="1066936" y="582151"/>
                      </a:lnTo>
                      <a:close/>
                      <a:moveTo>
                        <a:pt x="1031280" y="689119"/>
                      </a:moveTo>
                      <a:lnTo>
                        <a:pt x="1006596" y="689119"/>
                      </a:lnTo>
                      <a:cubicBezTo>
                        <a:pt x="987396" y="689119"/>
                        <a:pt x="970939" y="672662"/>
                        <a:pt x="970939" y="653463"/>
                      </a:cubicBezTo>
                      <a:lnTo>
                        <a:pt x="970939" y="628778"/>
                      </a:lnTo>
                      <a:lnTo>
                        <a:pt x="1066936" y="628778"/>
                      </a:lnTo>
                      <a:lnTo>
                        <a:pt x="1066936" y="653463"/>
                      </a:lnTo>
                      <a:cubicBezTo>
                        <a:pt x="1066936" y="672662"/>
                        <a:pt x="1053222" y="689119"/>
                        <a:pt x="1031280" y="689119"/>
                      </a:cubicBezTo>
                      <a:lnTo>
                        <a:pt x="1031280" y="689119"/>
                      </a:lnTo>
                      <a:close/>
                    </a:path>
                  </a:pathLst>
                </a:custGeom>
                <a:grpFill/>
                <a:ln w="27426" cap="flat">
                  <a:noFill/>
                  <a:prstDash val="solid"/>
                  <a:miter/>
                </a:ln>
              </p:spPr>
              <p:txBody>
                <a:bodyPr rtlCol="0" anchor="ctr"/>
                <a:lstStyle/>
                <a:p>
                  <a:pPr algn="l" rtl="0"/>
                  <a:endParaRPr lang="en-US"/>
                </a:p>
              </p:txBody>
            </p:sp>
          </p:grpSp>
          <p:sp>
            <p:nvSpPr>
              <p:cNvPr id="197" name="Freeform 196">
                <a:extLst>
                  <a:ext uri="{FF2B5EF4-FFF2-40B4-BE49-F238E27FC236}">
                    <a16:creationId xmlns:a16="http://schemas.microsoft.com/office/drawing/2014/main" id="{6E9B6222-8712-C7ED-2663-1D2024D2EFF4}"/>
                  </a:ext>
                </a:extLst>
              </p:cNvPr>
              <p:cNvSpPr/>
              <p:nvPr/>
            </p:nvSpPr>
            <p:spPr>
              <a:xfrm>
                <a:off x="7624966" y="3971001"/>
                <a:ext cx="21941" cy="58311"/>
              </a:xfrm>
              <a:custGeom>
                <a:avLst/>
                <a:gdLst>
                  <a:gd name="connsiteX0" fmla="*/ 21942 w 21941"/>
                  <a:gd name="connsiteY0" fmla="*/ 46627 h 58311"/>
                  <a:gd name="connsiteX1" fmla="*/ 21942 w 21941"/>
                  <a:gd name="connsiteY1" fmla="*/ 10971 h 58311"/>
                  <a:gd name="connsiteX2" fmla="*/ 10972 w 21941"/>
                  <a:gd name="connsiteY2" fmla="*/ 0 h 58311"/>
                  <a:gd name="connsiteX3" fmla="*/ 0 w 21941"/>
                  <a:gd name="connsiteY3" fmla="*/ 10971 h 58311"/>
                  <a:gd name="connsiteX4" fmla="*/ 0 w 21941"/>
                  <a:gd name="connsiteY4" fmla="*/ 46627 h 58311"/>
                  <a:gd name="connsiteX5" fmla="*/ 10972 w 21941"/>
                  <a:gd name="connsiteY5" fmla="*/ 57598 h 58311"/>
                  <a:gd name="connsiteX6" fmla="*/ 21942 w 21941"/>
                  <a:gd name="connsiteY6" fmla="*/ 46627 h 58311"/>
                  <a:gd name="connsiteX7" fmla="*/ 21942 w 21941"/>
                  <a:gd name="connsiteY7" fmla="*/ 46627 h 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58311">
                    <a:moveTo>
                      <a:pt x="21942" y="46627"/>
                    </a:moveTo>
                    <a:lnTo>
                      <a:pt x="21942" y="10971"/>
                    </a:lnTo>
                    <a:cubicBezTo>
                      <a:pt x="21942" y="5485"/>
                      <a:pt x="16456" y="0"/>
                      <a:pt x="10972" y="0"/>
                    </a:cubicBezTo>
                    <a:cubicBezTo>
                      <a:pt x="5486" y="0"/>
                      <a:pt x="0" y="5485"/>
                      <a:pt x="0" y="10971"/>
                    </a:cubicBezTo>
                    <a:lnTo>
                      <a:pt x="0" y="46627"/>
                    </a:lnTo>
                    <a:cubicBezTo>
                      <a:pt x="0" y="52112"/>
                      <a:pt x="5486" y="57598"/>
                      <a:pt x="10972" y="57598"/>
                    </a:cubicBezTo>
                    <a:cubicBezTo>
                      <a:pt x="16456" y="60341"/>
                      <a:pt x="21942" y="54855"/>
                      <a:pt x="21942" y="46627"/>
                    </a:cubicBezTo>
                    <a:lnTo>
                      <a:pt x="21942" y="46627"/>
                    </a:lnTo>
                    <a:close/>
                  </a:path>
                </a:pathLst>
              </a:custGeom>
              <a:grpFill/>
              <a:ln w="27426" cap="flat">
                <a:noFill/>
                <a:prstDash val="solid"/>
                <a:miter/>
              </a:ln>
            </p:spPr>
            <p:txBody>
              <a:bodyPr rtlCol="0" anchor="ctr"/>
              <a:lstStyle/>
              <a:p>
                <a:pPr algn="l" rtl="0"/>
                <a:endParaRPr lang="en-US"/>
              </a:p>
            </p:txBody>
          </p:sp>
          <p:sp>
            <p:nvSpPr>
              <p:cNvPr id="198" name="Freeform 197">
                <a:extLst>
                  <a:ext uri="{FF2B5EF4-FFF2-40B4-BE49-F238E27FC236}">
                    <a16:creationId xmlns:a16="http://schemas.microsoft.com/office/drawing/2014/main" id="{7646CC04-C665-AF2F-D1D4-7BFB1ECBCA8C}"/>
                  </a:ext>
                </a:extLst>
              </p:cNvPr>
              <p:cNvSpPr/>
              <p:nvPr/>
            </p:nvSpPr>
            <p:spPr>
              <a:xfrm>
                <a:off x="6651284" y="373512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pPr algn="l" rtl="0"/>
                <a:endParaRPr lang="en-US"/>
              </a:p>
            </p:txBody>
          </p:sp>
          <p:sp>
            <p:nvSpPr>
              <p:cNvPr id="199" name="Freeform 198">
                <a:extLst>
                  <a:ext uri="{FF2B5EF4-FFF2-40B4-BE49-F238E27FC236}">
                    <a16:creationId xmlns:a16="http://schemas.microsoft.com/office/drawing/2014/main" id="{DAD54120-AE0F-C706-CF8A-16749F9BDD88}"/>
                  </a:ext>
                </a:extLst>
              </p:cNvPr>
              <p:cNvSpPr/>
              <p:nvPr/>
            </p:nvSpPr>
            <p:spPr>
              <a:xfrm>
                <a:off x="6651284" y="3784493"/>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6"/>
                      <a:pt x="117939" y="10971"/>
                    </a:cubicBezTo>
                    <a:cubicBezTo>
                      <a:pt x="117939" y="5485"/>
                      <a:pt x="112453" y="0"/>
                      <a:pt x="106969" y="0"/>
                    </a:cubicBezTo>
                    <a:lnTo>
                      <a:pt x="10972" y="0"/>
                    </a:lnTo>
                    <a:cubicBezTo>
                      <a:pt x="5486" y="0"/>
                      <a:pt x="0" y="5485"/>
                      <a:pt x="0" y="10971"/>
                    </a:cubicBezTo>
                    <a:cubicBezTo>
                      <a:pt x="0" y="16456"/>
                      <a:pt x="2742" y="21942"/>
                      <a:pt x="10972" y="21942"/>
                    </a:cubicBezTo>
                    <a:lnTo>
                      <a:pt x="10972" y="21942"/>
                    </a:lnTo>
                    <a:close/>
                  </a:path>
                </a:pathLst>
              </a:custGeom>
              <a:grpFill/>
              <a:ln w="27426" cap="flat">
                <a:noFill/>
                <a:prstDash val="solid"/>
                <a:miter/>
              </a:ln>
            </p:spPr>
            <p:txBody>
              <a:bodyPr rtlCol="0" anchor="ctr"/>
              <a:lstStyle/>
              <a:p>
                <a:pPr algn="l" rtl="0"/>
                <a:endParaRPr lang="en-US"/>
              </a:p>
            </p:txBody>
          </p:sp>
          <p:sp>
            <p:nvSpPr>
              <p:cNvPr id="200" name="Freeform 199">
                <a:extLst>
                  <a:ext uri="{FF2B5EF4-FFF2-40B4-BE49-F238E27FC236}">
                    <a16:creationId xmlns:a16="http://schemas.microsoft.com/office/drawing/2014/main" id="{6CF05655-35EC-DA89-B62E-B50B4518FF43}"/>
                  </a:ext>
                </a:extLst>
              </p:cNvPr>
              <p:cNvSpPr/>
              <p:nvPr/>
            </p:nvSpPr>
            <p:spPr>
              <a:xfrm>
                <a:off x="6651284" y="3831120"/>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pPr algn="l" rtl="0"/>
                <a:endParaRPr lang="en-US"/>
              </a:p>
            </p:txBody>
          </p:sp>
          <p:sp>
            <p:nvSpPr>
              <p:cNvPr id="201" name="Freeform 200">
                <a:extLst>
                  <a:ext uri="{FF2B5EF4-FFF2-40B4-BE49-F238E27FC236}">
                    <a16:creationId xmlns:a16="http://schemas.microsoft.com/office/drawing/2014/main" id="{4D03E8EF-A4FF-1185-A3C5-C5D98E52A14D}"/>
                  </a:ext>
                </a:extLst>
              </p:cNvPr>
              <p:cNvSpPr/>
              <p:nvPr/>
            </p:nvSpPr>
            <p:spPr>
              <a:xfrm>
                <a:off x="6651284" y="3877747"/>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pPr algn="l" rtl="0"/>
                <a:endParaRPr lang="en-US"/>
              </a:p>
            </p:txBody>
          </p:sp>
          <p:sp>
            <p:nvSpPr>
              <p:cNvPr id="202" name="Freeform 201">
                <a:extLst>
                  <a:ext uri="{FF2B5EF4-FFF2-40B4-BE49-F238E27FC236}">
                    <a16:creationId xmlns:a16="http://schemas.microsoft.com/office/drawing/2014/main" id="{9C18147A-A4AD-A682-E050-3BB03DA57A62}"/>
                  </a:ext>
                </a:extLst>
              </p:cNvPr>
              <p:cNvSpPr/>
              <p:nvPr/>
            </p:nvSpPr>
            <p:spPr>
              <a:xfrm>
                <a:off x="6651284" y="392437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6"/>
                      <a:pt x="112453" y="0"/>
                      <a:pt x="106969" y="0"/>
                    </a:cubicBezTo>
                    <a:lnTo>
                      <a:pt x="10972" y="0"/>
                    </a:lnTo>
                    <a:cubicBezTo>
                      <a:pt x="5486" y="0"/>
                      <a:pt x="0" y="5486"/>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pPr algn="l" rtl="0"/>
                <a:endParaRPr lang="en-US"/>
              </a:p>
            </p:txBody>
          </p:sp>
          <p:sp>
            <p:nvSpPr>
              <p:cNvPr id="203" name="Freeform 202">
                <a:extLst>
                  <a:ext uri="{FF2B5EF4-FFF2-40B4-BE49-F238E27FC236}">
                    <a16:creationId xmlns:a16="http://schemas.microsoft.com/office/drawing/2014/main" id="{1D809CD9-0436-34BF-1189-8A477283FAA8}"/>
                  </a:ext>
                </a:extLst>
              </p:cNvPr>
              <p:cNvSpPr/>
              <p:nvPr/>
            </p:nvSpPr>
            <p:spPr>
              <a:xfrm>
                <a:off x="6840535" y="373512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pPr algn="l" rtl="0"/>
                <a:endParaRPr lang="en-US"/>
              </a:p>
            </p:txBody>
          </p:sp>
          <p:sp>
            <p:nvSpPr>
              <p:cNvPr id="204" name="Freeform 203">
                <a:extLst>
                  <a:ext uri="{FF2B5EF4-FFF2-40B4-BE49-F238E27FC236}">
                    <a16:creationId xmlns:a16="http://schemas.microsoft.com/office/drawing/2014/main" id="{726E6179-F415-F8ED-6117-30BC784EE39C}"/>
                  </a:ext>
                </a:extLst>
              </p:cNvPr>
              <p:cNvSpPr/>
              <p:nvPr/>
            </p:nvSpPr>
            <p:spPr>
              <a:xfrm>
                <a:off x="6840535" y="3784493"/>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6"/>
                      <a:pt x="117939" y="10971"/>
                    </a:cubicBezTo>
                    <a:cubicBezTo>
                      <a:pt x="117939" y="5485"/>
                      <a:pt x="112453" y="0"/>
                      <a:pt x="106967" y="0"/>
                    </a:cubicBezTo>
                    <a:lnTo>
                      <a:pt x="10970" y="0"/>
                    </a:lnTo>
                    <a:cubicBezTo>
                      <a:pt x="5484" y="0"/>
                      <a:pt x="0" y="5485"/>
                      <a:pt x="0" y="10971"/>
                    </a:cubicBezTo>
                    <a:cubicBezTo>
                      <a:pt x="0" y="16456"/>
                      <a:pt x="5484" y="21942"/>
                      <a:pt x="10970" y="21942"/>
                    </a:cubicBezTo>
                    <a:lnTo>
                      <a:pt x="10970" y="21942"/>
                    </a:lnTo>
                    <a:close/>
                  </a:path>
                </a:pathLst>
              </a:custGeom>
              <a:grpFill/>
              <a:ln w="27426" cap="flat">
                <a:noFill/>
                <a:prstDash val="solid"/>
                <a:miter/>
              </a:ln>
            </p:spPr>
            <p:txBody>
              <a:bodyPr rtlCol="0" anchor="ctr"/>
              <a:lstStyle/>
              <a:p>
                <a:pPr algn="l" rtl="0"/>
                <a:endParaRPr lang="en-US"/>
              </a:p>
            </p:txBody>
          </p:sp>
          <p:sp>
            <p:nvSpPr>
              <p:cNvPr id="205" name="Freeform 204">
                <a:extLst>
                  <a:ext uri="{FF2B5EF4-FFF2-40B4-BE49-F238E27FC236}">
                    <a16:creationId xmlns:a16="http://schemas.microsoft.com/office/drawing/2014/main" id="{E061A449-F223-F907-18E4-1B52A9A49D88}"/>
                  </a:ext>
                </a:extLst>
              </p:cNvPr>
              <p:cNvSpPr/>
              <p:nvPr/>
            </p:nvSpPr>
            <p:spPr>
              <a:xfrm>
                <a:off x="6840535" y="3831120"/>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pPr algn="l" rtl="0"/>
                <a:endParaRPr lang="en-US"/>
              </a:p>
            </p:txBody>
          </p:sp>
          <p:sp>
            <p:nvSpPr>
              <p:cNvPr id="206" name="Freeform 205">
                <a:extLst>
                  <a:ext uri="{FF2B5EF4-FFF2-40B4-BE49-F238E27FC236}">
                    <a16:creationId xmlns:a16="http://schemas.microsoft.com/office/drawing/2014/main" id="{BEFB7D4A-2368-35A6-1373-D6C78D9EDBAD}"/>
                  </a:ext>
                </a:extLst>
              </p:cNvPr>
              <p:cNvSpPr/>
              <p:nvPr/>
            </p:nvSpPr>
            <p:spPr>
              <a:xfrm>
                <a:off x="6840535" y="3877747"/>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pPr algn="l" rtl="0"/>
                <a:endParaRPr lang="en-US"/>
              </a:p>
            </p:txBody>
          </p:sp>
          <p:sp>
            <p:nvSpPr>
              <p:cNvPr id="207" name="Freeform 206">
                <a:extLst>
                  <a:ext uri="{FF2B5EF4-FFF2-40B4-BE49-F238E27FC236}">
                    <a16:creationId xmlns:a16="http://schemas.microsoft.com/office/drawing/2014/main" id="{8D1339B8-A5DF-7C9B-8513-EEF55BD22263}"/>
                  </a:ext>
                </a:extLst>
              </p:cNvPr>
              <p:cNvSpPr/>
              <p:nvPr/>
            </p:nvSpPr>
            <p:spPr>
              <a:xfrm>
                <a:off x="6840535" y="392437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6"/>
                      <a:pt x="112453" y="0"/>
                      <a:pt x="106967" y="0"/>
                    </a:cubicBezTo>
                    <a:lnTo>
                      <a:pt x="10970" y="0"/>
                    </a:lnTo>
                    <a:cubicBezTo>
                      <a:pt x="5484" y="0"/>
                      <a:pt x="0" y="5486"/>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pPr algn="l" rtl="0"/>
                <a:endParaRPr lang="en-US"/>
              </a:p>
            </p:txBody>
          </p:sp>
          <p:sp>
            <p:nvSpPr>
              <p:cNvPr id="208" name="Freeform 207">
                <a:extLst>
                  <a:ext uri="{FF2B5EF4-FFF2-40B4-BE49-F238E27FC236}">
                    <a16:creationId xmlns:a16="http://schemas.microsoft.com/office/drawing/2014/main" id="{87E3DC0F-7BA8-4FA0-1069-68F78E68C5D8}"/>
                  </a:ext>
                </a:extLst>
              </p:cNvPr>
              <p:cNvSpPr/>
              <p:nvPr/>
            </p:nvSpPr>
            <p:spPr>
              <a:xfrm>
                <a:off x="6673225" y="4138309"/>
                <a:ext cx="22655" cy="175537"/>
              </a:xfrm>
              <a:custGeom>
                <a:avLst/>
                <a:gdLst>
                  <a:gd name="connsiteX0" fmla="*/ 10972 w 22655"/>
                  <a:gd name="connsiteY0" fmla="*/ 0 h 175537"/>
                  <a:gd name="connsiteX1" fmla="*/ 0 w 22655"/>
                  <a:gd name="connsiteY1" fmla="*/ 10971 h 175537"/>
                  <a:gd name="connsiteX2" fmla="*/ 0 w 22655"/>
                  <a:gd name="connsiteY2" fmla="*/ 164566 h 175537"/>
                  <a:gd name="connsiteX3" fmla="*/ 10972 w 22655"/>
                  <a:gd name="connsiteY3" fmla="*/ 175537 h 175537"/>
                  <a:gd name="connsiteX4" fmla="*/ 21942 w 22655"/>
                  <a:gd name="connsiteY4" fmla="*/ 164566 h 175537"/>
                  <a:gd name="connsiteX5" fmla="*/ 21942 w 22655"/>
                  <a:gd name="connsiteY5" fmla="*/ 10971 h 175537"/>
                  <a:gd name="connsiteX6" fmla="*/ 10972 w 22655"/>
                  <a:gd name="connsiteY6" fmla="*/ 0 h 175537"/>
                  <a:gd name="connsiteX7" fmla="*/ 10972 w 22655"/>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55" h="175537">
                    <a:moveTo>
                      <a:pt x="10972" y="0"/>
                    </a:moveTo>
                    <a:cubicBezTo>
                      <a:pt x="5486" y="0"/>
                      <a:pt x="0" y="5485"/>
                      <a:pt x="0" y="10971"/>
                    </a:cubicBezTo>
                    <a:lnTo>
                      <a:pt x="0" y="164566"/>
                    </a:lnTo>
                    <a:cubicBezTo>
                      <a:pt x="0" y="170051"/>
                      <a:pt x="5486" y="175537"/>
                      <a:pt x="10972" y="175537"/>
                    </a:cubicBezTo>
                    <a:cubicBezTo>
                      <a:pt x="16458" y="175537"/>
                      <a:pt x="21942" y="170051"/>
                      <a:pt x="21942" y="164566"/>
                    </a:cubicBezTo>
                    <a:lnTo>
                      <a:pt x="21942" y="10971"/>
                    </a:lnTo>
                    <a:cubicBezTo>
                      <a:pt x="24686" y="5485"/>
                      <a:pt x="19200" y="0"/>
                      <a:pt x="10972" y="0"/>
                    </a:cubicBezTo>
                    <a:lnTo>
                      <a:pt x="10972" y="0"/>
                    </a:lnTo>
                    <a:close/>
                  </a:path>
                </a:pathLst>
              </a:custGeom>
              <a:grpFill/>
              <a:ln w="27426" cap="flat">
                <a:noFill/>
                <a:prstDash val="solid"/>
                <a:miter/>
              </a:ln>
            </p:spPr>
            <p:txBody>
              <a:bodyPr rtlCol="0" anchor="ctr"/>
              <a:lstStyle/>
              <a:p>
                <a:pPr algn="l" rtl="0"/>
                <a:endParaRPr lang="en-US"/>
              </a:p>
            </p:txBody>
          </p:sp>
          <p:sp>
            <p:nvSpPr>
              <p:cNvPr id="209" name="Freeform 208">
                <a:extLst>
                  <a:ext uri="{FF2B5EF4-FFF2-40B4-BE49-F238E27FC236}">
                    <a16:creationId xmlns:a16="http://schemas.microsoft.com/office/drawing/2014/main" id="{AB839EF7-BCA9-0881-0F05-AE32618DF175}"/>
                  </a:ext>
                </a:extLst>
              </p:cNvPr>
              <p:cNvSpPr/>
              <p:nvPr/>
            </p:nvSpPr>
            <p:spPr>
              <a:xfrm>
                <a:off x="6675969" y="433853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pPr algn="l" rtl="0"/>
                <a:endParaRPr lang="en-US"/>
              </a:p>
            </p:txBody>
          </p:sp>
          <p:sp>
            <p:nvSpPr>
              <p:cNvPr id="210" name="Freeform 209">
                <a:extLst>
                  <a:ext uri="{FF2B5EF4-FFF2-40B4-BE49-F238E27FC236}">
                    <a16:creationId xmlns:a16="http://schemas.microsoft.com/office/drawing/2014/main" id="{4B027190-B352-6F6C-8F49-9F0061AA9E12}"/>
                  </a:ext>
                </a:extLst>
              </p:cNvPr>
              <p:cNvSpPr/>
              <p:nvPr/>
            </p:nvSpPr>
            <p:spPr>
              <a:xfrm>
                <a:off x="6675969" y="438790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6"/>
                      <a:pt x="16456" y="21942"/>
                      <a:pt x="10970" y="21942"/>
                    </a:cubicBezTo>
                    <a:cubicBezTo>
                      <a:pt x="5484" y="21942"/>
                      <a:pt x="0" y="16456"/>
                      <a:pt x="0" y="10971"/>
                    </a:cubicBezTo>
                    <a:cubicBezTo>
                      <a:pt x="0" y="5485"/>
                      <a:pt x="5484" y="0"/>
                      <a:pt x="10970" y="0"/>
                    </a:cubicBezTo>
                    <a:cubicBezTo>
                      <a:pt x="16456" y="0"/>
                      <a:pt x="21942" y="2743"/>
                      <a:pt x="21942" y="10971"/>
                    </a:cubicBezTo>
                    <a:lnTo>
                      <a:pt x="21942" y="10971"/>
                    </a:lnTo>
                    <a:close/>
                  </a:path>
                </a:pathLst>
              </a:custGeom>
              <a:grpFill/>
              <a:ln w="27426" cap="flat">
                <a:noFill/>
                <a:prstDash val="solid"/>
                <a:miter/>
              </a:ln>
            </p:spPr>
            <p:txBody>
              <a:bodyPr rtlCol="0" anchor="ctr"/>
              <a:lstStyle/>
              <a:p>
                <a:pPr algn="l" rtl="0"/>
                <a:endParaRPr lang="en-US"/>
              </a:p>
            </p:txBody>
          </p:sp>
          <p:sp>
            <p:nvSpPr>
              <p:cNvPr id="211" name="Freeform 210">
                <a:extLst>
                  <a:ext uri="{FF2B5EF4-FFF2-40B4-BE49-F238E27FC236}">
                    <a16:creationId xmlns:a16="http://schemas.microsoft.com/office/drawing/2014/main" id="{DC2A80BE-70CA-0EBD-1FF4-FD16992217C2}"/>
                  </a:ext>
                </a:extLst>
              </p:cNvPr>
              <p:cNvSpPr/>
              <p:nvPr/>
            </p:nvSpPr>
            <p:spPr>
              <a:xfrm>
                <a:off x="6758252" y="4184936"/>
                <a:ext cx="21941" cy="175537"/>
              </a:xfrm>
              <a:custGeom>
                <a:avLst/>
                <a:gdLst>
                  <a:gd name="connsiteX0" fmla="*/ 10970 w 21941"/>
                  <a:gd name="connsiteY0" fmla="*/ 0 h 175537"/>
                  <a:gd name="connsiteX1" fmla="*/ 0 w 21941"/>
                  <a:gd name="connsiteY1" fmla="*/ 10971 h 175537"/>
                  <a:gd name="connsiteX2" fmla="*/ 0 w 21941"/>
                  <a:gd name="connsiteY2" fmla="*/ 164566 h 175537"/>
                  <a:gd name="connsiteX3" fmla="*/ 10970 w 21941"/>
                  <a:gd name="connsiteY3" fmla="*/ 175537 h 175537"/>
                  <a:gd name="connsiteX4" fmla="*/ 21942 w 21941"/>
                  <a:gd name="connsiteY4" fmla="*/ 164566 h 175537"/>
                  <a:gd name="connsiteX5" fmla="*/ 21942 w 21941"/>
                  <a:gd name="connsiteY5" fmla="*/ 10971 h 175537"/>
                  <a:gd name="connsiteX6" fmla="*/ 10970 w 21941"/>
                  <a:gd name="connsiteY6" fmla="*/ 0 h 175537"/>
                  <a:gd name="connsiteX7" fmla="*/ 10970 w 21941"/>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0"/>
                    </a:moveTo>
                    <a:cubicBezTo>
                      <a:pt x="5484" y="0"/>
                      <a:pt x="0" y="5486"/>
                      <a:pt x="0" y="10971"/>
                    </a:cubicBezTo>
                    <a:lnTo>
                      <a:pt x="0" y="164566"/>
                    </a:lnTo>
                    <a:cubicBezTo>
                      <a:pt x="0" y="170052"/>
                      <a:pt x="5484" y="175537"/>
                      <a:pt x="10970" y="175537"/>
                    </a:cubicBezTo>
                    <a:cubicBezTo>
                      <a:pt x="16456" y="175537"/>
                      <a:pt x="21942" y="170052"/>
                      <a:pt x="21942" y="164566"/>
                    </a:cubicBezTo>
                    <a:lnTo>
                      <a:pt x="21942" y="10971"/>
                    </a:lnTo>
                    <a:cubicBezTo>
                      <a:pt x="21942" y="5486"/>
                      <a:pt x="16456" y="0"/>
                      <a:pt x="10970" y="0"/>
                    </a:cubicBezTo>
                    <a:lnTo>
                      <a:pt x="10970" y="0"/>
                    </a:lnTo>
                    <a:close/>
                  </a:path>
                </a:pathLst>
              </a:custGeom>
              <a:grpFill/>
              <a:ln w="27426" cap="flat">
                <a:noFill/>
                <a:prstDash val="solid"/>
                <a:miter/>
              </a:ln>
            </p:spPr>
            <p:txBody>
              <a:bodyPr rtlCol="0" anchor="ctr"/>
              <a:lstStyle/>
              <a:p>
                <a:pPr algn="l" rtl="0"/>
                <a:endParaRPr lang="en-US"/>
              </a:p>
            </p:txBody>
          </p:sp>
          <p:sp>
            <p:nvSpPr>
              <p:cNvPr id="212" name="Freeform 211">
                <a:extLst>
                  <a:ext uri="{FF2B5EF4-FFF2-40B4-BE49-F238E27FC236}">
                    <a16:creationId xmlns:a16="http://schemas.microsoft.com/office/drawing/2014/main" id="{FA2F779C-3C34-1B38-6AFB-00D820A6DEE7}"/>
                  </a:ext>
                </a:extLst>
              </p:cNvPr>
              <p:cNvSpPr/>
              <p:nvPr/>
            </p:nvSpPr>
            <p:spPr>
              <a:xfrm>
                <a:off x="6758252" y="4387187"/>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4" y="22656"/>
                      <a:pt x="0" y="17170"/>
                      <a:pt x="0" y="11684"/>
                    </a:cubicBezTo>
                    <a:cubicBezTo>
                      <a:pt x="0" y="6199"/>
                      <a:pt x="5484" y="714"/>
                      <a:pt x="10970" y="714"/>
                    </a:cubicBezTo>
                    <a:cubicBezTo>
                      <a:pt x="16456" y="-2029"/>
                      <a:pt x="21942" y="3456"/>
                      <a:pt x="21942" y="11684"/>
                    </a:cubicBezTo>
                    <a:lnTo>
                      <a:pt x="21942" y="11684"/>
                    </a:lnTo>
                    <a:close/>
                  </a:path>
                </a:pathLst>
              </a:custGeom>
              <a:grpFill/>
              <a:ln w="27426" cap="flat">
                <a:noFill/>
                <a:prstDash val="solid"/>
                <a:miter/>
              </a:ln>
            </p:spPr>
            <p:txBody>
              <a:bodyPr rtlCol="0" anchor="ctr"/>
              <a:lstStyle/>
              <a:p>
                <a:pPr algn="l" rtl="0"/>
                <a:endParaRPr lang="en-US"/>
              </a:p>
            </p:txBody>
          </p:sp>
          <p:sp>
            <p:nvSpPr>
              <p:cNvPr id="213" name="Freeform 212">
                <a:extLst>
                  <a:ext uri="{FF2B5EF4-FFF2-40B4-BE49-F238E27FC236}">
                    <a16:creationId xmlns:a16="http://schemas.microsoft.com/office/drawing/2014/main" id="{44F13354-92E6-A32A-712E-18364FC56732}"/>
                  </a:ext>
                </a:extLst>
              </p:cNvPr>
              <p:cNvSpPr/>
              <p:nvPr/>
            </p:nvSpPr>
            <p:spPr>
              <a:xfrm>
                <a:off x="6840535" y="4234306"/>
                <a:ext cx="21941" cy="175537"/>
              </a:xfrm>
              <a:custGeom>
                <a:avLst/>
                <a:gdLst>
                  <a:gd name="connsiteX0" fmla="*/ 10970 w 21941"/>
                  <a:gd name="connsiteY0" fmla="*/ 175537 h 175537"/>
                  <a:gd name="connsiteX1" fmla="*/ 21942 w 21941"/>
                  <a:gd name="connsiteY1" fmla="*/ 164566 h 175537"/>
                  <a:gd name="connsiteX2" fmla="*/ 21942 w 21941"/>
                  <a:gd name="connsiteY2" fmla="*/ 10971 h 175537"/>
                  <a:gd name="connsiteX3" fmla="*/ 10970 w 21941"/>
                  <a:gd name="connsiteY3" fmla="*/ 0 h 175537"/>
                  <a:gd name="connsiteX4" fmla="*/ 0 w 21941"/>
                  <a:gd name="connsiteY4" fmla="*/ 10971 h 175537"/>
                  <a:gd name="connsiteX5" fmla="*/ 0 w 21941"/>
                  <a:gd name="connsiteY5" fmla="*/ 164566 h 175537"/>
                  <a:gd name="connsiteX6" fmla="*/ 10970 w 21941"/>
                  <a:gd name="connsiteY6" fmla="*/ 175537 h 175537"/>
                  <a:gd name="connsiteX7" fmla="*/ 10970 w 21941"/>
                  <a:gd name="connsiteY7" fmla="*/ 175537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175537"/>
                    </a:moveTo>
                    <a:cubicBezTo>
                      <a:pt x="16456" y="175537"/>
                      <a:pt x="21942" y="170051"/>
                      <a:pt x="21942" y="164566"/>
                    </a:cubicBezTo>
                    <a:lnTo>
                      <a:pt x="21942" y="10971"/>
                    </a:lnTo>
                    <a:cubicBezTo>
                      <a:pt x="21942" y="5485"/>
                      <a:pt x="16456" y="0"/>
                      <a:pt x="10970" y="0"/>
                    </a:cubicBezTo>
                    <a:cubicBezTo>
                      <a:pt x="5484" y="0"/>
                      <a:pt x="0" y="5485"/>
                      <a:pt x="0" y="10971"/>
                    </a:cubicBezTo>
                    <a:lnTo>
                      <a:pt x="0" y="164566"/>
                    </a:lnTo>
                    <a:cubicBezTo>
                      <a:pt x="0" y="170051"/>
                      <a:pt x="5484" y="175537"/>
                      <a:pt x="10970" y="175537"/>
                    </a:cubicBezTo>
                    <a:lnTo>
                      <a:pt x="10970" y="175537"/>
                    </a:lnTo>
                    <a:close/>
                  </a:path>
                </a:pathLst>
              </a:custGeom>
              <a:grpFill/>
              <a:ln w="27426" cap="flat">
                <a:noFill/>
                <a:prstDash val="solid"/>
                <a:miter/>
              </a:ln>
            </p:spPr>
            <p:txBody>
              <a:bodyPr rtlCol="0" anchor="ctr"/>
              <a:lstStyle/>
              <a:p>
                <a:pPr algn="l" rtl="0"/>
                <a:endParaRPr lang="en-US"/>
              </a:p>
            </p:txBody>
          </p:sp>
          <p:sp>
            <p:nvSpPr>
              <p:cNvPr id="214" name="Freeform 213">
                <a:extLst>
                  <a:ext uri="{FF2B5EF4-FFF2-40B4-BE49-F238E27FC236}">
                    <a16:creationId xmlns:a16="http://schemas.microsoft.com/office/drawing/2014/main" id="{69FC32FE-7EB0-2DBC-2518-C3C407AE0DC0}"/>
                  </a:ext>
                </a:extLst>
              </p:cNvPr>
              <p:cNvSpPr/>
              <p:nvPr/>
            </p:nvSpPr>
            <p:spPr>
              <a:xfrm>
                <a:off x="6840535"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pPr algn="l" rtl="0"/>
                <a:endParaRPr lang="en-US"/>
              </a:p>
            </p:txBody>
          </p:sp>
          <p:sp>
            <p:nvSpPr>
              <p:cNvPr id="216" name="Freeform 215">
                <a:extLst>
                  <a:ext uri="{FF2B5EF4-FFF2-40B4-BE49-F238E27FC236}">
                    <a16:creationId xmlns:a16="http://schemas.microsoft.com/office/drawing/2014/main" id="{73B3355F-184A-2BA6-252A-79E05F73C2DD}"/>
                  </a:ext>
                </a:extLst>
              </p:cNvPr>
              <p:cNvSpPr/>
              <p:nvPr/>
            </p:nvSpPr>
            <p:spPr>
              <a:xfrm>
                <a:off x="6758252"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pPr algn="l" rtl="0"/>
                <a:endParaRPr lang="en-US"/>
              </a:p>
            </p:txBody>
          </p:sp>
          <p:sp>
            <p:nvSpPr>
              <p:cNvPr id="217" name="Freeform 216">
                <a:extLst>
                  <a:ext uri="{FF2B5EF4-FFF2-40B4-BE49-F238E27FC236}">
                    <a16:creationId xmlns:a16="http://schemas.microsoft.com/office/drawing/2014/main" id="{E563FC3A-EC2E-9FE1-9B52-76C281CE631F}"/>
                  </a:ext>
                </a:extLst>
              </p:cNvPr>
              <p:cNvSpPr/>
              <p:nvPr/>
            </p:nvSpPr>
            <p:spPr>
              <a:xfrm>
                <a:off x="6675969"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pPr algn="l" rtl="0"/>
                <a:endParaRPr lang="en-US"/>
              </a:p>
            </p:txBody>
          </p:sp>
        </p:grpSp>
      </p:grpSp>
    </p:spTree>
    <p:extLst>
      <p:ext uri="{BB962C8B-B14F-4D97-AF65-F5344CB8AC3E}">
        <p14:creationId xmlns:p14="http://schemas.microsoft.com/office/powerpoint/2010/main" val="29080801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9" name="Straight Connector 238">
            <a:extLst>
              <a:ext uri="{FF2B5EF4-FFF2-40B4-BE49-F238E27FC236}">
                <a16:creationId xmlns:a16="http://schemas.microsoft.com/office/drawing/2014/main" id="{55D1B849-A361-EDCE-AAE4-2E2C0F176315}"/>
              </a:ext>
            </a:extLst>
          </p:cNvPr>
          <p:cNvCxnSpPr>
            <a:cxnSpLocks/>
          </p:cNvCxnSpPr>
          <p:nvPr/>
        </p:nvCxnSpPr>
        <p:spPr>
          <a:xfrm>
            <a:off x="4843463" y="2369453"/>
            <a:ext cx="2904096" cy="0"/>
          </a:xfrm>
          <a:prstGeom prst="line">
            <a:avLst/>
          </a:prstGeom>
          <a:ln w="28575">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A38E2B4D-A3A5-766C-E0C5-A8ADDDE791A3}"/>
              </a:ext>
            </a:extLst>
          </p:cNvPr>
          <p:cNvCxnSpPr>
            <a:cxnSpLocks/>
          </p:cNvCxnSpPr>
          <p:nvPr/>
        </p:nvCxnSpPr>
        <p:spPr>
          <a:xfrm>
            <a:off x="9307586" y="4578351"/>
            <a:ext cx="0" cy="1852638"/>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34" name="Group 233">
            <a:extLst>
              <a:ext uri="{FF2B5EF4-FFF2-40B4-BE49-F238E27FC236}">
                <a16:creationId xmlns:a16="http://schemas.microsoft.com/office/drawing/2014/main" id="{79E98455-C5BE-4147-CB8E-F73BF483ABA7}"/>
              </a:ext>
            </a:extLst>
          </p:cNvPr>
          <p:cNvGrpSpPr/>
          <p:nvPr/>
        </p:nvGrpSpPr>
        <p:grpSpPr>
          <a:xfrm>
            <a:off x="6223017" y="783310"/>
            <a:ext cx="5074312" cy="4710739"/>
            <a:chOff x="5723609" y="2120541"/>
            <a:chExt cx="3842397" cy="3567090"/>
          </a:xfrm>
        </p:grpSpPr>
        <p:sp>
          <p:nvSpPr>
            <p:cNvPr id="214" name="Freeform 25">
              <a:extLst>
                <a:ext uri="{FF2B5EF4-FFF2-40B4-BE49-F238E27FC236}">
                  <a16:creationId xmlns:a16="http://schemas.microsoft.com/office/drawing/2014/main" id="{975AECD0-309F-8FB0-E0BC-39DFA22A9221}"/>
                </a:ext>
              </a:extLst>
            </p:cNvPr>
            <p:cNvSpPr>
              <a:spLocks/>
            </p:cNvSpPr>
            <p:nvPr/>
          </p:nvSpPr>
          <p:spPr bwMode="auto">
            <a:xfrm>
              <a:off x="7147044" y="2120541"/>
              <a:ext cx="2418962" cy="2566212"/>
            </a:xfrm>
            <a:custGeom>
              <a:avLst/>
              <a:gdLst>
                <a:gd name="T0" fmla="*/ 453 w 958"/>
                <a:gd name="T1" fmla="*/ 0 h 1016"/>
                <a:gd name="T2" fmla="*/ 215 w 958"/>
                <a:gd name="T3" fmla="*/ 59 h 1016"/>
                <a:gd name="T4" fmla="*/ 304 w 958"/>
                <a:gd name="T5" fmla="*/ 119 h 1016"/>
                <a:gd name="T6" fmla="*/ 486 w 958"/>
                <a:gd name="T7" fmla="*/ 514 h 1016"/>
                <a:gd name="T8" fmla="*/ 410 w 958"/>
                <a:gd name="T9" fmla="*/ 778 h 1016"/>
                <a:gd name="T10" fmla="*/ 0 w 958"/>
                <a:gd name="T11" fmla="*/ 732 h 1016"/>
                <a:gd name="T12" fmla="*/ 209 w 958"/>
                <a:gd name="T13" fmla="*/ 960 h 1016"/>
                <a:gd name="T14" fmla="*/ 454 w 958"/>
                <a:gd name="T15" fmla="*/ 1016 h 1016"/>
                <a:gd name="T16" fmla="*/ 722 w 958"/>
                <a:gd name="T17" fmla="*/ 933 h 1016"/>
                <a:gd name="T18" fmla="*/ 958 w 958"/>
                <a:gd name="T19" fmla="*/ 505 h 1016"/>
                <a:gd name="T20" fmla="*/ 453 w 958"/>
                <a:gd name="T21" fmla="*/ 0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8" h="1016">
                  <a:moveTo>
                    <a:pt x="453" y="0"/>
                  </a:moveTo>
                  <a:cubicBezTo>
                    <a:pt x="367" y="0"/>
                    <a:pt x="286" y="22"/>
                    <a:pt x="215" y="59"/>
                  </a:cubicBezTo>
                  <a:cubicBezTo>
                    <a:pt x="247" y="76"/>
                    <a:pt x="276" y="96"/>
                    <a:pt x="304" y="119"/>
                  </a:cubicBezTo>
                  <a:cubicBezTo>
                    <a:pt x="416" y="212"/>
                    <a:pt x="497" y="358"/>
                    <a:pt x="486" y="514"/>
                  </a:cubicBezTo>
                  <a:cubicBezTo>
                    <a:pt x="480" y="602"/>
                    <a:pt x="481" y="677"/>
                    <a:pt x="410" y="778"/>
                  </a:cubicBezTo>
                  <a:cubicBezTo>
                    <a:pt x="154" y="1002"/>
                    <a:pt x="0" y="732"/>
                    <a:pt x="0" y="732"/>
                  </a:cubicBezTo>
                  <a:cubicBezTo>
                    <a:pt x="27" y="877"/>
                    <a:pt x="209" y="960"/>
                    <a:pt x="209" y="960"/>
                  </a:cubicBezTo>
                  <a:cubicBezTo>
                    <a:pt x="278" y="996"/>
                    <a:pt x="370" y="1016"/>
                    <a:pt x="454" y="1016"/>
                  </a:cubicBezTo>
                  <a:cubicBezTo>
                    <a:pt x="553" y="1016"/>
                    <a:pt x="644" y="982"/>
                    <a:pt x="722" y="933"/>
                  </a:cubicBezTo>
                  <a:cubicBezTo>
                    <a:pt x="864" y="843"/>
                    <a:pt x="958" y="685"/>
                    <a:pt x="958" y="505"/>
                  </a:cubicBezTo>
                  <a:cubicBezTo>
                    <a:pt x="958" y="226"/>
                    <a:pt x="732" y="0"/>
                    <a:pt x="453" y="0"/>
                  </a:cubicBezTo>
                  <a:close/>
                </a:path>
              </a:pathLst>
            </a:custGeom>
            <a:solidFill>
              <a:srgbClr val="B41F7A"/>
            </a:solidFill>
            <a:ln>
              <a:noFill/>
            </a:ln>
            <a:effectLst/>
          </p:spPr>
          <p:txBody>
            <a:bodyPr vert="horz" wrap="square" lIns="109559" tIns="54779" rIns="109559" bIns="54779" numCol="1" anchor="t" anchorCtr="0" compatLnSpc="1">
              <a:prstTxWarp prst="textNoShape">
                <a:avLst/>
              </a:prstTxWarp>
            </a:bodyPr>
            <a:lstStyle/>
            <a:p>
              <a:pPr algn="l" rtl="0"/>
              <a:endParaRPr lang="en-GB" sz="1400" dirty="0">
                <a:latin typeface="+mj-lt"/>
              </a:endParaRPr>
            </a:p>
          </p:txBody>
        </p:sp>
        <p:sp>
          <p:nvSpPr>
            <p:cNvPr id="216" name="Freeform 26">
              <a:extLst>
                <a:ext uri="{FF2B5EF4-FFF2-40B4-BE49-F238E27FC236}">
                  <a16:creationId xmlns:a16="http://schemas.microsoft.com/office/drawing/2014/main" id="{B1A00E6D-7C24-60E8-D207-779077230C19}"/>
                </a:ext>
              </a:extLst>
            </p:cNvPr>
            <p:cNvSpPr>
              <a:spLocks noEditPoints="1"/>
            </p:cNvSpPr>
            <p:nvPr/>
          </p:nvSpPr>
          <p:spPr bwMode="auto">
            <a:xfrm>
              <a:off x="5839232" y="2131212"/>
              <a:ext cx="2571548" cy="2381616"/>
            </a:xfrm>
            <a:custGeom>
              <a:avLst/>
              <a:gdLst>
                <a:gd name="T0" fmla="*/ 692 w 1018"/>
                <a:gd name="T1" fmla="*/ 395 h 943"/>
                <a:gd name="T2" fmla="*/ 694 w 1018"/>
                <a:gd name="T3" fmla="*/ 397 h 943"/>
                <a:gd name="T4" fmla="*/ 694 w 1018"/>
                <a:gd name="T5" fmla="*/ 397 h 943"/>
                <a:gd name="T6" fmla="*/ 739 w 1018"/>
                <a:gd name="T7" fmla="*/ 393 h 943"/>
                <a:gd name="T8" fmla="*/ 972 w 1018"/>
                <a:gd name="T9" fmla="*/ 627 h 943"/>
                <a:gd name="T10" fmla="*/ 872 w 1018"/>
                <a:gd name="T11" fmla="*/ 818 h 943"/>
                <a:gd name="T12" fmla="*/ 872 w 1018"/>
                <a:gd name="T13" fmla="*/ 818 h 943"/>
                <a:gd name="T14" fmla="*/ 931 w 1018"/>
                <a:gd name="T15" fmla="*/ 774 h 943"/>
                <a:gd name="T16" fmla="*/ 1007 w 1018"/>
                <a:gd name="T17" fmla="*/ 510 h 943"/>
                <a:gd name="T18" fmla="*/ 825 w 1018"/>
                <a:gd name="T19" fmla="*/ 115 h 943"/>
                <a:gd name="T20" fmla="*/ 736 w 1018"/>
                <a:gd name="T21" fmla="*/ 55 h 943"/>
                <a:gd name="T22" fmla="*/ 735 w 1018"/>
                <a:gd name="T23" fmla="*/ 56 h 943"/>
                <a:gd name="T24" fmla="*/ 504 w 1018"/>
                <a:gd name="T25" fmla="*/ 0 h 943"/>
                <a:gd name="T26" fmla="*/ 0 w 1018"/>
                <a:gd name="T27" fmla="*/ 504 h 943"/>
                <a:gd name="T28" fmla="*/ 237 w 1018"/>
                <a:gd name="T29" fmla="*/ 932 h 943"/>
                <a:gd name="T30" fmla="*/ 257 w 1018"/>
                <a:gd name="T31" fmla="*/ 943 h 943"/>
                <a:gd name="T32" fmla="*/ 255 w 1018"/>
                <a:gd name="T33" fmla="*/ 898 h 943"/>
                <a:gd name="T34" fmla="*/ 692 w 1018"/>
                <a:gd name="T35" fmla="*/ 395 h 943"/>
                <a:gd name="T36" fmla="*/ 963 w 1018"/>
                <a:gd name="T37" fmla="*/ 713 h 943"/>
                <a:gd name="T38" fmla="*/ 963 w 1018"/>
                <a:gd name="T39" fmla="*/ 714 h 943"/>
                <a:gd name="T40" fmla="*/ 963 w 1018"/>
                <a:gd name="T41" fmla="*/ 713 h 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18" h="943">
                  <a:moveTo>
                    <a:pt x="692" y="395"/>
                  </a:moveTo>
                  <a:cubicBezTo>
                    <a:pt x="692" y="395"/>
                    <a:pt x="694" y="397"/>
                    <a:pt x="694" y="397"/>
                  </a:cubicBezTo>
                  <a:cubicBezTo>
                    <a:pt x="694" y="397"/>
                    <a:pt x="694" y="397"/>
                    <a:pt x="694" y="397"/>
                  </a:cubicBezTo>
                  <a:cubicBezTo>
                    <a:pt x="708" y="394"/>
                    <a:pt x="723" y="393"/>
                    <a:pt x="739" y="393"/>
                  </a:cubicBezTo>
                  <a:cubicBezTo>
                    <a:pt x="868" y="393"/>
                    <a:pt x="972" y="498"/>
                    <a:pt x="972" y="627"/>
                  </a:cubicBezTo>
                  <a:cubicBezTo>
                    <a:pt x="972" y="706"/>
                    <a:pt x="933" y="776"/>
                    <a:pt x="872" y="818"/>
                  </a:cubicBezTo>
                  <a:cubicBezTo>
                    <a:pt x="872" y="818"/>
                    <a:pt x="872" y="818"/>
                    <a:pt x="872" y="818"/>
                  </a:cubicBezTo>
                  <a:cubicBezTo>
                    <a:pt x="891" y="806"/>
                    <a:pt x="911" y="792"/>
                    <a:pt x="931" y="774"/>
                  </a:cubicBezTo>
                  <a:cubicBezTo>
                    <a:pt x="1002" y="673"/>
                    <a:pt x="1001" y="598"/>
                    <a:pt x="1007" y="510"/>
                  </a:cubicBezTo>
                  <a:cubicBezTo>
                    <a:pt x="1018" y="354"/>
                    <a:pt x="937" y="208"/>
                    <a:pt x="825" y="115"/>
                  </a:cubicBezTo>
                  <a:cubicBezTo>
                    <a:pt x="797" y="92"/>
                    <a:pt x="768" y="72"/>
                    <a:pt x="736" y="55"/>
                  </a:cubicBezTo>
                  <a:cubicBezTo>
                    <a:pt x="735" y="56"/>
                    <a:pt x="735" y="56"/>
                    <a:pt x="735" y="56"/>
                  </a:cubicBezTo>
                  <a:cubicBezTo>
                    <a:pt x="666" y="20"/>
                    <a:pt x="588" y="0"/>
                    <a:pt x="504" y="0"/>
                  </a:cubicBezTo>
                  <a:cubicBezTo>
                    <a:pt x="226" y="0"/>
                    <a:pt x="0" y="226"/>
                    <a:pt x="0" y="504"/>
                  </a:cubicBezTo>
                  <a:cubicBezTo>
                    <a:pt x="0" y="685"/>
                    <a:pt x="95" y="843"/>
                    <a:pt x="237" y="932"/>
                  </a:cubicBezTo>
                  <a:cubicBezTo>
                    <a:pt x="244" y="936"/>
                    <a:pt x="250" y="940"/>
                    <a:pt x="257" y="943"/>
                  </a:cubicBezTo>
                  <a:cubicBezTo>
                    <a:pt x="256" y="928"/>
                    <a:pt x="255" y="913"/>
                    <a:pt x="255" y="898"/>
                  </a:cubicBezTo>
                  <a:cubicBezTo>
                    <a:pt x="255" y="643"/>
                    <a:pt x="449" y="433"/>
                    <a:pt x="692" y="395"/>
                  </a:cubicBezTo>
                  <a:close/>
                  <a:moveTo>
                    <a:pt x="963" y="713"/>
                  </a:moveTo>
                  <a:cubicBezTo>
                    <a:pt x="963" y="714"/>
                    <a:pt x="963" y="714"/>
                    <a:pt x="963" y="714"/>
                  </a:cubicBezTo>
                  <a:cubicBezTo>
                    <a:pt x="963" y="714"/>
                    <a:pt x="963" y="713"/>
                    <a:pt x="963" y="713"/>
                  </a:cubicBezTo>
                  <a:close/>
                </a:path>
              </a:pathLst>
            </a:custGeom>
            <a:solidFill>
              <a:srgbClr val="7F1C58"/>
            </a:solidFill>
            <a:ln>
              <a:noFill/>
            </a:ln>
            <a:effectLst/>
          </p:spPr>
          <p:txBody>
            <a:bodyPr vert="horz" wrap="square" lIns="109559" tIns="54779" rIns="109559" bIns="54779" numCol="1" anchor="t" anchorCtr="0" compatLnSpc="1">
              <a:prstTxWarp prst="textNoShape">
                <a:avLst/>
              </a:prstTxWarp>
            </a:bodyPr>
            <a:lstStyle/>
            <a:p>
              <a:pPr algn="l" rtl="0"/>
              <a:endParaRPr lang="en-GB" sz="1400" dirty="0">
                <a:solidFill>
                  <a:srgbClr val="7F1C58"/>
                </a:solidFill>
                <a:latin typeface="+mj-lt"/>
              </a:endParaRPr>
            </a:p>
          </p:txBody>
        </p:sp>
        <p:sp>
          <p:nvSpPr>
            <p:cNvPr id="217" name="Freeform 27">
              <a:extLst>
                <a:ext uri="{FF2B5EF4-FFF2-40B4-BE49-F238E27FC236}">
                  <a16:creationId xmlns:a16="http://schemas.microsoft.com/office/drawing/2014/main" id="{BE1F919D-8161-BB31-4741-CF92A69BA61F}"/>
                </a:ext>
              </a:extLst>
            </p:cNvPr>
            <p:cNvSpPr>
              <a:spLocks/>
            </p:cNvSpPr>
            <p:nvPr/>
          </p:nvSpPr>
          <p:spPr bwMode="auto">
            <a:xfrm>
              <a:off x="6474814" y="3128888"/>
              <a:ext cx="2576882" cy="2558743"/>
            </a:xfrm>
            <a:custGeom>
              <a:avLst/>
              <a:gdLst>
                <a:gd name="T0" fmla="*/ 325 w 1020"/>
                <a:gd name="T1" fmla="*/ 421 h 1013"/>
                <a:gd name="T2" fmla="*/ 249 w 1020"/>
                <a:gd name="T3" fmla="*/ 230 h 1013"/>
                <a:gd name="T4" fmla="*/ 439 w 1020"/>
                <a:gd name="T5" fmla="*/ 2 h 1013"/>
                <a:gd name="T6" fmla="*/ 437 w 1020"/>
                <a:gd name="T7" fmla="*/ 0 h 1013"/>
                <a:gd name="T8" fmla="*/ 0 w 1020"/>
                <a:gd name="T9" fmla="*/ 503 h 1013"/>
                <a:gd name="T10" fmla="*/ 510 w 1020"/>
                <a:gd name="T11" fmla="*/ 1013 h 1013"/>
                <a:gd name="T12" fmla="*/ 1020 w 1020"/>
                <a:gd name="T13" fmla="*/ 503 h 1013"/>
                <a:gd name="T14" fmla="*/ 325 w 1020"/>
                <a:gd name="T15" fmla="*/ 421 h 10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0" h="1013">
                  <a:moveTo>
                    <a:pt x="325" y="421"/>
                  </a:moveTo>
                  <a:cubicBezTo>
                    <a:pt x="325" y="421"/>
                    <a:pt x="249" y="349"/>
                    <a:pt x="249" y="230"/>
                  </a:cubicBezTo>
                  <a:cubicBezTo>
                    <a:pt x="249" y="116"/>
                    <a:pt x="322" y="34"/>
                    <a:pt x="439" y="2"/>
                  </a:cubicBezTo>
                  <a:cubicBezTo>
                    <a:pt x="439" y="2"/>
                    <a:pt x="437" y="0"/>
                    <a:pt x="437" y="0"/>
                  </a:cubicBezTo>
                  <a:cubicBezTo>
                    <a:pt x="194" y="38"/>
                    <a:pt x="0" y="248"/>
                    <a:pt x="0" y="503"/>
                  </a:cubicBezTo>
                  <a:cubicBezTo>
                    <a:pt x="0" y="785"/>
                    <a:pt x="228" y="1013"/>
                    <a:pt x="510" y="1013"/>
                  </a:cubicBezTo>
                  <a:cubicBezTo>
                    <a:pt x="792" y="1013"/>
                    <a:pt x="1020" y="785"/>
                    <a:pt x="1020" y="503"/>
                  </a:cubicBezTo>
                  <a:cubicBezTo>
                    <a:pt x="1020" y="503"/>
                    <a:pt x="679" y="804"/>
                    <a:pt x="325" y="421"/>
                  </a:cubicBezTo>
                  <a:close/>
                </a:path>
              </a:pathLst>
            </a:custGeom>
            <a:solidFill>
              <a:srgbClr val="F16924"/>
            </a:solidFill>
            <a:ln>
              <a:noFill/>
            </a:ln>
            <a:effectLst/>
          </p:spPr>
          <p:txBody>
            <a:bodyPr vert="horz" wrap="square" lIns="109559" tIns="54779" rIns="109559" bIns="54779" numCol="1" anchor="t" anchorCtr="0" compatLnSpc="1">
              <a:prstTxWarp prst="textNoShape">
                <a:avLst/>
              </a:prstTxWarp>
            </a:bodyPr>
            <a:lstStyle/>
            <a:p>
              <a:pPr algn="l" rtl="0"/>
              <a:endParaRPr lang="en-GB" sz="1400" dirty="0">
                <a:latin typeface="+mj-lt"/>
              </a:endParaRPr>
            </a:p>
          </p:txBody>
        </p:sp>
        <p:sp>
          <p:nvSpPr>
            <p:cNvPr id="220" name="TextBox 30">
              <a:extLst>
                <a:ext uri="{FF2B5EF4-FFF2-40B4-BE49-F238E27FC236}">
                  <a16:creationId xmlns:a16="http://schemas.microsoft.com/office/drawing/2014/main" id="{075F6B6C-75EE-2B56-BFB8-6E9B36796DCB}"/>
                </a:ext>
              </a:extLst>
            </p:cNvPr>
            <p:cNvSpPr txBox="1"/>
            <p:nvPr/>
          </p:nvSpPr>
          <p:spPr>
            <a:xfrm>
              <a:off x="6752782" y="4810913"/>
              <a:ext cx="1209076" cy="349584"/>
            </a:xfrm>
            <a:prstGeom prst="rect">
              <a:avLst/>
            </a:prstGeom>
            <a:noFill/>
          </p:spPr>
          <p:txBody>
            <a:bodyPr wrap="none" rtlCol="0" anchor="t" anchorCtr="0">
              <a:spAutoFit/>
            </a:bodyPr>
            <a:lstStyle/>
            <a:p>
              <a:pPr algn="ctr" rtl="0"/>
              <a:r>
                <a:rPr lang="en-GB" sz="2400" dirty="0">
                  <a:solidFill>
                    <a:schemeClr val="bg1"/>
                  </a:solidFill>
                  <a:ea typeface="League Spartan" charset="0"/>
                  <a:cs typeface="Poppins" pitchFamily="2" charset="77"/>
                </a:rPr>
                <a:t>Confianza</a:t>
              </a:r>
            </a:p>
          </p:txBody>
        </p:sp>
        <p:sp>
          <p:nvSpPr>
            <p:cNvPr id="222" name="TextBox 32">
              <a:extLst>
                <a:ext uri="{FF2B5EF4-FFF2-40B4-BE49-F238E27FC236}">
                  <a16:creationId xmlns:a16="http://schemas.microsoft.com/office/drawing/2014/main" id="{78EA9368-01A1-A33D-1F37-17F1B298879C}"/>
                </a:ext>
              </a:extLst>
            </p:cNvPr>
            <p:cNvSpPr txBox="1"/>
            <p:nvPr/>
          </p:nvSpPr>
          <p:spPr>
            <a:xfrm>
              <a:off x="6067912" y="2831837"/>
              <a:ext cx="937468" cy="349584"/>
            </a:xfrm>
            <a:prstGeom prst="rect">
              <a:avLst/>
            </a:prstGeom>
            <a:noFill/>
          </p:spPr>
          <p:txBody>
            <a:bodyPr wrap="none" rtlCol="0" anchor="t" anchorCtr="0">
              <a:spAutoFit/>
            </a:bodyPr>
            <a:lstStyle/>
            <a:p>
              <a:pPr algn="ctr" rtl="0"/>
              <a:r>
                <a:rPr lang="en-GB" sz="2400" dirty="0">
                  <a:solidFill>
                    <a:schemeClr val="bg1"/>
                  </a:solidFill>
                  <a:ea typeface="League Spartan" charset="0"/>
                  <a:cs typeface="Poppins" pitchFamily="2" charset="77"/>
                </a:rPr>
                <a:t>Integridad</a:t>
              </a:r>
            </a:p>
          </p:txBody>
        </p:sp>
        <p:sp>
          <p:nvSpPr>
            <p:cNvPr id="223" name="TextBox 30">
              <a:extLst>
                <a:ext uri="{FF2B5EF4-FFF2-40B4-BE49-F238E27FC236}">
                  <a16:creationId xmlns:a16="http://schemas.microsoft.com/office/drawing/2014/main" id="{1EB8FFD5-3C97-6D9E-14E5-A53DC97D104D}"/>
                </a:ext>
              </a:extLst>
            </p:cNvPr>
            <p:cNvSpPr txBox="1"/>
            <p:nvPr/>
          </p:nvSpPr>
          <p:spPr>
            <a:xfrm>
              <a:off x="8306238" y="2972024"/>
              <a:ext cx="1082518" cy="349584"/>
            </a:xfrm>
            <a:prstGeom prst="rect">
              <a:avLst/>
            </a:prstGeom>
            <a:noFill/>
          </p:spPr>
          <p:txBody>
            <a:bodyPr wrap="square" rtlCol="0" anchor="t" anchorCtr="0">
              <a:spAutoFit/>
            </a:bodyPr>
            <a:lstStyle/>
            <a:p>
              <a:pPr algn="ctr" rtl="0"/>
              <a:r>
                <a:rPr lang="en-GB" sz="2400" b="1" dirty="0">
                  <a:solidFill>
                    <a:schemeClr val="bg1"/>
                  </a:solidFill>
                  <a:latin typeface="+mj-lt"/>
                  <a:ea typeface="League Spartan" charset="0"/>
                  <a:cs typeface="Poppins" pitchFamily="2" charset="77"/>
                </a:rPr>
                <a:t>Confianza</a:t>
              </a:r>
            </a:p>
          </p:txBody>
        </p:sp>
        <p:sp>
          <p:nvSpPr>
            <p:cNvPr id="224" name="Text Placeholder 23">
              <a:extLst>
                <a:ext uri="{FF2B5EF4-FFF2-40B4-BE49-F238E27FC236}">
                  <a16:creationId xmlns:a16="http://schemas.microsoft.com/office/drawing/2014/main" id="{EE15E1E8-6D95-7C6B-0E97-0CE04F4FAB4C}"/>
                </a:ext>
              </a:extLst>
            </p:cNvPr>
            <p:cNvSpPr txBox="1">
              <a:spLocks/>
            </p:cNvSpPr>
            <p:nvPr/>
          </p:nvSpPr>
          <p:spPr>
            <a:xfrm>
              <a:off x="8243168" y="2409159"/>
              <a:ext cx="1145587" cy="606056"/>
            </a:xfrm>
            <a:prstGeom prst="rect">
              <a:avLst/>
            </a:prstGeom>
            <a:noFill/>
          </p:spPr>
          <p:txBody>
            <a:bodyPr anchor="t">
              <a:normAutofit/>
            </a:bodyPr>
            <a:lstStyle>
              <a:lvl1pPr marL="0" indent="0" algn="ctr" defTabSz="914400" rtl="0" eaLnBrk="1" latinLnBrk="0" hangingPunct="1">
                <a:lnSpc>
                  <a:spcPct val="90000"/>
                </a:lnSpc>
                <a:spcBef>
                  <a:spcPts val="1000"/>
                </a:spcBef>
                <a:buFont typeface="Arial" panose="020B0604020202020204" pitchFamily="34" charset="0"/>
                <a:buNone/>
                <a:defRPr sz="360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sz="4800" dirty="0"/>
                <a:t>01</a:t>
              </a:r>
            </a:p>
          </p:txBody>
        </p:sp>
        <p:sp>
          <p:nvSpPr>
            <p:cNvPr id="225" name="Text Placeholder 23">
              <a:extLst>
                <a:ext uri="{FF2B5EF4-FFF2-40B4-BE49-F238E27FC236}">
                  <a16:creationId xmlns:a16="http://schemas.microsoft.com/office/drawing/2014/main" id="{04AAA269-65C3-1721-1B31-E444E9496841}"/>
                </a:ext>
              </a:extLst>
            </p:cNvPr>
            <p:cNvSpPr txBox="1">
              <a:spLocks/>
            </p:cNvSpPr>
            <p:nvPr/>
          </p:nvSpPr>
          <p:spPr>
            <a:xfrm>
              <a:off x="7833569" y="4708555"/>
              <a:ext cx="1154422" cy="857158"/>
            </a:xfrm>
            <a:prstGeom prst="rect">
              <a:avLst/>
            </a:prstGeom>
            <a:noFill/>
          </p:spPr>
          <p:txBody>
            <a:bodyPr anchor="t">
              <a:normAutofit/>
            </a:bodyPr>
            <a:lstStyle>
              <a:lvl1pPr marL="0" indent="0" algn="ctr" defTabSz="914400" rtl="0" eaLnBrk="1" latinLnBrk="0" hangingPunct="1">
                <a:lnSpc>
                  <a:spcPct val="90000"/>
                </a:lnSpc>
                <a:spcBef>
                  <a:spcPts val="1000"/>
                </a:spcBef>
                <a:buFont typeface="Arial" panose="020B0604020202020204" pitchFamily="34" charset="0"/>
                <a:buNone/>
                <a:defRPr sz="360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sz="4800" dirty="0"/>
                <a:t>02</a:t>
              </a:r>
            </a:p>
          </p:txBody>
        </p:sp>
        <p:sp>
          <p:nvSpPr>
            <p:cNvPr id="226" name="Text Placeholder 23">
              <a:extLst>
                <a:ext uri="{FF2B5EF4-FFF2-40B4-BE49-F238E27FC236}">
                  <a16:creationId xmlns:a16="http://schemas.microsoft.com/office/drawing/2014/main" id="{6B8E3B7A-5139-4DFC-3D3F-9E93B9875A34}"/>
                </a:ext>
              </a:extLst>
            </p:cNvPr>
            <p:cNvSpPr txBox="1">
              <a:spLocks/>
            </p:cNvSpPr>
            <p:nvPr/>
          </p:nvSpPr>
          <p:spPr>
            <a:xfrm>
              <a:off x="5723609" y="3315218"/>
              <a:ext cx="1154422" cy="857158"/>
            </a:xfrm>
            <a:prstGeom prst="rect">
              <a:avLst/>
            </a:prstGeom>
            <a:noFill/>
          </p:spPr>
          <p:txBody>
            <a:bodyPr anchor="t">
              <a:normAutofit/>
            </a:bodyPr>
            <a:lstStyle>
              <a:lvl1pPr marL="0" indent="0" algn="ctr" defTabSz="914400" rtl="0" eaLnBrk="1" latinLnBrk="0" hangingPunct="1">
                <a:lnSpc>
                  <a:spcPct val="90000"/>
                </a:lnSpc>
                <a:spcBef>
                  <a:spcPts val="1000"/>
                </a:spcBef>
                <a:buFont typeface="Arial" panose="020B0604020202020204" pitchFamily="34" charset="0"/>
                <a:buNone/>
                <a:defRPr sz="360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sz="4800" dirty="0"/>
                <a:t>03</a:t>
              </a:r>
            </a:p>
          </p:txBody>
        </p:sp>
        <p:cxnSp>
          <p:nvCxnSpPr>
            <p:cNvPr id="228" name="Straight Connector 227">
              <a:extLst>
                <a:ext uri="{FF2B5EF4-FFF2-40B4-BE49-F238E27FC236}">
                  <a16:creationId xmlns:a16="http://schemas.microsoft.com/office/drawing/2014/main" id="{05DB572C-C7C1-8520-7248-1AEB897C8069}"/>
                </a:ext>
              </a:extLst>
            </p:cNvPr>
            <p:cNvCxnSpPr>
              <a:cxnSpLocks/>
            </p:cNvCxnSpPr>
            <p:nvPr/>
          </p:nvCxnSpPr>
          <p:spPr>
            <a:xfrm>
              <a:off x="8337612" y="2928833"/>
              <a:ext cx="1145586"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13A86B69-B7CB-91C3-ECBC-F549C1FAFE52}"/>
                </a:ext>
              </a:extLst>
            </p:cNvPr>
            <p:cNvCxnSpPr>
              <a:cxnSpLocks/>
            </p:cNvCxnSpPr>
            <p:nvPr/>
          </p:nvCxnSpPr>
          <p:spPr>
            <a:xfrm>
              <a:off x="8048503" y="4647114"/>
              <a:ext cx="0" cy="1040517"/>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E7DDF3B5-98EC-E298-F8BB-71CDD8B9D12B}"/>
                </a:ext>
              </a:extLst>
            </p:cNvPr>
            <p:cNvCxnSpPr>
              <a:cxnSpLocks/>
            </p:cNvCxnSpPr>
            <p:nvPr/>
          </p:nvCxnSpPr>
          <p:spPr>
            <a:xfrm>
              <a:off x="5839232" y="3323067"/>
              <a:ext cx="1145586"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236" name="Oval 235">
            <a:extLst>
              <a:ext uri="{FF2B5EF4-FFF2-40B4-BE49-F238E27FC236}">
                <a16:creationId xmlns:a16="http://schemas.microsoft.com/office/drawing/2014/main" id="{4931CE26-D356-6A6D-9999-9A42103EE576}"/>
              </a:ext>
            </a:extLst>
          </p:cNvPr>
          <p:cNvSpPr/>
          <p:nvPr/>
        </p:nvSpPr>
        <p:spPr>
          <a:xfrm>
            <a:off x="7844866" y="1913973"/>
            <a:ext cx="2229013" cy="22290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32" name="Rectangle 331">
            <a:extLst>
              <a:ext uri="{FF2B5EF4-FFF2-40B4-BE49-F238E27FC236}">
                <a16:creationId xmlns:a16="http://schemas.microsoft.com/office/drawing/2014/main" id="{4AD1CC34-EF04-776A-97D1-6B2C495C81FB}"/>
              </a:ext>
            </a:extLst>
          </p:cNvPr>
          <p:cNvSpPr/>
          <p:nvPr/>
        </p:nvSpPr>
        <p:spPr>
          <a:xfrm>
            <a:off x="0" y="0"/>
            <a:ext cx="4348375"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536403" y="430173"/>
            <a:ext cx="3526480" cy="574325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dirty="0">
                <a:solidFill>
                  <a:schemeClr val="bg1"/>
                </a:solidFill>
              </a:rPr>
              <a:t>Liderazgo a través del carisma</a:t>
            </a:r>
          </a:p>
          <a:p>
            <a:pPr algn="l" rtl="0"/>
            <a:endParaRPr lang="en-US" dirty="0">
              <a:solidFill>
                <a:schemeClr val="bg1"/>
              </a:solidFill>
            </a:endParaRPr>
          </a:p>
          <a:p>
            <a:pPr algn="l" rtl="0">
              <a:lnSpc>
                <a:spcPts val="2240"/>
              </a:lnSpc>
              <a:spcBef>
                <a:spcPts val="0"/>
              </a:spcBef>
            </a:pPr>
            <a:r>
              <a:rPr lang="en-US" sz="2200" dirty="0">
                <a:solidFill>
                  <a:schemeClr val="bg1"/>
                </a:solidFill>
              </a:rPr>
              <a:t>El carisma es particularmente necesario en la gestión empresarial cuando la incertidumbre, el cambio, la crisis, el desafío (o incluso una oportunidad extraordinaria) son inminentes.</a:t>
            </a:r>
          </a:p>
          <a:p>
            <a:pPr algn="l" rtl="0"/>
            <a:r>
              <a:rPr lang="en-US" dirty="0">
                <a:solidFill>
                  <a:schemeClr val="bg1"/>
                </a:solidFill>
              </a:rPr>
              <a:t> </a:t>
            </a:r>
          </a:p>
        </p:txBody>
      </p:sp>
      <p:sp>
        <p:nvSpPr>
          <p:cNvPr id="215" name="Rectangle 214">
            <a:extLst>
              <a:ext uri="{FF2B5EF4-FFF2-40B4-BE49-F238E27FC236}">
                <a16:creationId xmlns:a16="http://schemas.microsoft.com/office/drawing/2014/main" id="{13AFE945-1351-4152-C7FB-365CFAADD6FC}"/>
              </a:ext>
            </a:extLst>
          </p:cNvPr>
          <p:cNvSpPr/>
          <p:nvPr/>
        </p:nvSpPr>
        <p:spPr>
          <a:xfrm>
            <a:off x="538194" y="226984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235" name="TextBox 28">
            <a:extLst>
              <a:ext uri="{FF2B5EF4-FFF2-40B4-BE49-F238E27FC236}">
                <a16:creationId xmlns:a16="http://schemas.microsoft.com/office/drawing/2014/main" id="{480F0358-6C5F-83BB-0059-1907FC714629}"/>
              </a:ext>
            </a:extLst>
          </p:cNvPr>
          <p:cNvSpPr txBox="1"/>
          <p:nvPr/>
        </p:nvSpPr>
        <p:spPr>
          <a:xfrm>
            <a:off x="7781789" y="2609419"/>
            <a:ext cx="2355165" cy="861774"/>
          </a:xfrm>
          <a:prstGeom prst="rect">
            <a:avLst/>
          </a:prstGeom>
          <a:noFill/>
        </p:spPr>
        <p:txBody>
          <a:bodyPr wrap="square" rtlCol="0" anchor="t" anchorCtr="0">
            <a:spAutoFit/>
          </a:bodyPr>
          <a:lstStyle/>
          <a:p>
            <a:pPr algn="ctr" rtl="0">
              <a:lnSpc>
                <a:spcPts val="2960"/>
              </a:lnSpc>
            </a:pPr>
            <a:r>
              <a:rPr lang="en-GB" sz="2800" dirty="0">
                <a:solidFill>
                  <a:srgbClr val="595959"/>
                </a:solidFill>
                <a:ea typeface="League Spartan" charset="0"/>
                <a:cs typeface="Poppins" pitchFamily="2" charset="77"/>
              </a:rPr>
              <a:t>Fuente de Carisma:</a:t>
            </a:r>
          </a:p>
        </p:txBody>
      </p:sp>
      <p:sp>
        <p:nvSpPr>
          <p:cNvPr id="243" name="Subtitle 2">
            <a:extLst>
              <a:ext uri="{FF2B5EF4-FFF2-40B4-BE49-F238E27FC236}">
                <a16:creationId xmlns:a16="http://schemas.microsoft.com/office/drawing/2014/main" id="{7959C6DA-52C6-1633-E5EF-57CD84AF4B2E}"/>
              </a:ext>
            </a:extLst>
          </p:cNvPr>
          <p:cNvSpPr txBox="1">
            <a:spLocks/>
          </p:cNvSpPr>
          <p:nvPr/>
        </p:nvSpPr>
        <p:spPr>
          <a:xfrm>
            <a:off x="9441838" y="5546059"/>
            <a:ext cx="1979393" cy="8849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rtl="0">
              <a:lnSpc>
                <a:spcPts val="2200"/>
              </a:lnSpc>
              <a:spcBef>
                <a:spcPts val="0"/>
              </a:spcBef>
              <a:buClr>
                <a:srgbClr val="F16924"/>
              </a:buClr>
              <a:buFont typeface="Arial" panose="020B0604020202020204" pitchFamily="34" charset="0"/>
              <a:buChar char="•"/>
            </a:pPr>
            <a:r>
              <a:rPr lang="en-GB" sz="2000" dirty="0">
                <a:solidFill>
                  <a:srgbClr val="595959"/>
                </a:solidFill>
                <a:latin typeface="+mn-lt"/>
                <a:ea typeface="Lato Light" panose="020F0502020204030203" pitchFamily="34" charset="0"/>
                <a:cs typeface="Mukta ExtraLight" panose="020B0000000000000000" pitchFamily="34" charset="77"/>
              </a:rPr>
              <a:t>Esperar</a:t>
            </a:r>
          </a:p>
          <a:p>
            <a:pPr marL="182563" indent="-182563" algn="l" rtl="0">
              <a:lnSpc>
                <a:spcPts val="2200"/>
              </a:lnSpc>
              <a:spcBef>
                <a:spcPts val="0"/>
              </a:spcBef>
              <a:buClr>
                <a:srgbClr val="F16924"/>
              </a:buClr>
              <a:buFont typeface="Arial" panose="020B0604020202020204" pitchFamily="34" charset="0"/>
              <a:buChar char="•"/>
            </a:pPr>
            <a:r>
              <a:rPr lang="en-GB" sz="2000" dirty="0">
                <a:solidFill>
                  <a:srgbClr val="595959"/>
                </a:solidFill>
                <a:latin typeface="+mn-lt"/>
                <a:ea typeface="Lato Light" panose="020F0502020204030203" pitchFamily="34" charset="0"/>
                <a:cs typeface="Mukta ExtraLight" panose="020B0000000000000000" pitchFamily="34" charset="77"/>
              </a:rPr>
              <a:t>Aptitud física</a:t>
            </a:r>
          </a:p>
          <a:p>
            <a:pPr marL="182563" indent="-182563" algn="l" rtl="0">
              <a:lnSpc>
                <a:spcPts val="2200"/>
              </a:lnSpc>
              <a:spcBef>
                <a:spcPts val="0"/>
              </a:spcBef>
              <a:buClr>
                <a:srgbClr val="F16924"/>
              </a:buClr>
              <a:buFont typeface="Arial" panose="020B0604020202020204" pitchFamily="34" charset="0"/>
              <a:buChar char="•"/>
            </a:pPr>
            <a:r>
              <a:rPr lang="en-GB" sz="2000" dirty="0">
                <a:solidFill>
                  <a:srgbClr val="595959"/>
                </a:solidFill>
                <a:latin typeface="+mn-lt"/>
                <a:ea typeface="Lato Light" panose="020F0502020204030203" pitchFamily="34" charset="0"/>
                <a:cs typeface="Mukta ExtraLight" panose="020B0000000000000000" pitchFamily="34" charset="77"/>
              </a:rPr>
              <a:t>Competencia</a:t>
            </a:r>
          </a:p>
        </p:txBody>
      </p:sp>
      <p:sp>
        <p:nvSpPr>
          <p:cNvPr id="244" name="Subtitle 2">
            <a:extLst>
              <a:ext uri="{FF2B5EF4-FFF2-40B4-BE49-F238E27FC236}">
                <a16:creationId xmlns:a16="http://schemas.microsoft.com/office/drawing/2014/main" id="{54A423AD-32E5-B611-3FBB-464519FB1B74}"/>
              </a:ext>
            </a:extLst>
          </p:cNvPr>
          <p:cNvSpPr txBox="1">
            <a:spLocks/>
          </p:cNvSpPr>
          <p:nvPr/>
        </p:nvSpPr>
        <p:spPr>
          <a:xfrm>
            <a:off x="4871305" y="1467279"/>
            <a:ext cx="1979393" cy="88101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rtl="0">
              <a:lnSpc>
                <a:spcPts val="2200"/>
              </a:lnSpc>
              <a:spcBef>
                <a:spcPts val="0"/>
              </a:spcBef>
              <a:buClr>
                <a:srgbClr val="7F1C58"/>
              </a:buClr>
              <a:buFont typeface="Arial" panose="020B0604020202020204" pitchFamily="34" charset="0"/>
              <a:buChar char="•"/>
            </a:pPr>
            <a:r>
              <a:rPr lang="en-GB" sz="2000" dirty="0">
                <a:solidFill>
                  <a:srgbClr val="595959"/>
                </a:solidFill>
                <a:latin typeface="+mn-lt"/>
                <a:ea typeface="Lato Light" panose="020F0502020204030203" pitchFamily="34" charset="0"/>
                <a:cs typeface="Mukta ExtraLight" panose="020B0000000000000000" pitchFamily="34" charset="77"/>
              </a:rPr>
              <a:t>Honestidad</a:t>
            </a:r>
          </a:p>
          <a:p>
            <a:pPr marL="182563" indent="-182563" algn="l" rtl="0">
              <a:lnSpc>
                <a:spcPts val="2200"/>
              </a:lnSpc>
              <a:spcBef>
                <a:spcPts val="0"/>
              </a:spcBef>
              <a:buClr>
                <a:srgbClr val="7F1C58"/>
              </a:buClr>
              <a:buFont typeface="Arial" panose="020B0604020202020204" pitchFamily="34" charset="0"/>
              <a:buChar char="•"/>
            </a:pPr>
            <a:r>
              <a:rPr lang="en-GB" sz="2000" dirty="0">
                <a:solidFill>
                  <a:srgbClr val="595959"/>
                </a:solidFill>
                <a:latin typeface="+mn-lt"/>
                <a:ea typeface="Lato Light" panose="020F0502020204030203" pitchFamily="34" charset="0"/>
                <a:cs typeface="Mukta ExtraLight" panose="020B0000000000000000" pitchFamily="34" charset="77"/>
              </a:rPr>
              <a:t>Principios</a:t>
            </a:r>
          </a:p>
          <a:p>
            <a:pPr marL="182563" indent="-182563" algn="l" rtl="0">
              <a:lnSpc>
                <a:spcPts val="2200"/>
              </a:lnSpc>
              <a:spcBef>
                <a:spcPts val="0"/>
              </a:spcBef>
              <a:buClr>
                <a:srgbClr val="7F1C58"/>
              </a:buClr>
              <a:buFont typeface="Arial" panose="020B0604020202020204" pitchFamily="34" charset="0"/>
              <a:buChar char="•"/>
            </a:pPr>
            <a:r>
              <a:rPr lang="en-GB" sz="2000" dirty="0">
                <a:solidFill>
                  <a:srgbClr val="595959"/>
                </a:solidFill>
                <a:latin typeface="+mn-lt"/>
                <a:ea typeface="Lato Light" panose="020F0502020204030203" pitchFamily="34" charset="0"/>
                <a:cs typeface="Mukta ExtraLight" panose="020B0000000000000000" pitchFamily="34" charset="77"/>
              </a:rPr>
              <a:t>Humanismo</a:t>
            </a:r>
          </a:p>
        </p:txBody>
      </p:sp>
    </p:spTree>
    <p:extLst>
      <p:ext uri="{BB962C8B-B14F-4D97-AF65-F5344CB8AC3E}">
        <p14:creationId xmlns:p14="http://schemas.microsoft.com/office/powerpoint/2010/main" val="7145202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C4BAB812-B522-3461-4A4C-494B2217B69E}"/>
              </a:ext>
            </a:extLst>
          </p:cNvPr>
          <p:cNvCxnSpPr>
            <a:cxnSpLocks/>
          </p:cNvCxnSpPr>
          <p:nvPr/>
        </p:nvCxnSpPr>
        <p:spPr>
          <a:xfrm flipV="1">
            <a:off x="5136183" y="1214448"/>
            <a:ext cx="297626" cy="659098"/>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FDD9F6B-4DF6-C77E-69F4-7B68C1A1E743}"/>
              </a:ext>
            </a:extLst>
          </p:cNvPr>
          <p:cNvCxnSpPr>
            <a:cxnSpLocks/>
          </p:cNvCxnSpPr>
          <p:nvPr/>
        </p:nvCxnSpPr>
        <p:spPr>
          <a:xfrm flipV="1">
            <a:off x="5653985" y="1950363"/>
            <a:ext cx="624913" cy="464003"/>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516B614-2FEC-A3CA-F325-3D8D4AE8CC95}"/>
              </a:ext>
            </a:extLst>
          </p:cNvPr>
          <p:cNvCxnSpPr>
            <a:cxnSpLocks/>
          </p:cNvCxnSpPr>
          <p:nvPr/>
        </p:nvCxnSpPr>
        <p:spPr>
          <a:xfrm>
            <a:off x="5975194" y="3134250"/>
            <a:ext cx="698198"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130BF5D-B69C-D4B3-3F7C-5D8CBF0406AD}"/>
              </a:ext>
            </a:extLst>
          </p:cNvPr>
          <p:cNvCxnSpPr>
            <a:cxnSpLocks/>
          </p:cNvCxnSpPr>
          <p:nvPr/>
        </p:nvCxnSpPr>
        <p:spPr>
          <a:xfrm>
            <a:off x="5897998" y="4084915"/>
            <a:ext cx="257111" cy="587018"/>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6A90408-5CDC-A67E-BBCF-2685382AD867}"/>
              </a:ext>
            </a:extLst>
          </p:cNvPr>
          <p:cNvCxnSpPr>
            <a:cxnSpLocks/>
          </p:cNvCxnSpPr>
          <p:nvPr/>
        </p:nvCxnSpPr>
        <p:spPr>
          <a:xfrm>
            <a:off x="5178091" y="5242531"/>
            <a:ext cx="309088" cy="62635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sp>
        <p:nvSpPr>
          <p:cNvPr id="9" name="Freeform 8">
            <a:extLst>
              <a:ext uri="{FF2B5EF4-FFF2-40B4-BE49-F238E27FC236}">
                <a16:creationId xmlns:a16="http://schemas.microsoft.com/office/drawing/2014/main" id="{0C34D404-B7C4-5835-BBA0-BDF4A42340D6}"/>
              </a:ext>
            </a:extLst>
          </p:cNvPr>
          <p:cNvSpPr/>
          <p:nvPr/>
        </p:nvSpPr>
        <p:spPr>
          <a:xfrm>
            <a:off x="3921814" y="1578781"/>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pPr algn="l" rtl="0"/>
            <a:endParaRPr lang="en-US"/>
          </a:p>
        </p:txBody>
      </p:sp>
      <p:grpSp>
        <p:nvGrpSpPr>
          <p:cNvPr id="11" name="Group 10">
            <a:extLst>
              <a:ext uri="{FF2B5EF4-FFF2-40B4-BE49-F238E27FC236}">
                <a16:creationId xmlns:a16="http://schemas.microsoft.com/office/drawing/2014/main" id="{237DC7B7-87AD-5BDD-3B58-DDB8F07A8454}"/>
              </a:ext>
            </a:extLst>
          </p:cNvPr>
          <p:cNvGrpSpPr/>
          <p:nvPr/>
        </p:nvGrpSpPr>
        <p:grpSpPr>
          <a:xfrm>
            <a:off x="4954173" y="1817753"/>
            <a:ext cx="230346" cy="230551"/>
            <a:chOff x="1073516" y="1527833"/>
            <a:chExt cx="230346" cy="230551"/>
          </a:xfrm>
        </p:grpSpPr>
        <p:sp>
          <p:nvSpPr>
            <p:cNvPr id="52" name="Freeform 51">
              <a:extLst>
                <a:ext uri="{FF2B5EF4-FFF2-40B4-BE49-F238E27FC236}">
                  <a16:creationId xmlns:a16="http://schemas.microsoft.com/office/drawing/2014/main" id="{33636165-DFB5-F569-08BF-8B016273D56C}"/>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53" name="Freeform 52">
              <a:extLst>
                <a:ext uri="{FF2B5EF4-FFF2-40B4-BE49-F238E27FC236}">
                  <a16:creationId xmlns:a16="http://schemas.microsoft.com/office/drawing/2014/main" id="{DA04CE63-B5CF-54B5-07AC-DAB4F35C7E9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sp>
        <p:nvSpPr>
          <p:cNvPr id="50" name="Freeform 49">
            <a:extLst>
              <a:ext uri="{FF2B5EF4-FFF2-40B4-BE49-F238E27FC236}">
                <a16:creationId xmlns:a16="http://schemas.microsoft.com/office/drawing/2014/main" id="{6192E524-49F3-17DC-B214-680AA7E493E4}"/>
              </a:ext>
            </a:extLst>
          </p:cNvPr>
          <p:cNvSpPr/>
          <p:nvPr/>
        </p:nvSpPr>
        <p:spPr>
          <a:xfrm>
            <a:off x="5440807" y="2325701"/>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51" name="Freeform 50">
            <a:extLst>
              <a:ext uri="{FF2B5EF4-FFF2-40B4-BE49-F238E27FC236}">
                <a16:creationId xmlns:a16="http://schemas.microsoft.com/office/drawing/2014/main" id="{0EBB4964-8117-B6DD-5D11-9BF3A7FAA686}"/>
              </a:ext>
            </a:extLst>
          </p:cNvPr>
          <p:cNvSpPr/>
          <p:nvPr/>
        </p:nvSpPr>
        <p:spPr>
          <a:xfrm>
            <a:off x="5488901" y="2373838"/>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nvGrpSpPr>
          <p:cNvPr id="13" name="Group 12">
            <a:extLst>
              <a:ext uri="{FF2B5EF4-FFF2-40B4-BE49-F238E27FC236}">
                <a16:creationId xmlns:a16="http://schemas.microsoft.com/office/drawing/2014/main" id="{0EE81F01-E06D-29E5-BA17-E772968EAC1B}"/>
              </a:ext>
            </a:extLst>
          </p:cNvPr>
          <p:cNvGrpSpPr/>
          <p:nvPr/>
        </p:nvGrpSpPr>
        <p:grpSpPr>
          <a:xfrm>
            <a:off x="5768511" y="3012757"/>
            <a:ext cx="230346" cy="230551"/>
            <a:chOff x="1073516" y="1527833"/>
            <a:chExt cx="230346" cy="230551"/>
          </a:xfrm>
        </p:grpSpPr>
        <p:sp>
          <p:nvSpPr>
            <p:cNvPr id="48" name="Freeform 47">
              <a:extLst>
                <a:ext uri="{FF2B5EF4-FFF2-40B4-BE49-F238E27FC236}">
                  <a16:creationId xmlns:a16="http://schemas.microsoft.com/office/drawing/2014/main" id="{2FA6533C-7A98-231A-511D-8A276C0B6001}"/>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49" name="Freeform 48">
              <a:extLst>
                <a:ext uri="{FF2B5EF4-FFF2-40B4-BE49-F238E27FC236}">
                  <a16:creationId xmlns:a16="http://schemas.microsoft.com/office/drawing/2014/main" id="{B4FEA326-E6D8-C3A5-7657-C6FE750C01F4}"/>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14" name="Group 13">
            <a:extLst>
              <a:ext uri="{FF2B5EF4-FFF2-40B4-BE49-F238E27FC236}">
                <a16:creationId xmlns:a16="http://schemas.microsoft.com/office/drawing/2014/main" id="{E4902CA2-0772-9224-24FC-90B076827099}"/>
              </a:ext>
            </a:extLst>
          </p:cNvPr>
          <p:cNvGrpSpPr/>
          <p:nvPr/>
        </p:nvGrpSpPr>
        <p:grpSpPr>
          <a:xfrm>
            <a:off x="5006525" y="5040237"/>
            <a:ext cx="230346" cy="230551"/>
            <a:chOff x="1073516" y="1527833"/>
            <a:chExt cx="230346" cy="230551"/>
          </a:xfrm>
        </p:grpSpPr>
        <p:sp>
          <p:nvSpPr>
            <p:cNvPr id="46" name="Freeform 45">
              <a:extLst>
                <a:ext uri="{FF2B5EF4-FFF2-40B4-BE49-F238E27FC236}">
                  <a16:creationId xmlns:a16="http://schemas.microsoft.com/office/drawing/2014/main" id="{EFAEDAFE-6687-894C-37C4-77C5BED1A108}"/>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47" name="Freeform 46">
              <a:extLst>
                <a:ext uri="{FF2B5EF4-FFF2-40B4-BE49-F238E27FC236}">
                  <a16:creationId xmlns:a16="http://schemas.microsoft.com/office/drawing/2014/main" id="{50FC10D2-4DBB-88C2-EF10-EB977063F63F}"/>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15" name="Group 14">
            <a:extLst>
              <a:ext uri="{FF2B5EF4-FFF2-40B4-BE49-F238E27FC236}">
                <a16:creationId xmlns:a16="http://schemas.microsoft.com/office/drawing/2014/main" id="{EF964300-DAF6-80BE-D63B-1DC35DF220EF}"/>
              </a:ext>
            </a:extLst>
          </p:cNvPr>
          <p:cNvGrpSpPr/>
          <p:nvPr/>
        </p:nvGrpSpPr>
        <p:grpSpPr>
          <a:xfrm>
            <a:off x="5746017" y="3930330"/>
            <a:ext cx="230346" cy="230551"/>
            <a:chOff x="1073516" y="1527833"/>
            <a:chExt cx="230346" cy="230551"/>
          </a:xfrm>
        </p:grpSpPr>
        <p:sp>
          <p:nvSpPr>
            <p:cNvPr id="44" name="Freeform 43">
              <a:extLst>
                <a:ext uri="{FF2B5EF4-FFF2-40B4-BE49-F238E27FC236}">
                  <a16:creationId xmlns:a16="http://schemas.microsoft.com/office/drawing/2014/main" id="{D4D412EB-A9A6-77D8-AC7D-DF625C895AA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45" name="Freeform 44">
              <a:extLst>
                <a:ext uri="{FF2B5EF4-FFF2-40B4-BE49-F238E27FC236}">
                  <a16:creationId xmlns:a16="http://schemas.microsoft.com/office/drawing/2014/main" id="{8A59F832-D100-FB62-7275-4A26936737A9}"/>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16" name="Group 15">
            <a:extLst>
              <a:ext uri="{FF2B5EF4-FFF2-40B4-BE49-F238E27FC236}">
                <a16:creationId xmlns:a16="http://schemas.microsoft.com/office/drawing/2014/main" id="{93C5D79B-A3D5-FE9E-6C85-E84682B826DC}"/>
              </a:ext>
            </a:extLst>
          </p:cNvPr>
          <p:cNvGrpSpPr/>
          <p:nvPr/>
        </p:nvGrpSpPr>
        <p:grpSpPr>
          <a:xfrm>
            <a:off x="5850653" y="1391096"/>
            <a:ext cx="5803153" cy="1118636"/>
            <a:chOff x="1416598" y="716055"/>
            <a:chExt cx="5803153" cy="1118636"/>
          </a:xfrm>
        </p:grpSpPr>
        <p:sp>
          <p:nvSpPr>
            <p:cNvPr id="38" name="Rounded Rectangle 37">
              <a:extLst>
                <a:ext uri="{FF2B5EF4-FFF2-40B4-BE49-F238E27FC236}">
                  <a16:creationId xmlns:a16="http://schemas.microsoft.com/office/drawing/2014/main" id="{70231608-E29F-49E6-6116-44D8BDC095C3}"/>
                </a:ext>
              </a:extLst>
            </p:cNvPr>
            <p:cNvSpPr/>
            <p:nvPr/>
          </p:nvSpPr>
          <p:spPr>
            <a:xfrm>
              <a:off x="1790269" y="716055"/>
              <a:ext cx="5429482" cy="960711"/>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9" name="TextBox 49">
              <a:extLst>
                <a:ext uri="{FF2B5EF4-FFF2-40B4-BE49-F238E27FC236}">
                  <a16:creationId xmlns:a16="http://schemas.microsoft.com/office/drawing/2014/main" id="{15F92187-0CE2-FB92-A81A-E4EC5A502769}"/>
                </a:ext>
              </a:extLst>
            </p:cNvPr>
            <p:cNvSpPr txBox="1"/>
            <p:nvPr/>
          </p:nvSpPr>
          <p:spPr>
            <a:xfrm>
              <a:off x="2262037" y="815822"/>
              <a:ext cx="4793090" cy="1018869"/>
            </a:xfrm>
            <a:prstGeom prst="rect">
              <a:avLst/>
            </a:prstGeom>
            <a:noFill/>
          </p:spPr>
          <p:txBody>
            <a:bodyPr wrap="square" numCol="1" rtlCol="0" anchor="ctr">
              <a:spAutoFit/>
            </a:bodyPr>
            <a:lstStyle/>
            <a:p>
              <a:pPr algn="l" rtl="0">
                <a:lnSpc>
                  <a:spcPts val="1800"/>
                </a:lnSpc>
                <a:defRPr/>
              </a:pPr>
              <a:r>
                <a:rPr lang="en-GB" dirty="0">
                  <a:solidFill>
                    <a:schemeClr val="bg1"/>
                  </a:solidFill>
                  <a:ea typeface="Lato Light" panose="020F0502020204030203" pitchFamily="34" charset="0"/>
                  <a:cs typeface="Poppins" pitchFamily="2" charset="77"/>
                </a:rPr>
                <a:t>Sólo promete cosas que puedas cumplir. Deja claro lo que sabes y lo que no. En una crisis, todos solo conducen a la vista.</a:t>
              </a:r>
            </a:p>
            <a:p>
              <a:pPr algn="l" rtl="0">
                <a:lnSpc>
                  <a:spcPts val="1800"/>
                </a:lnSpc>
                <a:defRPr/>
              </a:pPr>
              <a:endParaRPr lang="en-GB" dirty="0">
                <a:solidFill>
                  <a:schemeClr val="bg1"/>
                </a:solidFill>
                <a:ea typeface="Lato Light" panose="020F0502020204030203" pitchFamily="34" charset="0"/>
                <a:cs typeface="Poppins" pitchFamily="2" charset="77"/>
              </a:endParaRPr>
            </a:p>
          </p:txBody>
        </p:sp>
        <p:grpSp>
          <p:nvGrpSpPr>
            <p:cNvPr id="40" name="Graphic 8">
              <a:extLst>
                <a:ext uri="{FF2B5EF4-FFF2-40B4-BE49-F238E27FC236}">
                  <a16:creationId xmlns:a16="http://schemas.microsoft.com/office/drawing/2014/main" id="{B721E3AF-E02E-0879-3366-900C18602E92}"/>
                </a:ext>
              </a:extLst>
            </p:cNvPr>
            <p:cNvGrpSpPr/>
            <p:nvPr/>
          </p:nvGrpSpPr>
          <p:grpSpPr>
            <a:xfrm>
              <a:off x="1416598" y="919839"/>
              <a:ext cx="701992" cy="701724"/>
              <a:chOff x="4817897" y="694433"/>
              <a:chExt cx="1446392" cy="1445841"/>
            </a:xfrm>
          </p:grpSpPr>
          <p:sp>
            <p:nvSpPr>
              <p:cNvPr id="42" name="Freeform 41">
                <a:extLst>
                  <a:ext uri="{FF2B5EF4-FFF2-40B4-BE49-F238E27FC236}">
                    <a16:creationId xmlns:a16="http://schemas.microsoft.com/office/drawing/2014/main" id="{A4927879-73B5-97CA-A3E7-DB9224EC7807}"/>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43" name="Freeform 42">
                <a:extLst>
                  <a:ext uri="{FF2B5EF4-FFF2-40B4-BE49-F238E27FC236}">
                    <a16:creationId xmlns:a16="http://schemas.microsoft.com/office/drawing/2014/main" id="{12CA2BD1-9288-06DC-D0A3-81CE19AFB78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41" name="TextBox 40">
              <a:extLst>
                <a:ext uri="{FF2B5EF4-FFF2-40B4-BE49-F238E27FC236}">
                  <a16:creationId xmlns:a16="http://schemas.microsoft.com/office/drawing/2014/main" id="{19246679-B828-DC76-2A0B-1AAF5B9C84B0}"/>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18" name="Group 17">
            <a:extLst>
              <a:ext uri="{FF2B5EF4-FFF2-40B4-BE49-F238E27FC236}">
                <a16:creationId xmlns:a16="http://schemas.microsoft.com/office/drawing/2014/main" id="{D0052DA2-479C-FF60-88DB-7F140B1DCF4C}"/>
              </a:ext>
            </a:extLst>
          </p:cNvPr>
          <p:cNvGrpSpPr/>
          <p:nvPr/>
        </p:nvGrpSpPr>
        <p:grpSpPr>
          <a:xfrm>
            <a:off x="6557879" y="2446598"/>
            <a:ext cx="5399262" cy="1562559"/>
            <a:chOff x="1416598" y="664971"/>
            <a:chExt cx="5399262" cy="1562559"/>
          </a:xfrm>
        </p:grpSpPr>
        <p:sp>
          <p:nvSpPr>
            <p:cNvPr id="26" name="Rounded Rectangle 25">
              <a:extLst>
                <a:ext uri="{FF2B5EF4-FFF2-40B4-BE49-F238E27FC236}">
                  <a16:creationId xmlns:a16="http://schemas.microsoft.com/office/drawing/2014/main" id="{208FCF1E-2BA2-0198-13F5-408E1753664C}"/>
                </a:ext>
              </a:extLst>
            </p:cNvPr>
            <p:cNvSpPr/>
            <p:nvPr/>
          </p:nvSpPr>
          <p:spPr>
            <a:xfrm>
              <a:off x="1790269" y="664971"/>
              <a:ext cx="5025591" cy="1458091"/>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7" name="TextBox 49">
              <a:extLst>
                <a:ext uri="{FF2B5EF4-FFF2-40B4-BE49-F238E27FC236}">
                  <a16:creationId xmlns:a16="http://schemas.microsoft.com/office/drawing/2014/main" id="{8166D4AD-6C63-AB7F-A1ED-46457B50E8E6}"/>
                </a:ext>
              </a:extLst>
            </p:cNvPr>
            <p:cNvSpPr txBox="1"/>
            <p:nvPr/>
          </p:nvSpPr>
          <p:spPr>
            <a:xfrm>
              <a:off x="2262036" y="746996"/>
              <a:ext cx="4553824" cy="1480534"/>
            </a:xfrm>
            <a:prstGeom prst="rect">
              <a:avLst/>
            </a:prstGeom>
            <a:noFill/>
          </p:spPr>
          <p:txBody>
            <a:bodyPr wrap="square" numCol="1" rtlCol="0" anchor="ctr">
              <a:spAutoFit/>
            </a:bodyPr>
            <a:lstStyle/>
            <a:p>
              <a:pPr algn="l" rtl="0">
                <a:lnSpc>
                  <a:spcPts val="1800"/>
                </a:lnSpc>
                <a:defRPr/>
              </a:pPr>
              <a:r>
                <a:rPr lang="en-GB" dirty="0">
                  <a:solidFill>
                    <a:schemeClr val="bg1"/>
                  </a:solidFill>
                  <a:ea typeface="Lato Light" panose="020F0502020204030203" pitchFamily="34" charset="0"/>
                  <a:cs typeface="Poppins" pitchFamily="2" charset="77"/>
                </a:rPr>
                <a:t>Piensa en escenarios. Cuando se trata del futuro, describa los posibles escenarios y explique cómo es probable que usted y la empresa reaccionen ante ellos. También indique claramente lo que esto significaría para el empleado. No minimices.</a:t>
              </a:r>
            </a:p>
            <a:p>
              <a:pPr algn="l" rtl="0">
                <a:lnSpc>
                  <a:spcPts val="1800"/>
                </a:lnSpc>
                <a:defRPr/>
              </a:pPr>
              <a:endParaRPr lang="en-GB" dirty="0">
                <a:solidFill>
                  <a:schemeClr val="bg1"/>
                </a:solidFill>
                <a:ea typeface="Lato Light" panose="020F0502020204030203" pitchFamily="34" charset="0"/>
                <a:cs typeface="Poppins" pitchFamily="2" charset="77"/>
              </a:endParaRPr>
            </a:p>
          </p:txBody>
        </p:sp>
        <p:grpSp>
          <p:nvGrpSpPr>
            <p:cNvPr id="28" name="Graphic 8">
              <a:extLst>
                <a:ext uri="{FF2B5EF4-FFF2-40B4-BE49-F238E27FC236}">
                  <a16:creationId xmlns:a16="http://schemas.microsoft.com/office/drawing/2014/main" id="{26291F35-A553-05E0-2AB0-FE06462FF33F}"/>
                </a:ext>
              </a:extLst>
            </p:cNvPr>
            <p:cNvGrpSpPr/>
            <p:nvPr/>
          </p:nvGrpSpPr>
          <p:grpSpPr>
            <a:xfrm>
              <a:off x="1416598" y="919839"/>
              <a:ext cx="701992" cy="701724"/>
              <a:chOff x="4817897" y="694433"/>
              <a:chExt cx="1446392" cy="1445841"/>
            </a:xfrm>
          </p:grpSpPr>
          <p:sp>
            <p:nvSpPr>
              <p:cNvPr id="30" name="Freeform 29">
                <a:extLst>
                  <a:ext uri="{FF2B5EF4-FFF2-40B4-BE49-F238E27FC236}">
                    <a16:creationId xmlns:a16="http://schemas.microsoft.com/office/drawing/2014/main" id="{29110C42-8FF2-9681-2A9F-D158502C2AC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31" name="Freeform 30">
                <a:extLst>
                  <a:ext uri="{FF2B5EF4-FFF2-40B4-BE49-F238E27FC236}">
                    <a16:creationId xmlns:a16="http://schemas.microsoft.com/office/drawing/2014/main" id="{3C211AF4-DF15-E821-4CBA-2B4F9677DDD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29" name="TextBox 28">
              <a:extLst>
                <a:ext uri="{FF2B5EF4-FFF2-40B4-BE49-F238E27FC236}">
                  <a16:creationId xmlns:a16="http://schemas.microsoft.com/office/drawing/2014/main" id="{096402AF-6733-D7E3-C5AB-9AE126C3B1FB}"/>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19" name="Group 18">
            <a:extLst>
              <a:ext uri="{FF2B5EF4-FFF2-40B4-BE49-F238E27FC236}">
                <a16:creationId xmlns:a16="http://schemas.microsoft.com/office/drawing/2014/main" id="{828DD81B-6116-4BD7-1447-B8D47B6BA0A1}"/>
              </a:ext>
            </a:extLst>
          </p:cNvPr>
          <p:cNvGrpSpPr/>
          <p:nvPr/>
        </p:nvGrpSpPr>
        <p:grpSpPr>
          <a:xfrm>
            <a:off x="5136183" y="5540892"/>
            <a:ext cx="5480805" cy="852305"/>
            <a:chOff x="1416598" y="919839"/>
            <a:chExt cx="5480805" cy="852305"/>
          </a:xfrm>
        </p:grpSpPr>
        <p:sp>
          <p:nvSpPr>
            <p:cNvPr id="20" name="Rounded Rectangle 19">
              <a:extLst>
                <a:ext uri="{FF2B5EF4-FFF2-40B4-BE49-F238E27FC236}">
                  <a16:creationId xmlns:a16="http://schemas.microsoft.com/office/drawing/2014/main" id="{CD400B13-7CD0-914E-C64C-3D1B156E60CB}"/>
                </a:ext>
              </a:extLst>
            </p:cNvPr>
            <p:cNvSpPr/>
            <p:nvPr/>
          </p:nvSpPr>
          <p:spPr>
            <a:xfrm>
              <a:off x="1790269" y="960814"/>
              <a:ext cx="5107134" cy="811330"/>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1" name="TextBox 49">
              <a:extLst>
                <a:ext uri="{FF2B5EF4-FFF2-40B4-BE49-F238E27FC236}">
                  <a16:creationId xmlns:a16="http://schemas.microsoft.com/office/drawing/2014/main" id="{317B6557-FABA-0AFE-B065-77FB00EB38FD}"/>
                </a:ext>
              </a:extLst>
            </p:cNvPr>
            <p:cNvSpPr txBox="1"/>
            <p:nvPr/>
          </p:nvSpPr>
          <p:spPr>
            <a:xfrm>
              <a:off x="2279677" y="1087200"/>
              <a:ext cx="4172881" cy="557204"/>
            </a:xfrm>
            <a:prstGeom prst="rect">
              <a:avLst/>
            </a:prstGeom>
            <a:noFill/>
          </p:spPr>
          <p:txBody>
            <a:bodyPr wrap="square" numCol="1" rtlCol="0" anchor="ctr">
              <a:spAutoFit/>
            </a:bodyPr>
            <a:lstStyle/>
            <a:p>
              <a:pPr algn="l" rtl="0">
                <a:lnSpc>
                  <a:spcPts val="1800"/>
                </a:lnSpc>
                <a:defRPr/>
              </a:pPr>
              <a:r>
                <a:rPr lang="en-GB" dirty="0">
                  <a:solidFill>
                    <a:schemeClr val="bg1"/>
                  </a:solidFill>
                  <a:ea typeface="Lato Light" panose="020F0502020204030203" pitchFamily="34" charset="0"/>
                  <a:cs typeface="Poppins" pitchFamily="2" charset="77"/>
                </a:rPr>
                <a:t>Manténgase optimista. Intenta ser la roca en el oleaje. Sobre todo, sé realista.</a:t>
              </a:r>
            </a:p>
          </p:txBody>
        </p:sp>
        <p:grpSp>
          <p:nvGrpSpPr>
            <p:cNvPr id="22" name="Graphic 8">
              <a:extLst>
                <a:ext uri="{FF2B5EF4-FFF2-40B4-BE49-F238E27FC236}">
                  <a16:creationId xmlns:a16="http://schemas.microsoft.com/office/drawing/2014/main" id="{4334B708-2BEB-87B8-9CD0-594E09BA30DC}"/>
                </a:ext>
              </a:extLst>
            </p:cNvPr>
            <p:cNvGrpSpPr/>
            <p:nvPr/>
          </p:nvGrpSpPr>
          <p:grpSpPr>
            <a:xfrm>
              <a:off x="1416598" y="919839"/>
              <a:ext cx="701992" cy="701724"/>
              <a:chOff x="4817897" y="694433"/>
              <a:chExt cx="1446392" cy="1445841"/>
            </a:xfrm>
          </p:grpSpPr>
          <p:sp>
            <p:nvSpPr>
              <p:cNvPr id="24" name="Freeform 23">
                <a:extLst>
                  <a:ext uri="{FF2B5EF4-FFF2-40B4-BE49-F238E27FC236}">
                    <a16:creationId xmlns:a16="http://schemas.microsoft.com/office/drawing/2014/main" id="{771B3283-EA1A-01F2-6AC9-3599C99A19A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25" name="Freeform 24">
                <a:extLst>
                  <a:ext uri="{FF2B5EF4-FFF2-40B4-BE49-F238E27FC236}">
                    <a16:creationId xmlns:a16="http://schemas.microsoft.com/office/drawing/2014/main" id="{A8A5D2A5-2055-4F86-A2B5-95349C60885E}"/>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23" name="TextBox 22">
              <a:extLst>
                <a:ext uri="{FF2B5EF4-FFF2-40B4-BE49-F238E27FC236}">
                  <a16:creationId xmlns:a16="http://schemas.microsoft.com/office/drawing/2014/main" id="{5E3F5925-8B0B-1D16-8DDD-8D9FB268D701}"/>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sp>
        <p:nvSpPr>
          <p:cNvPr id="332" name="Rectangle 331">
            <a:extLst>
              <a:ext uri="{FF2B5EF4-FFF2-40B4-BE49-F238E27FC236}">
                <a16:creationId xmlns:a16="http://schemas.microsoft.com/office/drawing/2014/main" id="{4AD1CC34-EF04-776A-97D1-6B2C495C81FB}"/>
              </a:ext>
            </a:extLst>
          </p:cNvPr>
          <p:cNvSpPr/>
          <p:nvPr/>
        </p:nvSpPr>
        <p:spPr>
          <a:xfrm>
            <a:off x="0" y="0"/>
            <a:ext cx="4774997"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536402" y="430173"/>
            <a:ext cx="3811973" cy="574325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dirty="0">
                <a:solidFill>
                  <a:schemeClr val="bg1"/>
                </a:solidFill>
              </a:rPr>
              <a:t>5 consejos importantes para liderar en la crisis</a:t>
            </a:r>
          </a:p>
          <a:p>
            <a:pPr algn="l" rtl="0"/>
            <a:endParaRPr lang="en-US" dirty="0">
              <a:solidFill>
                <a:schemeClr val="bg1"/>
              </a:solidFill>
            </a:endParaRPr>
          </a:p>
          <a:p>
            <a:pPr algn="l" rtl="0">
              <a:lnSpc>
                <a:spcPts val="2220"/>
              </a:lnSpc>
              <a:spcBef>
                <a:spcPts val="0"/>
              </a:spcBef>
            </a:pPr>
            <a:r>
              <a:rPr lang="en-US" sz="2200" dirty="0">
                <a:solidFill>
                  <a:schemeClr val="bg1"/>
                </a:solidFill>
              </a:rPr>
              <a:t>Lo importante ahora es que no te escabulles justo en ese momento. Asume el papel de quien lidera, quien ayuda a los demás. Si asumes activamente este papel, también te ayudará a lidiar mejor con el miedo.</a:t>
            </a:r>
          </a:p>
          <a:p>
            <a:pPr algn="l" rtl="0">
              <a:lnSpc>
                <a:spcPts val="2220"/>
              </a:lnSpc>
              <a:spcBef>
                <a:spcPts val="0"/>
              </a:spcBef>
            </a:pPr>
            <a:r>
              <a:rPr lang="en-US" sz="2200" dirty="0">
                <a:solidFill>
                  <a:schemeClr val="bg1"/>
                </a:solidFill>
              </a:rPr>
              <a:t>¡La comunicación es fundamental! Explique a sus empleados cómo ve la situación y qué decisiones está tomando o tomará y lo más importante: explique por qué están haciendo ciertas cosas.</a:t>
            </a:r>
          </a:p>
          <a:p>
            <a:pPr algn="l" rtl="0">
              <a:lnSpc>
                <a:spcPts val="2220"/>
              </a:lnSpc>
              <a:spcBef>
                <a:spcPts val="0"/>
              </a:spcBef>
            </a:pPr>
            <a:r>
              <a:rPr lang="en-US" sz="2200" dirty="0">
                <a:solidFill>
                  <a:schemeClr val="bg1"/>
                </a:solidFill>
              </a:rPr>
              <a:t> </a:t>
            </a:r>
          </a:p>
        </p:txBody>
      </p:sp>
      <p:sp>
        <p:nvSpPr>
          <p:cNvPr id="215" name="Rectangle 214">
            <a:extLst>
              <a:ext uri="{FF2B5EF4-FFF2-40B4-BE49-F238E27FC236}">
                <a16:creationId xmlns:a16="http://schemas.microsoft.com/office/drawing/2014/main" id="{13AFE945-1351-4152-C7FB-365CFAADD6FC}"/>
              </a:ext>
            </a:extLst>
          </p:cNvPr>
          <p:cNvSpPr/>
          <p:nvPr/>
        </p:nvSpPr>
        <p:spPr>
          <a:xfrm>
            <a:off x="538194" y="226984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grpSp>
        <p:nvGrpSpPr>
          <p:cNvPr id="195" name="Group 194">
            <a:extLst>
              <a:ext uri="{FF2B5EF4-FFF2-40B4-BE49-F238E27FC236}">
                <a16:creationId xmlns:a16="http://schemas.microsoft.com/office/drawing/2014/main" id="{321BF6F3-8A9C-898A-8A52-50B1306BB7FA}"/>
              </a:ext>
            </a:extLst>
          </p:cNvPr>
          <p:cNvGrpSpPr/>
          <p:nvPr/>
        </p:nvGrpSpPr>
        <p:grpSpPr>
          <a:xfrm>
            <a:off x="5136183" y="492823"/>
            <a:ext cx="5545447" cy="932083"/>
            <a:chOff x="1416598" y="689480"/>
            <a:chExt cx="5545447" cy="932083"/>
          </a:xfrm>
        </p:grpSpPr>
        <p:sp>
          <p:nvSpPr>
            <p:cNvPr id="196" name="Rounded Rectangle 195">
              <a:extLst>
                <a:ext uri="{FF2B5EF4-FFF2-40B4-BE49-F238E27FC236}">
                  <a16:creationId xmlns:a16="http://schemas.microsoft.com/office/drawing/2014/main" id="{36CA3738-B7DD-A7C5-A01B-24040B52F966}"/>
                </a:ext>
              </a:extLst>
            </p:cNvPr>
            <p:cNvSpPr/>
            <p:nvPr/>
          </p:nvSpPr>
          <p:spPr>
            <a:xfrm>
              <a:off x="1854911" y="689480"/>
              <a:ext cx="5107134" cy="811330"/>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97" name="TextBox 49">
              <a:extLst>
                <a:ext uri="{FF2B5EF4-FFF2-40B4-BE49-F238E27FC236}">
                  <a16:creationId xmlns:a16="http://schemas.microsoft.com/office/drawing/2014/main" id="{5D99419C-0210-C879-2517-1BC6E9ED54D6}"/>
                </a:ext>
              </a:extLst>
            </p:cNvPr>
            <p:cNvSpPr txBox="1"/>
            <p:nvPr/>
          </p:nvSpPr>
          <p:spPr>
            <a:xfrm>
              <a:off x="2344319" y="815866"/>
              <a:ext cx="4172881" cy="557204"/>
            </a:xfrm>
            <a:prstGeom prst="rect">
              <a:avLst/>
            </a:prstGeom>
            <a:noFill/>
          </p:spPr>
          <p:txBody>
            <a:bodyPr wrap="square" numCol="1" rtlCol="0" anchor="ctr">
              <a:spAutoFit/>
            </a:bodyPr>
            <a:lstStyle/>
            <a:p>
              <a:pPr algn="l" rtl="0">
                <a:lnSpc>
                  <a:spcPts val="1800"/>
                </a:lnSpc>
                <a:defRPr/>
              </a:pPr>
              <a:r>
                <a:rPr lang="en-GB" dirty="0">
                  <a:solidFill>
                    <a:schemeClr val="bg1"/>
                  </a:solidFill>
                  <a:ea typeface="Lato Light" panose="020F0502020204030203" pitchFamily="34" charset="0"/>
                  <a:cs typeface="Poppins" pitchFamily="2" charset="77"/>
                </a:rPr>
                <a:t>Ten las agallas para decir lo que realmente está pasando. No andes con rodeos.</a:t>
              </a:r>
            </a:p>
          </p:txBody>
        </p:sp>
        <p:grpSp>
          <p:nvGrpSpPr>
            <p:cNvPr id="198" name="Graphic 8">
              <a:extLst>
                <a:ext uri="{FF2B5EF4-FFF2-40B4-BE49-F238E27FC236}">
                  <a16:creationId xmlns:a16="http://schemas.microsoft.com/office/drawing/2014/main" id="{A99B5BF8-1926-C55E-B2D4-CFDF628005D9}"/>
                </a:ext>
              </a:extLst>
            </p:cNvPr>
            <p:cNvGrpSpPr/>
            <p:nvPr/>
          </p:nvGrpSpPr>
          <p:grpSpPr>
            <a:xfrm>
              <a:off x="1416598" y="919839"/>
              <a:ext cx="701992" cy="701724"/>
              <a:chOff x="4817897" y="694433"/>
              <a:chExt cx="1446392" cy="1445841"/>
            </a:xfrm>
          </p:grpSpPr>
          <p:sp>
            <p:nvSpPr>
              <p:cNvPr id="200" name="Freeform 199">
                <a:extLst>
                  <a:ext uri="{FF2B5EF4-FFF2-40B4-BE49-F238E27FC236}">
                    <a16:creationId xmlns:a16="http://schemas.microsoft.com/office/drawing/2014/main" id="{AA6FF4E1-984F-DF58-BB68-61EAE84344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201" name="Freeform 200">
                <a:extLst>
                  <a:ext uri="{FF2B5EF4-FFF2-40B4-BE49-F238E27FC236}">
                    <a16:creationId xmlns:a16="http://schemas.microsoft.com/office/drawing/2014/main" id="{318BCA59-E276-F06F-5B78-E79564E7F5C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199" name="TextBox 198">
              <a:extLst>
                <a:ext uri="{FF2B5EF4-FFF2-40B4-BE49-F238E27FC236}">
                  <a16:creationId xmlns:a16="http://schemas.microsoft.com/office/drawing/2014/main" id="{7A3B81BF-BC0E-1D84-F82A-747DBD71BCA3}"/>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grpSp>
        <p:nvGrpSpPr>
          <p:cNvPr id="209" name="Group 208">
            <a:extLst>
              <a:ext uri="{FF2B5EF4-FFF2-40B4-BE49-F238E27FC236}">
                <a16:creationId xmlns:a16="http://schemas.microsoft.com/office/drawing/2014/main" id="{9F3EE3BB-7245-07A5-A397-3510AF879B27}"/>
              </a:ext>
            </a:extLst>
          </p:cNvPr>
          <p:cNvGrpSpPr/>
          <p:nvPr/>
        </p:nvGrpSpPr>
        <p:grpSpPr>
          <a:xfrm>
            <a:off x="5850653" y="4008265"/>
            <a:ext cx="5905245" cy="1636761"/>
            <a:chOff x="1416598" y="559686"/>
            <a:chExt cx="5905245" cy="1636761"/>
          </a:xfrm>
        </p:grpSpPr>
        <p:sp>
          <p:nvSpPr>
            <p:cNvPr id="210" name="Rounded Rectangle 209">
              <a:extLst>
                <a:ext uri="{FF2B5EF4-FFF2-40B4-BE49-F238E27FC236}">
                  <a16:creationId xmlns:a16="http://schemas.microsoft.com/office/drawing/2014/main" id="{BF7EC727-236C-F814-1647-098B43E3B9DF}"/>
                </a:ext>
              </a:extLst>
            </p:cNvPr>
            <p:cNvSpPr/>
            <p:nvPr/>
          </p:nvSpPr>
          <p:spPr>
            <a:xfrm>
              <a:off x="1825569" y="559686"/>
              <a:ext cx="5496274" cy="1461383"/>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11" name="TextBox 49">
              <a:extLst>
                <a:ext uri="{FF2B5EF4-FFF2-40B4-BE49-F238E27FC236}">
                  <a16:creationId xmlns:a16="http://schemas.microsoft.com/office/drawing/2014/main" id="{EA68ABA7-EE54-A495-037E-79FE026DB691}"/>
                </a:ext>
              </a:extLst>
            </p:cNvPr>
            <p:cNvSpPr txBox="1"/>
            <p:nvPr/>
          </p:nvSpPr>
          <p:spPr>
            <a:xfrm>
              <a:off x="2297336" y="715913"/>
              <a:ext cx="4798291" cy="1480534"/>
            </a:xfrm>
            <a:prstGeom prst="rect">
              <a:avLst/>
            </a:prstGeom>
            <a:noFill/>
          </p:spPr>
          <p:txBody>
            <a:bodyPr wrap="square" numCol="1" rtlCol="0" anchor="ctr">
              <a:spAutoFit/>
            </a:bodyPr>
            <a:lstStyle/>
            <a:p>
              <a:pPr algn="l" rtl="0">
                <a:lnSpc>
                  <a:spcPts val="1800"/>
                </a:lnSpc>
                <a:defRPr/>
              </a:pPr>
              <a:r>
                <a:rPr lang="en-GB" dirty="0">
                  <a:solidFill>
                    <a:schemeClr val="bg1"/>
                  </a:solidFill>
                  <a:ea typeface="Lato Light" panose="020F0502020204030203" pitchFamily="34" charset="0"/>
                  <a:cs typeface="Poppins" pitchFamily="2" charset="77"/>
                </a:rPr>
                <a:t>Asume la responsabilidad de tus decisiones. Ahora está tomando una decisión a lo mejor de su conocimiento y creencia. Puede resultar ser incorrecto en retrospectiva. Esto puede suceder, pero siempre es mejor que no tomar ninguna decisión.</a:t>
              </a:r>
            </a:p>
            <a:p>
              <a:pPr algn="l" rtl="0">
                <a:lnSpc>
                  <a:spcPts val="1800"/>
                </a:lnSpc>
                <a:defRPr/>
              </a:pPr>
              <a:endParaRPr lang="en-GB" dirty="0">
                <a:solidFill>
                  <a:schemeClr val="bg1"/>
                </a:solidFill>
                <a:ea typeface="Lato Light" panose="020F0502020204030203" pitchFamily="34" charset="0"/>
                <a:cs typeface="Poppins" pitchFamily="2" charset="77"/>
              </a:endParaRPr>
            </a:p>
          </p:txBody>
        </p:sp>
        <p:grpSp>
          <p:nvGrpSpPr>
            <p:cNvPr id="212" name="Graphic 8">
              <a:extLst>
                <a:ext uri="{FF2B5EF4-FFF2-40B4-BE49-F238E27FC236}">
                  <a16:creationId xmlns:a16="http://schemas.microsoft.com/office/drawing/2014/main" id="{DD48C0D9-F5A7-12DA-68DF-B48825FDD44F}"/>
                </a:ext>
              </a:extLst>
            </p:cNvPr>
            <p:cNvGrpSpPr/>
            <p:nvPr/>
          </p:nvGrpSpPr>
          <p:grpSpPr>
            <a:xfrm>
              <a:off x="1416598" y="919839"/>
              <a:ext cx="701992" cy="701724"/>
              <a:chOff x="4817897" y="694433"/>
              <a:chExt cx="1446392" cy="1445841"/>
            </a:xfrm>
          </p:grpSpPr>
          <p:sp>
            <p:nvSpPr>
              <p:cNvPr id="218" name="Freeform 217">
                <a:extLst>
                  <a:ext uri="{FF2B5EF4-FFF2-40B4-BE49-F238E27FC236}">
                    <a16:creationId xmlns:a16="http://schemas.microsoft.com/office/drawing/2014/main" id="{178749CD-A0BC-2623-9C36-25082E6CB5D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219" name="Freeform 218">
                <a:extLst>
                  <a:ext uri="{FF2B5EF4-FFF2-40B4-BE49-F238E27FC236}">
                    <a16:creationId xmlns:a16="http://schemas.microsoft.com/office/drawing/2014/main" id="{E47B9158-27BF-09F7-D94A-8B5FEE02EBFA}"/>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213" name="TextBox 212">
              <a:extLst>
                <a:ext uri="{FF2B5EF4-FFF2-40B4-BE49-F238E27FC236}">
                  <a16:creationId xmlns:a16="http://schemas.microsoft.com/office/drawing/2014/main" id="{A7DF3D29-AC58-1149-DD30-7DB7F03E4C7B}"/>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spTree>
    <p:extLst>
      <p:ext uri="{BB962C8B-B14F-4D97-AF65-F5344CB8AC3E}">
        <p14:creationId xmlns:p14="http://schemas.microsoft.com/office/powerpoint/2010/main" val="35808897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1AA36929-0B40-8451-B108-ED1B6128F7D6}"/>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l="15733" r="15733"/>
          <a:stretch>
            <a:fillRect/>
          </a:stretch>
        </p:blipFill>
        <p:spPr/>
      </p:pic>
      <p:sp>
        <p:nvSpPr>
          <p:cNvPr id="10" name="Textplatzhalter 1">
            <a:extLst>
              <a:ext uri="{FF2B5EF4-FFF2-40B4-BE49-F238E27FC236}">
                <a16:creationId xmlns:a16="http://schemas.microsoft.com/office/drawing/2014/main" id="{327D9D04-AEDD-4ED6-D1E7-2B1ABE4217F1}"/>
              </a:ext>
            </a:extLst>
          </p:cNvPr>
          <p:cNvSpPr txBox="1">
            <a:spLocks/>
          </p:cNvSpPr>
          <p:nvPr/>
        </p:nvSpPr>
        <p:spPr>
          <a:xfrm>
            <a:off x="734714" y="642971"/>
            <a:ext cx="5002409" cy="210347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ct val="120000"/>
              </a:lnSpc>
            </a:pPr>
            <a:r>
              <a:rPr lang="en-GB" dirty="0">
                <a:latin typeface="Segoe UI" panose="020B0502040204020203" pitchFamily="34" charset="0"/>
              </a:rPr>
              <a:t>Cómo liderar en una crisis</a:t>
            </a:r>
          </a:p>
          <a:p>
            <a:pPr algn="l" rtl="0">
              <a:lnSpc>
                <a:spcPct val="120000"/>
              </a:lnSpc>
            </a:pPr>
            <a:endParaRPr lang="en-GB" sz="1050" dirty="0">
              <a:latin typeface="Segoe UI" panose="020B0502040204020203" pitchFamily="34" charset="0"/>
            </a:endParaRPr>
          </a:p>
        </p:txBody>
      </p:sp>
      <p:sp>
        <p:nvSpPr>
          <p:cNvPr id="12" name="Rechteck 27">
            <a:extLst>
              <a:ext uri="{FF2B5EF4-FFF2-40B4-BE49-F238E27FC236}">
                <a16:creationId xmlns:a16="http://schemas.microsoft.com/office/drawing/2014/main" id="{7054D4B0-F180-A446-A761-08781C2AC881}"/>
              </a:ext>
            </a:extLst>
          </p:cNvPr>
          <p:cNvSpPr/>
          <p:nvPr/>
        </p:nvSpPr>
        <p:spPr>
          <a:xfrm>
            <a:off x="468998" y="5918697"/>
            <a:ext cx="11723002" cy="753522"/>
          </a:xfrm>
          <a:prstGeom prst="rect">
            <a:avLst/>
          </a:prstGeom>
        </p:spPr>
        <p:txBody>
          <a:bodyPr vert="horz" wrap="square" lIns="81580" tIns="40790" rIns="81580" bIns="40790" rtlCol="0">
            <a:spAutoFit/>
          </a:bodyPr>
          <a:lstStyle/>
          <a:p>
            <a:pPr algn="l" defTabSz="1087636" rtl="0">
              <a:lnSpc>
                <a:spcPts val="1500"/>
              </a:lnSpc>
              <a:spcBef>
                <a:spcPct val="20000"/>
              </a:spcBef>
            </a:pPr>
            <a:r>
              <a:rPr lang="en-GB" sz="2200" dirty="0">
                <a:solidFill>
                  <a:srgbClr val="595959"/>
                </a:solidFill>
              </a:rPr>
              <a:t>Fuente:</a:t>
            </a:r>
            <a:r>
              <a:rPr lang="en-GB" sz="2200" dirty="0">
                <a:solidFill>
                  <a:srgbClr val="595959"/>
                </a:solidFill>
                <a:hlinkClick r:id="rId3">
                  <a:extLst>
                    <a:ext uri="{A12FA001-AC4F-418D-AE19-62706E023703}">
                      <ahyp:hlinkClr xmlns:ahyp="http://schemas.microsoft.com/office/drawing/2018/hyperlinkcolor" val="tx"/>
                    </a:ext>
                  </a:extLst>
                </a:hlinkClick>
              </a:rPr>
              <a:t>https://youtu.be/Cxf_SRCcaGo</a:t>
            </a:r>
            <a:endParaRPr lang="en-GB" sz="2200" dirty="0">
              <a:solidFill>
                <a:srgbClr val="595959"/>
              </a:solidFill>
            </a:endParaRPr>
          </a:p>
          <a:p>
            <a:pPr algn="l" defTabSz="1087636" rtl="0">
              <a:lnSpc>
                <a:spcPts val="1500"/>
              </a:lnSpc>
              <a:spcBef>
                <a:spcPct val="20000"/>
              </a:spcBef>
            </a:pPr>
            <a:r>
              <a:rPr lang="en-GB" sz="2200" dirty="0">
                <a:solidFill>
                  <a:srgbClr val="595959"/>
                </a:solidFill>
              </a:rPr>
              <a:t> </a:t>
            </a:r>
            <a:br>
              <a:rPr lang="en-GB" sz="2200" dirty="0">
                <a:solidFill>
                  <a:srgbClr val="595959"/>
                </a:solidFill>
              </a:rPr>
            </a:br>
            <a:endParaRPr lang="en-GB" sz="2200" dirty="0">
              <a:solidFill>
                <a:srgbClr val="595959"/>
              </a:solidFill>
            </a:endParaRPr>
          </a:p>
        </p:txBody>
      </p:sp>
      <p:sp>
        <p:nvSpPr>
          <p:cNvPr id="13" name="TextBox 12">
            <a:extLst>
              <a:ext uri="{FF2B5EF4-FFF2-40B4-BE49-F238E27FC236}">
                <a16:creationId xmlns:a16="http://schemas.microsoft.com/office/drawing/2014/main" id="{843543BB-A7F0-35A0-AE58-778FAC8CD0C5}"/>
              </a:ext>
            </a:extLst>
          </p:cNvPr>
          <p:cNvSpPr txBox="1"/>
          <p:nvPr/>
        </p:nvSpPr>
        <p:spPr>
          <a:xfrm>
            <a:off x="520617" y="3110081"/>
            <a:ext cx="5130800" cy="2123658"/>
          </a:xfrm>
          <a:prstGeom prst="rect">
            <a:avLst/>
          </a:prstGeom>
          <a:noFill/>
        </p:spPr>
        <p:txBody>
          <a:bodyPr wrap="square" rtlCol="0">
            <a:spAutoFit/>
          </a:bodyPr>
          <a:lstStyle/>
          <a:p>
            <a:pPr algn="l" rtl="0"/>
            <a:r>
              <a:rPr lang="en-GB" sz="2200" b="0" i="0" dirty="0">
                <a:solidFill>
                  <a:schemeClr val="bg1"/>
                </a:solidFill>
                <a:effectLst/>
                <a:highlight>
                  <a:srgbClr val="F16924"/>
                </a:highlight>
              </a:rPr>
              <a:t>RELOJ</a:t>
            </a:r>
            <a:r>
              <a:rPr lang="en-GB" sz="2200" b="0" i="0" dirty="0">
                <a:solidFill>
                  <a:srgbClr val="F16924"/>
                </a:solidFill>
                <a:effectLst/>
                <a:highlight>
                  <a:srgbClr val="F16924"/>
                </a:highlight>
              </a:rPr>
              <a:t>.</a:t>
            </a:r>
          </a:p>
          <a:p>
            <a:pPr algn="l" rtl="0"/>
            <a:endParaRPr lang="en-GB" sz="2200" b="0" i="0" dirty="0">
              <a:solidFill>
                <a:schemeClr val="bg1"/>
              </a:solidFill>
              <a:effectLst/>
              <a:highlight>
                <a:srgbClr val="E53292"/>
              </a:highlight>
            </a:endParaRPr>
          </a:p>
          <a:p>
            <a:pPr algn="l" rtl="0"/>
            <a:r>
              <a:rPr lang="en-GB" sz="2200" b="1" dirty="0">
                <a:solidFill>
                  <a:srgbClr val="595959"/>
                </a:solidFill>
              </a:rPr>
              <a:t>Amy C Edmondson</a:t>
            </a:r>
            <a:r>
              <a:rPr lang="en-GB" sz="2200" dirty="0">
                <a:solidFill>
                  <a:srgbClr val="595959"/>
                </a:solidFill>
              </a:rPr>
              <a:t>es un académico estadounidense de liderazgo, trabajo en equipo y aprendizaje organizacional. Es profesora Novartis de Liderazgo en la Escuela de Negocios de Harvard.</a:t>
            </a:r>
          </a:p>
        </p:txBody>
      </p:sp>
      <p:sp>
        <p:nvSpPr>
          <p:cNvPr id="14" name="Oval 13">
            <a:extLst>
              <a:ext uri="{FF2B5EF4-FFF2-40B4-BE49-F238E27FC236}">
                <a16:creationId xmlns:a16="http://schemas.microsoft.com/office/drawing/2014/main" id="{22647D80-595B-BF51-CF15-31CAD1C39DC6}"/>
              </a:ext>
            </a:extLst>
          </p:cNvPr>
          <p:cNvSpPr/>
          <p:nvPr/>
        </p:nvSpPr>
        <p:spPr>
          <a:xfrm rot="21231927">
            <a:off x="6183011" y="2833458"/>
            <a:ext cx="1720645" cy="172064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2200" b="1" dirty="0">
                <a:solidFill>
                  <a:schemeClr val="bg1"/>
                </a:solidFill>
              </a:rPr>
              <a:t>HAGA CLIC PARA</a:t>
            </a:r>
            <a:r>
              <a:rPr lang="en-US" sz="2200" b="1" dirty="0">
                <a:solidFill>
                  <a:schemeClr val="bg1"/>
                </a:solidFill>
                <a:hlinkClick r:id="rId4">
                  <a:extLst>
                    <a:ext uri="{A12FA001-AC4F-418D-AE19-62706E023703}">
                      <ahyp:hlinkClr xmlns:ahyp="http://schemas.microsoft.com/office/drawing/2018/hyperlinkcolor" val="tx"/>
                    </a:ext>
                  </a:extLst>
                </a:hlinkClick>
              </a:rPr>
              <a:t>RELOJ</a:t>
            </a:r>
            <a:endParaRPr lang="en-US" sz="2200" b="1" dirty="0">
              <a:solidFill>
                <a:schemeClr val="bg1"/>
              </a:solidFill>
            </a:endParaRPr>
          </a:p>
        </p:txBody>
      </p:sp>
      <p:sp>
        <p:nvSpPr>
          <p:cNvPr id="16" name="Text Placeholder 15">
            <a:extLst>
              <a:ext uri="{FF2B5EF4-FFF2-40B4-BE49-F238E27FC236}">
                <a16:creationId xmlns:a16="http://schemas.microsoft.com/office/drawing/2014/main" id="{8AB3C843-D371-3F72-2DAF-B860430A8A5D}"/>
              </a:ext>
            </a:extLst>
          </p:cNvPr>
          <p:cNvSpPr>
            <a:spLocks noGrp="1"/>
          </p:cNvSpPr>
          <p:nvPr>
            <p:ph type="body" sz="quarter" idx="16"/>
          </p:nvPr>
        </p:nvSpPr>
        <p:spPr>
          <a:xfrm>
            <a:off x="734714" y="1619348"/>
            <a:ext cx="5130800" cy="1311994"/>
          </a:xfrm>
        </p:spPr>
        <p:txBody>
          <a:bodyPr>
            <a:normAutofit/>
          </a:bodyPr>
          <a:lstStyle/>
          <a:p>
            <a:pPr algn="l" rtl="0"/>
            <a:r>
              <a:rPr lang="en-US" sz="2400" dirty="0"/>
              <a:t>La forma en que trabajamos, una serie de TED</a:t>
            </a:r>
          </a:p>
          <a:p>
            <a:pPr algn="l" rtl="0"/>
            <a:endParaRPr lang="en-US" dirty="0"/>
          </a:p>
        </p:txBody>
      </p:sp>
      <p:sp>
        <p:nvSpPr>
          <p:cNvPr id="17" name="Rectangle 16">
            <a:extLst>
              <a:ext uri="{FF2B5EF4-FFF2-40B4-BE49-F238E27FC236}">
                <a16:creationId xmlns:a16="http://schemas.microsoft.com/office/drawing/2014/main" id="{63FAF0F0-94FA-7682-892A-7A8BF465F65D}"/>
              </a:ext>
            </a:extLst>
          </p:cNvPr>
          <p:cNvSpPr/>
          <p:nvPr/>
        </p:nvSpPr>
        <p:spPr>
          <a:xfrm>
            <a:off x="734714" y="1475147"/>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Tree>
    <p:extLst>
      <p:ext uri="{BB962C8B-B14F-4D97-AF65-F5344CB8AC3E}">
        <p14:creationId xmlns:p14="http://schemas.microsoft.com/office/powerpoint/2010/main" val="37321420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5"/>
            <a:ext cx="12192000" cy="219379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4593671" y="324849"/>
            <a:ext cx="7427406" cy="2083453"/>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r>
              <a:rPr lang="en-US" dirty="0">
                <a:solidFill>
                  <a:schemeClr val="bg1"/>
                </a:solidFill>
              </a:rPr>
              <a:t>Si bien la acción proactiva es necesaria al principio para</a:t>
            </a:r>
            <a:r>
              <a:rPr lang="en-US" dirty="0" err="1">
                <a:solidFill>
                  <a:schemeClr val="bg1"/>
                </a:solidFill>
              </a:rPr>
              <a:t>reconocer</a:t>
            </a:r>
            <a:r>
              <a:rPr lang="en-US" dirty="0">
                <a:solidFill>
                  <a:schemeClr val="bg1"/>
                </a:solidFill>
              </a:rPr>
              <a:t>señales de crisis y hacer los preparativos correctos en función de ellas: después del estallido de la crisis, la atención se centra en las capacidades reactivas. Para generar una resiliencia sostenible a la crisis, se deben extraer las lecciones correctas después de la crisis.</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30825" y="282511"/>
            <a:ext cx="4144281" cy="2236133"/>
          </a:xfrm>
          <a:prstGeom prst="rect">
            <a:avLst/>
          </a:prstGeom>
        </p:spPr>
        <p:txBody>
          <a:bodyPr vert="horz" lIns="91440" tIns="45720" rIns="91440" bIns="45720" rtlCol="0">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Habilidades específicas necesarias en las diferentes etapas de una crisis</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3614612" y="10946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75" name="Freeform 3">
            <a:extLst>
              <a:ext uri="{FF2B5EF4-FFF2-40B4-BE49-F238E27FC236}">
                <a16:creationId xmlns:a16="http://schemas.microsoft.com/office/drawing/2014/main" id="{1EBDF765-DE98-DFFB-30DC-D5BF468D8C93}"/>
              </a:ext>
            </a:extLst>
          </p:cNvPr>
          <p:cNvSpPr>
            <a:spLocks noChangeArrowheads="1"/>
          </p:cNvSpPr>
          <p:nvPr/>
        </p:nvSpPr>
        <p:spPr bwMode="auto">
          <a:xfrm>
            <a:off x="1943620" y="3681025"/>
            <a:ext cx="1834063" cy="918415"/>
          </a:xfrm>
          <a:custGeom>
            <a:avLst/>
            <a:gdLst>
              <a:gd name="T0" fmla="*/ 2908 w 2922"/>
              <a:gd name="T1" fmla="*/ 1465 h 1466"/>
              <a:gd name="T2" fmla="*/ 0 w 2922"/>
              <a:gd name="T3" fmla="*/ 28 h 1466"/>
              <a:gd name="T4" fmla="*/ 13 w 2922"/>
              <a:gd name="T5" fmla="*/ 0 h 1466"/>
              <a:gd name="T6" fmla="*/ 2921 w 2922"/>
              <a:gd name="T7" fmla="*/ 1438 h 1466"/>
              <a:gd name="T8" fmla="*/ 2908 w 2922"/>
              <a:gd name="T9" fmla="*/ 1465 h 1466"/>
            </a:gdLst>
            <a:ahLst/>
            <a:cxnLst>
              <a:cxn ang="0">
                <a:pos x="T0" y="T1"/>
              </a:cxn>
              <a:cxn ang="0">
                <a:pos x="T2" y="T3"/>
              </a:cxn>
              <a:cxn ang="0">
                <a:pos x="T4" y="T5"/>
              </a:cxn>
              <a:cxn ang="0">
                <a:pos x="T6" y="T7"/>
              </a:cxn>
              <a:cxn ang="0">
                <a:pos x="T8" y="T9"/>
              </a:cxn>
            </a:cxnLst>
            <a:rect l="0" t="0" r="r" b="b"/>
            <a:pathLst>
              <a:path w="2922" h="1466">
                <a:moveTo>
                  <a:pt x="2908" y="1465"/>
                </a:moveTo>
                <a:lnTo>
                  <a:pt x="0" y="28"/>
                </a:lnTo>
                <a:lnTo>
                  <a:pt x="13" y="0"/>
                </a:lnTo>
                <a:lnTo>
                  <a:pt x="2921" y="1438"/>
                </a:lnTo>
                <a:lnTo>
                  <a:pt x="2908" y="1465"/>
                </a:lnTo>
              </a:path>
            </a:pathLst>
          </a:custGeom>
          <a:solidFill>
            <a:srgbClr val="595959"/>
          </a:solidFill>
          <a:ln>
            <a:noFill/>
          </a:ln>
          <a:effectLst/>
        </p:spPr>
        <p:txBody>
          <a:bodyPr wrap="none" anchor="ctr"/>
          <a:lstStyle/>
          <a:p>
            <a:pPr algn="l" rtl="0"/>
            <a:endParaRPr lang="en-GB" sz="1600" dirty="0"/>
          </a:p>
        </p:txBody>
      </p:sp>
      <p:sp>
        <p:nvSpPr>
          <p:cNvPr id="76" name="Freeform 4">
            <a:extLst>
              <a:ext uri="{FF2B5EF4-FFF2-40B4-BE49-F238E27FC236}">
                <a16:creationId xmlns:a16="http://schemas.microsoft.com/office/drawing/2014/main" id="{9D4B1EE0-F5E7-27C7-C67F-A3968D910701}"/>
              </a:ext>
            </a:extLst>
          </p:cNvPr>
          <p:cNvSpPr>
            <a:spLocks noChangeArrowheads="1"/>
          </p:cNvSpPr>
          <p:nvPr/>
        </p:nvSpPr>
        <p:spPr bwMode="auto">
          <a:xfrm>
            <a:off x="7827525" y="3652328"/>
            <a:ext cx="1834062" cy="918415"/>
          </a:xfrm>
          <a:custGeom>
            <a:avLst/>
            <a:gdLst>
              <a:gd name="T0" fmla="*/ 2908 w 2924"/>
              <a:gd name="T1" fmla="*/ 1465 h 1466"/>
              <a:gd name="T2" fmla="*/ 0 w 2924"/>
              <a:gd name="T3" fmla="*/ 28 h 1466"/>
              <a:gd name="T4" fmla="*/ 14 w 2924"/>
              <a:gd name="T5" fmla="*/ 0 h 1466"/>
              <a:gd name="T6" fmla="*/ 2923 w 2924"/>
              <a:gd name="T7" fmla="*/ 1438 h 1466"/>
              <a:gd name="T8" fmla="*/ 2908 w 2924"/>
              <a:gd name="T9" fmla="*/ 1465 h 1466"/>
            </a:gdLst>
            <a:ahLst/>
            <a:cxnLst>
              <a:cxn ang="0">
                <a:pos x="T0" y="T1"/>
              </a:cxn>
              <a:cxn ang="0">
                <a:pos x="T2" y="T3"/>
              </a:cxn>
              <a:cxn ang="0">
                <a:pos x="T4" y="T5"/>
              </a:cxn>
              <a:cxn ang="0">
                <a:pos x="T6" y="T7"/>
              </a:cxn>
              <a:cxn ang="0">
                <a:pos x="T8" y="T9"/>
              </a:cxn>
            </a:cxnLst>
            <a:rect l="0" t="0" r="r" b="b"/>
            <a:pathLst>
              <a:path w="2924" h="1466">
                <a:moveTo>
                  <a:pt x="2908" y="1465"/>
                </a:moveTo>
                <a:lnTo>
                  <a:pt x="0" y="28"/>
                </a:lnTo>
                <a:lnTo>
                  <a:pt x="14" y="0"/>
                </a:lnTo>
                <a:lnTo>
                  <a:pt x="2923" y="1438"/>
                </a:lnTo>
                <a:lnTo>
                  <a:pt x="2908" y="1465"/>
                </a:lnTo>
              </a:path>
            </a:pathLst>
          </a:custGeom>
          <a:solidFill>
            <a:srgbClr val="595959"/>
          </a:solidFill>
          <a:ln>
            <a:noFill/>
          </a:ln>
          <a:effectLst/>
        </p:spPr>
        <p:txBody>
          <a:bodyPr wrap="none" anchor="ctr"/>
          <a:lstStyle/>
          <a:p>
            <a:pPr algn="l" rtl="0"/>
            <a:endParaRPr lang="en-GB" sz="1600" dirty="0"/>
          </a:p>
        </p:txBody>
      </p:sp>
      <p:sp>
        <p:nvSpPr>
          <p:cNvPr id="77" name="Freeform 6">
            <a:extLst>
              <a:ext uri="{FF2B5EF4-FFF2-40B4-BE49-F238E27FC236}">
                <a16:creationId xmlns:a16="http://schemas.microsoft.com/office/drawing/2014/main" id="{30AC9CDA-C107-0023-2C61-44103E731A07}"/>
              </a:ext>
            </a:extLst>
          </p:cNvPr>
          <p:cNvSpPr>
            <a:spLocks noChangeArrowheads="1"/>
          </p:cNvSpPr>
          <p:nvPr/>
        </p:nvSpPr>
        <p:spPr bwMode="auto">
          <a:xfrm>
            <a:off x="4857660" y="3900626"/>
            <a:ext cx="1834063" cy="918415"/>
          </a:xfrm>
          <a:custGeom>
            <a:avLst/>
            <a:gdLst>
              <a:gd name="T0" fmla="*/ 14 w 2923"/>
              <a:gd name="T1" fmla="*/ 1465 h 1466"/>
              <a:gd name="T2" fmla="*/ 0 w 2923"/>
              <a:gd name="T3" fmla="*/ 1438 h 1466"/>
              <a:gd name="T4" fmla="*/ 2908 w 2923"/>
              <a:gd name="T5" fmla="*/ 0 h 1466"/>
              <a:gd name="T6" fmla="*/ 2922 w 2923"/>
              <a:gd name="T7" fmla="*/ 28 h 1466"/>
              <a:gd name="T8" fmla="*/ 14 w 2923"/>
              <a:gd name="T9" fmla="*/ 1465 h 1466"/>
            </a:gdLst>
            <a:ahLst/>
            <a:cxnLst>
              <a:cxn ang="0">
                <a:pos x="T0" y="T1"/>
              </a:cxn>
              <a:cxn ang="0">
                <a:pos x="T2" y="T3"/>
              </a:cxn>
              <a:cxn ang="0">
                <a:pos x="T4" y="T5"/>
              </a:cxn>
              <a:cxn ang="0">
                <a:pos x="T6" y="T7"/>
              </a:cxn>
              <a:cxn ang="0">
                <a:pos x="T8" y="T9"/>
              </a:cxn>
            </a:cxnLst>
            <a:rect l="0" t="0" r="r" b="b"/>
            <a:pathLst>
              <a:path w="2923" h="1466">
                <a:moveTo>
                  <a:pt x="14" y="1465"/>
                </a:moveTo>
                <a:lnTo>
                  <a:pt x="0" y="1438"/>
                </a:lnTo>
                <a:lnTo>
                  <a:pt x="2908" y="0"/>
                </a:lnTo>
                <a:lnTo>
                  <a:pt x="2922" y="28"/>
                </a:lnTo>
                <a:lnTo>
                  <a:pt x="14" y="1465"/>
                </a:lnTo>
              </a:path>
            </a:pathLst>
          </a:custGeom>
          <a:solidFill>
            <a:srgbClr val="595959"/>
          </a:solidFill>
          <a:ln>
            <a:noFill/>
          </a:ln>
          <a:effectLst/>
        </p:spPr>
        <p:txBody>
          <a:bodyPr wrap="none" anchor="ctr"/>
          <a:lstStyle/>
          <a:p>
            <a:pPr algn="l" rtl="0"/>
            <a:endParaRPr lang="en-GB" sz="1600" dirty="0"/>
          </a:p>
        </p:txBody>
      </p:sp>
      <p:sp>
        <p:nvSpPr>
          <p:cNvPr id="87" name="TextBox 63">
            <a:extLst>
              <a:ext uri="{FF2B5EF4-FFF2-40B4-BE49-F238E27FC236}">
                <a16:creationId xmlns:a16="http://schemas.microsoft.com/office/drawing/2014/main" id="{2288E20B-0F1A-7FC8-787B-C29B366084B4}"/>
              </a:ext>
            </a:extLst>
          </p:cNvPr>
          <p:cNvSpPr txBox="1"/>
          <p:nvPr/>
        </p:nvSpPr>
        <p:spPr>
          <a:xfrm>
            <a:off x="775875" y="4384965"/>
            <a:ext cx="1827359" cy="338554"/>
          </a:xfrm>
          <a:prstGeom prst="rect">
            <a:avLst/>
          </a:prstGeom>
          <a:noFill/>
        </p:spPr>
        <p:txBody>
          <a:bodyPr wrap="none" rtlCol="0" anchor="b" anchorCtr="0">
            <a:spAutoFit/>
          </a:bodyPr>
          <a:lstStyle/>
          <a:p>
            <a:pPr algn="ctr" rtl="0"/>
            <a:r>
              <a:rPr lang="en-GB" sz="1600" b="1" dirty="0">
                <a:solidFill>
                  <a:srgbClr val="EDA13E"/>
                </a:solidFill>
                <a:ea typeface="League Spartan" charset="0"/>
                <a:cs typeface="Poppins" pitchFamily="2" charset="77"/>
              </a:rPr>
              <a:t>DETECCIÓN DE SEÑAL</a:t>
            </a:r>
          </a:p>
        </p:txBody>
      </p:sp>
      <p:sp>
        <p:nvSpPr>
          <p:cNvPr id="97" name="TextBox 67">
            <a:extLst>
              <a:ext uri="{FF2B5EF4-FFF2-40B4-BE49-F238E27FC236}">
                <a16:creationId xmlns:a16="http://schemas.microsoft.com/office/drawing/2014/main" id="{4A2C2B5F-F619-57CF-8295-DF0E8A8E08D0}"/>
              </a:ext>
            </a:extLst>
          </p:cNvPr>
          <p:cNvSpPr txBox="1"/>
          <p:nvPr/>
        </p:nvSpPr>
        <p:spPr>
          <a:xfrm>
            <a:off x="3935799" y="5249458"/>
            <a:ext cx="1382622" cy="338554"/>
          </a:xfrm>
          <a:prstGeom prst="rect">
            <a:avLst/>
          </a:prstGeom>
          <a:noFill/>
        </p:spPr>
        <p:txBody>
          <a:bodyPr wrap="none" rtlCol="0" anchor="b" anchorCtr="0">
            <a:spAutoFit/>
          </a:bodyPr>
          <a:lstStyle/>
          <a:p>
            <a:pPr algn="ctr" rtl="0"/>
            <a:r>
              <a:rPr lang="en-GB" sz="1600" b="1" dirty="0">
                <a:solidFill>
                  <a:srgbClr val="F16924"/>
                </a:solidFill>
                <a:ea typeface="League Spartan" charset="0"/>
                <a:cs typeface="Poppins" pitchFamily="2" charset="77"/>
              </a:rPr>
              <a:t>PREPARACIÓN</a:t>
            </a:r>
          </a:p>
        </p:txBody>
      </p:sp>
      <p:sp>
        <p:nvSpPr>
          <p:cNvPr id="107" name="TextBox 70">
            <a:extLst>
              <a:ext uri="{FF2B5EF4-FFF2-40B4-BE49-F238E27FC236}">
                <a16:creationId xmlns:a16="http://schemas.microsoft.com/office/drawing/2014/main" id="{B70B4AFE-1DE1-BB26-188A-7C57E8D6456C}"/>
              </a:ext>
            </a:extLst>
          </p:cNvPr>
          <p:cNvSpPr txBox="1"/>
          <p:nvPr/>
        </p:nvSpPr>
        <p:spPr>
          <a:xfrm>
            <a:off x="6554675" y="4370667"/>
            <a:ext cx="2012667" cy="584775"/>
          </a:xfrm>
          <a:prstGeom prst="rect">
            <a:avLst/>
          </a:prstGeom>
          <a:noFill/>
        </p:spPr>
        <p:txBody>
          <a:bodyPr wrap="none" rtlCol="0" anchor="b" anchorCtr="0">
            <a:spAutoFit/>
          </a:bodyPr>
          <a:lstStyle/>
          <a:p>
            <a:pPr algn="ctr" rtl="0"/>
            <a:r>
              <a:rPr lang="en-GB" sz="1600" b="1" dirty="0">
                <a:solidFill>
                  <a:srgbClr val="B41F7A"/>
                </a:solidFill>
                <a:ea typeface="League Spartan" charset="0"/>
                <a:cs typeface="Poppins" pitchFamily="2" charset="77"/>
              </a:rPr>
              <a:t>CONTENCIÓN/</a:t>
            </a:r>
            <a:br>
              <a:rPr lang="en-GB" sz="1600" b="1" dirty="0">
                <a:solidFill>
                  <a:srgbClr val="B41F7A"/>
                </a:solidFill>
                <a:ea typeface="League Spartan" charset="0"/>
                <a:cs typeface="Poppins" pitchFamily="2" charset="77"/>
              </a:rPr>
            </a:br>
            <a:r>
              <a:rPr lang="en-GB" sz="1600" b="1" dirty="0">
                <a:solidFill>
                  <a:srgbClr val="B41F7A"/>
                </a:solidFill>
                <a:ea typeface="League Spartan" charset="0"/>
                <a:cs typeface="Poppins" pitchFamily="2" charset="77"/>
              </a:rPr>
              <a:t>LA LIMITACIÓN DEL DAÑO</a:t>
            </a:r>
          </a:p>
        </p:txBody>
      </p:sp>
      <p:sp>
        <p:nvSpPr>
          <p:cNvPr id="117" name="TextBox 73">
            <a:extLst>
              <a:ext uri="{FF2B5EF4-FFF2-40B4-BE49-F238E27FC236}">
                <a16:creationId xmlns:a16="http://schemas.microsoft.com/office/drawing/2014/main" id="{05EEA7DF-8F67-F738-EE5B-F1C3B90FDB8F}"/>
              </a:ext>
            </a:extLst>
          </p:cNvPr>
          <p:cNvSpPr txBox="1"/>
          <p:nvPr/>
        </p:nvSpPr>
        <p:spPr>
          <a:xfrm>
            <a:off x="9958079" y="5210795"/>
            <a:ext cx="1080167" cy="338554"/>
          </a:xfrm>
          <a:prstGeom prst="rect">
            <a:avLst/>
          </a:prstGeom>
          <a:noFill/>
        </p:spPr>
        <p:txBody>
          <a:bodyPr wrap="none" rtlCol="0" anchor="b" anchorCtr="0">
            <a:spAutoFit/>
          </a:bodyPr>
          <a:lstStyle/>
          <a:p>
            <a:pPr algn="ctr" rtl="0"/>
            <a:r>
              <a:rPr lang="en-GB" sz="1600" b="1" dirty="0">
                <a:solidFill>
                  <a:srgbClr val="7F1C58"/>
                </a:solidFill>
                <a:ea typeface="League Spartan" charset="0"/>
                <a:cs typeface="Poppins" pitchFamily="2" charset="77"/>
              </a:rPr>
              <a:t>RECUPERACIÓN</a:t>
            </a:r>
          </a:p>
        </p:txBody>
      </p:sp>
      <p:sp>
        <p:nvSpPr>
          <p:cNvPr id="118" name="TextBox 63">
            <a:extLst>
              <a:ext uri="{FF2B5EF4-FFF2-40B4-BE49-F238E27FC236}">
                <a16:creationId xmlns:a16="http://schemas.microsoft.com/office/drawing/2014/main" id="{309ED3E0-C238-B771-8D14-4B45BB19F831}"/>
              </a:ext>
            </a:extLst>
          </p:cNvPr>
          <p:cNvSpPr txBox="1"/>
          <p:nvPr/>
        </p:nvSpPr>
        <p:spPr>
          <a:xfrm rot="1558204">
            <a:off x="2661942" y="3915141"/>
            <a:ext cx="1153072" cy="338554"/>
          </a:xfrm>
          <a:prstGeom prst="rect">
            <a:avLst/>
          </a:prstGeom>
          <a:noFill/>
        </p:spPr>
        <p:txBody>
          <a:bodyPr wrap="none" rtlCol="0" anchor="b" anchorCtr="0">
            <a:spAutoFit/>
          </a:bodyPr>
          <a:lstStyle/>
          <a:p>
            <a:pPr algn="ctr" rtl="0"/>
            <a:r>
              <a:rPr lang="en-GB" sz="1600" b="1" dirty="0">
                <a:solidFill>
                  <a:srgbClr val="595959"/>
                </a:solidFill>
                <a:ea typeface="League Spartan" charset="0"/>
                <a:cs typeface="Poppins" pitchFamily="2" charset="77"/>
              </a:rPr>
              <a:t>PROACTIVO</a:t>
            </a:r>
          </a:p>
        </p:txBody>
      </p:sp>
      <p:sp>
        <p:nvSpPr>
          <p:cNvPr id="119" name="TextBox 73">
            <a:extLst>
              <a:ext uri="{FF2B5EF4-FFF2-40B4-BE49-F238E27FC236}">
                <a16:creationId xmlns:a16="http://schemas.microsoft.com/office/drawing/2014/main" id="{50DF858C-0AB5-4251-5AFC-01506B2CD069}"/>
              </a:ext>
            </a:extLst>
          </p:cNvPr>
          <p:cNvSpPr txBox="1"/>
          <p:nvPr/>
        </p:nvSpPr>
        <p:spPr>
          <a:xfrm>
            <a:off x="7026564" y="2974129"/>
            <a:ext cx="905889" cy="338554"/>
          </a:xfrm>
          <a:prstGeom prst="rect">
            <a:avLst/>
          </a:prstGeom>
          <a:noFill/>
        </p:spPr>
        <p:txBody>
          <a:bodyPr wrap="none" rtlCol="0" anchor="b" anchorCtr="0">
            <a:spAutoFit/>
          </a:bodyPr>
          <a:lstStyle/>
          <a:p>
            <a:pPr algn="ctr" rtl="0"/>
            <a:r>
              <a:rPr lang="en-GB" sz="1600" b="1" dirty="0">
                <a:solidFill>
                  <a:srgbClr val="7F1C58"/>
                </a:solidFill>
                <a:ea typeface="League Spartan" charset="0"/>
                <a:cs typeface="Poppins" pitchFamily="2" charset="77"/>
              </a:rPr>
              <a:t>Reactivo</a:t>
            </a:r>
          </a:p>
        </p:txBody>
      </p:sp>
      <p:sp>
        <p:nvSpPr>
          <p:cNvPr id="120" name="Pfeil: nach oben gekrümmt 2">
            <a:extLst>
              <a:ext uri="{FF2B5EF4-FFF2-40B4-BE49-F238E27FC236}">
                <a16:creationId xmlns:a16="http://schemas.microsoft.com/office/drawing/2014/main" id="{8985639E-04B3-2DB0-F4FF-1E176FC4C1D1}"/>
              </a:ext>
            </a:extLst>
          </p:cNvPr>
          <p:cNvSpPr/>
          <p:nvPr/>
        </p:nvSpPr>
        <p:spPr>
          <a:xfrm flipH="1">
            <a:off x="931867" y="5569250"/>
            <a:ext cx="9369692" cy="686514"/>
          </a:xfrm>
          <a:prstGeom prst="curvedUpArrow">
            <a:avLst>
              <a:gd name="adj1" fmla="val 54162"/>
              <a:gd name="adj2" fmla="val 186399"/>
              <a:gd name="adj3" fmla="val 46142"/>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600" dirty="0">
              <a:solidFill>
                <a:schemeClr val="tx1"/>
              </a:solidFill>
            </a:endParaRPr>
          </a:p>
        </p:txBody>
      </p:sp>
      <p:sp>
        <p:nvSpPr>
          <p:cNvPr id="122" name="TextBox 67">
            <a:extLst>
              <a:ext uri="{FF2B5EF4-FFF2-40B4-BE49-F238E27FC236}">
                <a16:creationId xmlns:a16="http://schemas.microsoft.com/office/drawing/2014/main" id="{F59C16F4-A6D4-3832-F536-EDD84534645A}"/>
              </a:ext>
            </a:extLst>
          </p:cNvPr>
          <p:cNvSpPr txBox="1"/>
          <p:nvPr/>
        </p:nvSpPr>
        <p:spPr>
          <a:xfrm rot="19932641">
            <a:off x="5610542" y="3918333"/>
            <a:ext cx="713657" cy="338554"/>
          </a:xfrm>
          <a:prstGeom prst="rect">
            <a:avLst/>
          </a:prstGeom>
          <a:noFill/>
        </p:spPr>
        <p:txBody>
          <a:bodyPr wrap="none" rtlCol="0" anchor="b" anchorCtr="0">
            <a:spAutoFit/>
          </a:bodyPr>
          <a:lstStyle/>
          <a:p>
            <a:pPr algn="ctr" rtl="0"/>
            <a:r>
              <a:rPr lang="en-GB" sz="1600" b="1" dirty="0">
                <a:solidFill>
                  <a:srgbClr val="595959"/>
                </a:solidFill>
                <a:ea typeface="League Spartan" charset="0"/>
                <a:cs typeface="Poppins" pitchFamily="2" charset="77"/>
              </a:rPr>
              <a:t>CRISIS</a:t>
            </a:r>
          </a:p>
        </p:txBody>
      </p:sp>
      <p:sp>
        <p:nvSpPr>
          <p:cNvPr id="123" name="TextBox 67">
            <a:extLst>
              <a:ext uri="{FF2B5EF4-FFF2-40B4-BE49-F238E27FC236}">
                <a16:creationId xmlns:a16="http://schemas.microsoft.com/office/drawing/2014/main" id="{17C4652C-5820-516D-1D4B-D647D6F461C1}"/>
              </a:ext>
            </a:extLst>
          </p:cNvPr>
          <p:cNvSpPr txBox="1"/>
          <p:nvPr/>
        </p:nvSpPr>
        <p:spPr>
          <a:xfrm>
            <a:off x="5265503" y="5907804"/>
            <a:ext cx="1063816" cy="338554"/>
          </a:xfrm>
          <a:prstGeom prst="rect">
            <a:avLst/>
          </a:prstGeom>
          <a:noFill/>
        </p:spPr>
        <p:txBody>
          <a:bodyPr wrap="none" rtlCol="0" anchor="b" anchorCtr="0">
            <a:spAutoFit/>
          </a:bodyPr>
          <a:lstStyle/>
          <a:p>
            <a:pPr algn="ctr" rtl="0"/>
            <a:r>
              <a:rPr lang="en-GB" sz="1600" b="1" dirty="0">
                <a:solidFill>
                  <a:srgbClr val="595959"/>
                </a:solidFill>
                <a:ea typeface="League Spartan" charset="0"/>
                <a:cs typeface="Poppins" pitchFamily="2" charset="77"/>
              </a:rPr>
              <a:t>APRENDIZAJE</a:t>
            </a:r>
          </a:p>
        </p:txBody>
      </p:sp>
      <p:grpSp>
        <p:nvGrpSpPr>
          <p:cNvPr id="144" name="Group 143">
            <a:extLst>
              <a:ext uri="{FF2B5EF4-FFF2-40B4-BE49-F238E27FC236}">
                <a16:creationId xmlns:a16="http://schemas.microsoft.com/office/drawing/2014/main" id="{76B3BDBC-2349-F6E4-ACD5-CB1FBFDD1A0C}"/>
              </a:ext>
            </a:extLst>
          </p:cNvPr>
          <p:cNvGrpSpPr/>
          <p:nvPr/>
        </p:nvGrpSpPr>
        <p:grpSpPr>
          <a:xfrm>
            <a:off x="730389" y="2400225"/>
            <a:ext cx="2024938" cy="1908753"/>
            <a:chOff x="723957" y="2583653"/>
            <a:chExt cx="2024938" cy="1908753"/>
          </a:xfrm>
        </p:grpSpPr>
        <p:sp>
          <p:nvSpPr>
            <p:cNvPr id="78" name="Freeform 7">
              <a:extLst>
                <a:ext uri="{FF2B5EF4-FFF2-40B4-BE49-F238E27FC236}">
                  <a16:creationId xmlns:a16="http://schemas.microsoft.com/office/drawing/2014/main" id="{D2B5437E-3E25-1726-8E81-9311C487B95C}"/>
                </a:ext>
              </a:extLst>
            </p:cNvPr>
            <p:cNvSpPr>
              <a:spLocks noChangeArrowheads="1"/>
            </p:cNvSpPr>
            <p:nvPr/>
          </p:nvSpPr>
          <p:spPr bwMode="auto">
            <a:xfrm>
              <a:off x="2690802" y="3872755"/>
              <a:ext cx="44261" cy="174276"/>
            </a:xfrm>
            <a:custGeom>
              <a:avLst/>
              <a:gdLst>
                <a:gd name="T0" fmla="*/ 67 w 69"/>
                <a:gd name="T1" fmla="*/ 10 h 278"/>
                <a:gd name="T2" fmla="*/ 67 w 69"/>
                <a:gd name="T3" fmla="*/ 12 h 278"/>
                <a:gd name="T4" fmla="*/ 64 w 69"/>
                <a:gd name="T5" fmla="*/ 22 h 278"/>
                <a:gd name="T6" fmla="*/ 62 w 69"/>
                <a:gd name="T7" fmla="*/ 25 h 278"/>
                <a:gd name="T8" fmla="*/ 59 w 69"/>
                <a:gd name="T9" fmla="*/ 32 h 278"/>
                <a:gd name="T10" fmla="*/ 57 w 69"/>
                <a:gd name="T11" fmla="*/ 36 h 278"/>
                <a:gd name="T12" fmla="*/ 52 w 69"/>
                <a:gd name="T13" fmla="*/ 42 h 278"/>
                <a:gd name="T14" fmla="*/ 49 w 69"/>
                <a:gd name="T15" fmla="*/ 47 h 278"/>
                <a:gd name="T16" fmla="*/ 44 w 69"/>
                <a:gd name="T17" fmla="*/ 52 h 278"/>
                <a:gd name="T18" fmla="*/ 38 w 69"/>
                <a:gd name="T19" fmla="*/ 57 h 278"/>
                <a:gd name="T20" fmla="*/ 31 w 69"/>
                <a:gd name="T21" fmla="*/ 63 h 278"/>
                <a:gd name="T22" fmla="*/ 29 w 69"/>
                <a:gd name="T23" fmla="*/ 65 h 278"/>
                <a:gd name="T24" fmla="*/ 17 w 69"/>
                <a:gd name="T25" fmla="*/ 73 h 278"/>
                <a:gd name="T26" fmla="*/ 14 w 69"/>
                <a:gd name="T27" fmla="*/ 75 h 278"/>
                <a:gd name="T28" fmla="*/ 0 w 69"/>
                <a:gd name="T29" fmla="*/ 82 h 278"/>
                <a:gd name="T30" fmla="*/ 0 w 69"/>
                <a:gd name="T31" fmla="*/ 277 h 278"/>
                <a:gd name="T32" fmla="*/ 14 w 69"/>
                <a:gd name="T33" fmla="*/ 268 h 278"/>
                <a:gd name="T34" fmla="*/ 17 w 69"/>
                <a:gd name="T35" fmla="*/ 267 h 278"/>
                <a:gd name="T36" fmla="*/ 19 w 69"/>
                <a:gd name="T37" fmla="*/ 266 h 278"/>
                <a:gd name="T38" fmla="*/ 29 w 69"/>
                <a:gd name="T39" fmla="*/ 259 h 278"/>
                <a:gd name="T40" fmla="*/ 31 w 69"/>
                <a:gd name="T41" fmla="*/ 258 h 278"/>
                <a:gd name="T42" fmla="*/ 35 w 69"/>
                <a:gd name="T43" fmla="*/ 254 h 278"/>
                <a:gd name="T44" fmla="*/ 38 w 69"/>
                <a:gd name="T45" fmla="*/ 251 h 278"/>
                <a:gd name="T46" fmla="*/ 44 w 69"/>
                <a:gd name="T47" fmla="*/ 246 h 278"/>
                <a:gd name="T48" fmla="*/ 46 w 69"/>
                <a:gd name="T49" fmla="*/ 243 h 278"/>
                <a:gd name="T50" fmla="*/ 49 w 69"/>
                <a:gd name="T51" fmla="*/ 240 h 278"/>
                <a:gd name="T52" fmla="*/ 52 w 69"/>
                <a:gd name="T53" fmla="*/ 236 h 278"/>
                <a:gd name="T54" fmla="*/ 54 w 69"/>
                <a:gd name="T55" fmla="*/ 234 h 278"/>
                <a:gd name="T56" fmla="*/ 57 w 69"/>
                <a:gd name="T57" fmla="*/ 230 h 278"/>
                <a:gd name="T58" fmla="*/ 59 w 69"/>
                <a:gd name="T59" fmla="*/ 226 h 278"/>
                <a:gd name="T60" fmla="*/ 60 w 69"/>
                <a:gd name="T61" fmla="*/ 225 h 278"/>
                <a:gd name="T62" fmla="*/ 62 w 69"/>
                <a:gd name="T63" fmla="*/ 219 h 278"/>
                <a:gd name="T64" fmla="*/ 64 w 69"/>
                <a:gd name="T65" fmla="*/ 216 h 278"/>
                <a:gd name="T66" fmla="*/ 64 w 69"/>
                <a:gd name="T67" fmla="*/ 215 h 278"/>
                <a:gd name="T68" fmla="*/ 67 w 69"/>
                <a:gd name="T69" fmla="*/ 206 h 278"/>
                <a:gd name="T70" fmla="*/ 67 w 69"/>
                <a:gd name="T71" fmla="*/ 204 h 278"/>
                <a:gd name="T72" fmla="*/ 68 w 69"/>
                <a:gd name="T73" fmla="*/ 196 h 278"/>
                <a:gd name="T74" fmla="*/ 68 w 69"/>
                <a:gd name="T75" fmla="*/ 195 h 278"/>
                <a:gd name="T76" fmla="*/ 68 w 69"/>
                <a:gd name="T77" fmla="*/ 0 h 278"/>
                <a:gd name="T78" fmla="*/ 67 w 69"/>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8">
                  <a:moveTo>
                    <a:pt x="67" y="10"/>
                  </a:moveTo>
                  <a:cubicBezTo>
                    <a:pt x="67" y="10"/>
                    <a:pt x="67" y="11"/>
                    <a:pt x="67" y="12"/>
                  </a:cubicBezTo>
                  <a:cubicBezTo>
                    <a:pt x="66" y="15"/>
                    <a:pt x="65" y="19"/>
                    <a:pt x="64" y="22"/>
                  </a:cubicBezTo>
                  <a:cubicBezTo>
                    <a:pt x="63" y="23"/>
                    <a:pt x="63" y="24"/>
                    <a:pt x="62" y="25"/>
                  </a:cubicBezTo>
                  <a:cubicBezTo>
                    <a:pt x="62" y="28"/>
                    <a:pt x="60" y="30"/>
                    <a:pt x="59" y="32"/>
                  </a:cubicBezTo>
                  <a:cubicBezTo>
                    <a:pt x="58" y="33"/>
                    <a:pt x="57" y="34"/>
                    <a:pt x="57" y="36"/>
                  </a:cubicBezTo>
                  <a:cubicBezTo>
                    <a:pt x="55" y="38"/>
                    <a:pt x="53" y="40"/>
                    <a:pt x="52" y="42"/>
                  </a:cubicBezTo>
                  <a:cubicBezTo>
                    <a:pt x="51" y="43"/>
                    <a:pt x="50" y="45"/>
                    <a:pt x="49" y="47"/>
                  </a:cubicBezTo>
                  <a:cubicBezTo>
                    <a:pt x="47" y="48"/>
                    <a:pt x="46" y="50"/>
                    <a:pt x="44" y="52"/>
                  </a:cubicBezTo>
                  <a:cubicBezTo>
                    <a:pt x="42" y="53"/>
                    <a:pt x="40" y="55"/>
                    <a:pt x="38" y="57"/>
                  </a:cubicBezTo>
                  <a:cubicBezTo>
                    <a:pt x="36" y="59"/>
                    <a:pt x="33" y="61"/>
                    <a:pt x="31" y="63"/>
                  </a:cubicBezTo>
                  <a:cubicBezTo>
                    <a:pt x="30" y="64"/>
                    <a:pt x="30" y="64"/>
                    <a:pt x="29" y="65"/>
                  </a:cubicBezTo>
                  <a:cubicBezTo>
                    <a:pt x="25" y="67"/>
                    <a:pt x="21" y="70"/>
                    <a:pt x="17" y="73"/>
                  </a:cubicBezTo>
                  <a:cubicBezTo>
                    <a:pt x="16" y="73"/>
                    <a:pt x="15" y="74"/>
                    <a:pt x="14" y="75"/>
                  </a:cubicBezTo>
                  <a:cubicBezTo>
                    <a:pt x="10" y="77"/>
                    <a:pt x="5" y="80"/>
                    <a:pt x="0" y="82"/>
                  </a:cubicBezTo>
                  <a:lnTo>
                    <a:pt x="0" y="277"/>
                  </a:lnTo>
                  <a:cubicBezTo>
                    <a:pt x="5" y="274"/>
                    <a:pt x="10" y="272"/>
                    <a:pt x="14" y="268"/>
                  </a:cubicBezTo>
                  <a:cubicBezTo>
                    <a:pt x="15" y="268"/>
                    <a:pt x="16" y="267"/>
                    <a:pt x="17" y="267"/>
                  </a:cubicBezTo>
                  <a:lnTo>
                    <a:pt x="19" y="266"/>
                  </a:lnTo>
                  <a:cubicBezTo>
                    <a:pt x="23" y="263"/>
                    <a:pt x="26" y="261"/>
                    <a:pt x="29" y="259"/>
                  </a:cubicBezTo>
                  <a:cubicBezTo>
                    <a:pt x="30" y="258"/>
                    <a:pt x="30" y="258"/>
                    <a:pt x="31" y="258"/>
                  </a:cubicBezTo>
                  <a:cubicBezTo>
                    <a:pt x="32" y="256"/>
                    <a:pt x="34" y="255"/>
                    <a:pt x="35" y="254"/>
                  </a:cubicBezTo>
                  <a:cubicBezTo>
                    <a:pt x="36" y="253"/>
                    <a:pt x="37" y="252"/>
                    <a:pt x="38" y="251"/>
                  </a:cubicBezTo>
                  <a:cubicBezTo>
                    <a:pt x="40" y="250"/>
                    <a:pt x="42" y="248"/>
                    <a:pt x="44" y="246"/>
                  </a:cubicBezTo>
                  <a:cubicBezTo>
                    <a:pt x="44" y="245"/>
                    <a:pt x="46" y="245"/>
                    <a:pt x="46" y="243"/>
                  </a:cubicBezTo>
                  <a:cubicBezTo>
                    <a:pt x="47" y="243"/>
                    <a:pt x="47" y="242"/>
                    <a:pt x="49" y="240"/>
                  </a:cubicBezTo>
                  <a:cubicBezTo>
                    <a:pt x="50" y="239"/>
                    <a:pt x="51" y="238"/>
                    <a:pt x="52" y="236"/>
                  </a:cubicBezTo>
                  <a:cubicBezTo>
                    <a:pt x="53" y="236"/>
                    <a:pt x="53" y="235"/>
                    <a:pt x="54" y="234"/>
                  </a:cubicBezTo>
                  <a:cubicBezTo>
                    <a:pt x="55" y="232"/>
                    <a:pt x="55" y="231"/>
                    <a:pt x="57" y="230"/>
                  </a:cubicBezTo>
                  <a:cubicBezTo>
                    <a:pt x="57" y="229"/>
                    <a:pt x="58" y="227"/>
                    <a:pt x="59" y="226"/>
                  </a:cubicBezTo>
                  <a:lnTo>
                    <a:pt x="60" y="225"/>
                  </a:lnTo>
                  <a:cubicBezTo>
                    <a:pt x="61" y="223"/>
                    <a:pt x="62" y="221"/>
                    <a:pt x="62" y="219"/>
                  </a:cubicBezTo>
                  <a:cubicBezTo>
                    <a:pt x="63" y="219"/>
                    <a:pt x="63" y="217"/>
                    <a:pt x="64" y="216"/>
                  </a:cubicBezTo>
                  <a:lnTo>
                    <a:pt x="64" y="215"/>
                  </a:lnTo>
                  <a:cubicBezTo>
                    <a:pt x="65" y="212"/>
                    <a:pt x="66" y="209"/>
                    <a:pt x="67" y="206"/>
                  </a:cubicBezTo>
                  <a:cubicBezTo>
                    <a:pt x="67" y="206"/>
                    <a:pt x="67" y="205"/>
                    <a:pt x="67" y="204"/>
                  </a:cubicBezTo>
                  <a:cubicBezTo>
                    <a:pt x="68" y="202"/>
                    <a:pt x="68" y="199"/>
                    <a:pt x="68" y="196"/>
                  </a:cubicBezTo>
                  <a:cubicBezTo>
                    <a:pt x="68" y="195"/>
                    <a:pt x="68" y="195"/>
                    <a:pt x="68" y="195"/>
                  </a:cubicBezTo>
                  <a:lnTo>
                    <a:pt x="68" y="0"/>
                  </a:lnTo>
                  <a:cubicBezTo>
                    <a:pt x="68" y="4"/>
                    <a:pt x="68" y="7"/>
                    <a:pt x="67" y="10"/>
                  </a:cubicBezTo>
                </a:path>
              </a:pathLst>
            </a:custGeom>
            <a:solidFill>
              <a:schemeClr val="bg1">
                <a:lumMod val="65000"/>
              </a:schemeClr>
            </a:solidFill>
            <a:ln>
              <a:noFill/>
            </a:ln>
            <a:effectLst/>
          </p:spPr>
          <p:txBody>
            <a:bodyPr wrap="none" anchor="ctr"/>
            <a:lstStyle/>
            <a:p>
              <a:pPr algn="l" rtl="0"/>
              <a:endParaRPr lang="en-GB" sz="1600" dirty="0"/>
            </a:p>
          </p:txBody>
        </p:sp>
        <p:sp>
          <p:nvSpPr>
            <p:cNvPr id="79" name="Freeform 9">
              <a:extLst>
                <a:ext uri="{FF2B5EF4-FFF2-40B4-BE49-F238E27FC236}">
                  <a16:creationId xmlns:a16="http://schemas.microsoft.com/office/drawing/2014/main" id="{4D8B18AD-002B-BB91-C993-765AB34FA145}"/>
                </a:ext>
              </a:extLst>
            </p:cNvPr>
            <p:cNvSpPr>
              <a:spLocks noChangeArrowheads="1"/>
            </p:cNvSpPr>
            <p:nvPr/>
          </p:nvSpPr>
          <p:spPr bwMode="auto">
            <a:xfrm>
              <a:off x="737788" y="3872755"/>
              <a:ext cx="44261" cy="174276"/>
            </a:xfrm>
            <a:custGeom>
              <a:avLst/>
              <a:gdLst>
                <a:gd name="T0" fmla="*/ 0 w 69"/>
                <a:gd name="T1" fmla="*/ 195 h 278"/>
                <a:gd name="T2" fmla="*/ 0 w 69"/>
                <a:gd name="T3" fmla="*/ 0 h 278"/>
                <a:gd name="T4" fmla="*/ 68 w 69"/>
                <a:gd name="T5" fmla="*/ 82 h 278"/>
                <a:gd name="T6" fmla="*/ 68 w 69"/>
                <a:gd name="T7" fmla="*/ 277 h 278"/>
                <a:gd name="T8" fmla="*/ 0 w 69"/>
                <a:gd name="T9" fmla="*/ 195 h 278"/>
              </a:gdLst>
              <a:ahLst/>
              <a:cxnLst>
                <a:cxn ang="0">
                  <a:pos x="T0" y="T1"/>
                </a:cxn>
                <a:cxn ang="0">
                  <a:pos x="T2" y="T3"/>
                </a:cxn>
                <a:cxn ang="0">
                  <a:pos x="T4" y="T5"/>
                </a:cxn>
                <a:cxn ang="0">
                  <a:pos x="T6" y="T7"/>
                </a:cxn>
                <a:cxn ang="0">
                  <a:pos x="T8" y="T9"/>
                </a:cxn>
              </a:cxnLst>
              <a:rect l="0" t="0" r="r" b="b"/>
              <a:pathLst>
                <a:path w="69" h="278">
                  <a:moveTo>
                    <a:pt x="0" y="195"/>
                  </a:moveTo>
                  <a:lnTo>
                    <a:pt x="0" y="0"/>
                  </a:lnTo>
                  <a:cubicBezTo>
                    <a:pt x="0" y="30"/>
                    <a:pt x="22" y="59"/>
                    <a:pt x="68" y="82"/>
                  </a:cubicBezTo>
                  <a:lnTo>
                    <a:pt x="68" y="277"/>
                  </a:lnTo>
                  <a:cubicBezTo>
                    <a:pt x="22" y="254"/>
                    <a:pt x="0" y="224"/>
                    <a:pt x="0" y="195"/>
                  </a:cubicBezTo>
                </a:path>
              </a:pathLst>
            </a:custGeom>
            <a:solidFill>
              <a:schemeClr val="bg1">
                <a:lumMod val="65000"/>
              </a:schemeClr>
            </a:solidFill>
            <a:ln>
              <a:noFill/>
            </a:ln>
            <a:effectLst/>
          </p:spPr>
          <p:txBody>
            <a:bodyPr wrap="none" anchor="ctr"/>
            <a:lstStyle/>
            <a:p>
              <a:pPr algn="l" rtl="0"/>
              <a:endParaRPr lang="en-GB" sz="1600" dirty="0"/>
            </a:p>
          </p:txBody>
        </p:sp>
        <p:sp>
          <p:nvSpPr>
            <p:cNvPr id="80" name="Freeform 10">
              <a:extLst>
                <a:ext uri="{FF2B5EF4-FFF2-40B4-BE49-F238E27FC236}">
                  <a16:creationId xmlns:a16="http://schemas.microsoft.com/office/drawing/2014/main" id="{6B7B6BE7-1AE2-3DCD-2A52-F763FC0DF3BC}"/>
                </a:ext>
              </a:extLst>
            </p:cNvPr>
            <p:cNvSpPr>
              <a:spLocks noChangeArrowheads="1"/>
            </p:cNvSpPr>
            <p:nvPr/>
          </p:nvSpPr>
          <p:spPr bwMode="auto">
            <a:xfrm>
              <a:off x="1838779" y="3922547"/>
              <a:ext cx="852022" cy="547729"/>
            </a:xfrm>
            <a:custGeom>
              <a:avLst/>
              <a:gdLst>
                <a:gd name="T0" fmla="*/ 1359 w 1360"/>
                <a:gd name="T1" fmla="*/ 0 h 875"/>
                <a:gd name="T2" fmla="*/ 1359 w 1360"/>
                <a:gd name="T3" fmla="*/ 195 h 875"/>
                <a:gd name="T4" fmla="*/ 0 w 1360"/>
                <a:gd name="T5" fmla="*/ 874 h 875"/>
                <a:gd name="T6" fmla="*/ 0 w 1360"/>
                <a:gd name="T7" fmla="*/ 679 h 875"/>
                <a:gd name="T8" fmla="*/ 1359 w 1360"/>
                <a:gd name="T9" fmla="*/ 0 h 875"/>
              </a:gdLst>
              <a:ahLst/>
              <a:cxnLst>
                <a:cxn ang="0">
                  <a:pos x="T0" y="T1"/>
                </a:cxn>
                <a:cxn ang="0">
                  <a:pos x="T2" y="T3"/>
                </a:cxn>
                <a:cxn ang="0">
                  <a:pos x="T4" y="T5"/>
                </a:cxn>
                <a:cxn ang="0">
                  <a:pos x="T6" y="T7"/>
                </a:cxn>
                <a:cxn ang="0">
                  <a:pos x="T8" y="T9"/>
                </a:cxn>
              </a:cxnLst>
              <a:rect l="0" t="0" r="r" b="b"/>
              <a:pathLst>
                <a:path w="1360" h="875">
                  <a:moveTo>
                    <a:pt x="1359" y="0"/>
                  </a:moveTo>
                  <a:lnTo>
                    <a:pt x="1359" y="195"/>
                  </a:lnTo>
                  <a:lnTo>
                    <a:pt x="0" y="874"/>
                  </a:lnTo>
                  <a:lnTo>
                    <a:pt x="0" y="679"/>
                  </a:lnTo>
                  <a:lnTo>
                    <a:pt x="1359" y="0"/>
                  </a:lnTo>
                </a:path>
              </a:pathLst>
            </a:custGeom>
            <a:solidFill>
              <a:schemeClr val="bg1">
                <a:lumMod val="75000"/>
              </a:schemeClr>
            </a:solidFill>
            <a:ln>
              <a:noFill/>
            </a:ln>
            <a:effectLst/>
          </p:spPr>
          <p:txBody>
            <a:bodyPr wrap="none" anchor="ctr"/>
            <a:lstStyle/>
            <a:p>
              <a:pPr algn="l" rtl="0"/>
              <a:endParaRPr lang="en-GB" sz="1600" dirty="0"/>
            </a:p>
          </p:txBody>
        </p:sp>
        <p:sp>
          <p:nvSpPr>
            <p:cNvPr id="81" name="Freeform 11">
              <a:extLst>
                <a:ext uri="{FF2B5EF4-FFF2-40B4-BE49-F238E27FC236}">
                  <a16:creationId xmlns:a16="http://schemas.microsoft.com/office/drawing/2014/main" id="{A5364AB6-A03F-B098-AF61-80CC6434D63C}"/>
                </a:ext>
              </a:extLst>
            </p:cNvPr>
            <p:cNvSpPr>
              <a:spLocks noChangeArrowheads="1"/>
            </p:cNvSpPr>
            <p:nvPr/>
          </p:nvSpPr>
          <p:spPr bwMode="auto">
            <a:xfrm>
              <a:off x="782049" y="3922547"/>
              <a:ext cx="852022" cy="547729"/>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pPr algn="l" rtl="0"/>
              <a:endParaRPr lang="en-GB" sz="1600" dirty="0"/>
            </a:p>
          </p:txBody>
        </p:sp>
        <p:sp>
          <p:nvSpPr>
            <p:cNvPr id="82" name="Freeform 12">
              <a:extLst>
                <a:ext uri="{FF2B5EF4-FFF2-40B4-BE49-F238E27FC236}">
                  <a16:creationId xmlns:a16="http://schemas.microsoft.com/office/drawing/2014/main" id="{5BF67E00-E7CD-78F4-9A82-53DD4B96C5A2}"/>
                </a:ext>
              </a:extLst>
            </p:cNvPr>
            <p:cNvSpPr>
              <a:spLocks noChangeArrowheads="1"/>
            </p:cNvSpPr>
            <p:nvPr/>
          </p:nvSpPr>
          <p:spPr bwMode="auto">
            <a:xfrm>
              <a:off x="723957" y="3374818"/>
              <a:ext cx="2024938" cy="998637"/>
            </a:xfrm>
            <a:custGeom>
              <a:avLst/>
              <a:gdLst>
                <a:gd name="T0" fmla="*/ 1614 w 3228"/>
                <a:gd name="T1" fmla="*/ 0 h 1592"/>
                <a:gd name="T2" fmla="*/ 1777 w 3228"/>
                <a:gd name="T3" fmla="*/ 34 h 1592"/>
                <a:gd name="T4" fmla="*/ 3136 w 3228"/>
                <a:gd name="T5" fmla="*/ 713 h 1592"/>
                <a:gd name="T6" fmla="*/ 3136 w 3228"/>
                <a:gd name="T7" fmla="*/ 877 h 1592"/>
                <a:gd name="T8" fmla="*/ 1777 w 3228"/>
                <a:gd name="T9" fmla="*/ 1556 h 1592"/>
                <a:gd name="T10" fmla="*/ 1614 w 3228"/>
                <a:gd name="T11" fmla="*/ 1591 h 1592"/>
                <a:gd name="T12" fmla="*/ 1449 w 3228"/>
                <a:gd name="T13" fmla="*/ 1556 h 1592"/>
                <a:gd name="T14" fmla="*/ 91 w 3228"/>
                <a:gd name="T15" fmla="*/ 877 h 1592"/>
                <a:gd name="T16" fmla="*/ 91 w 3228"/>
                <a:gd name="T17" fmla="*/ 713 h 1592"/>
                <a:gd name="T18" fmla="*/ 1449 w 3228"/>
                <a:gd name="T19" fmla="*/ 34 h 1592"/>
                <a:gd name="T20" fmla="*/ 1614 w 3228"/>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8" h="1592">
                  <a:moveTo>
                    <a:pt x="1614" y="0"/>
                  </a:moveTo>
                  <a:cubicBezTo>
                    <a:pt x="1673" y="0"/>
                    <a:pt x="1732" y="12"/>
                    <a:pt x="1777" y="34"/>
                  </a:cubicBezTo>
                  <a:lnTo>
                    <a:pt x="3136" y="713"/>
                  </a:lnTo>
                  <a:cubicBezTo>
                    <a:pt x="3227" y="758"/>
                    <a:pt x="3227" y="832"/>
                    <a:pt x="3136" y="877"/>
                  </a:cubicBezTo>
                  <a:lnTo>
                    <a:pt x="1777" y="1556"/>
                  </a:lnTo>
                  <a:cubicBezTo>
                    <a:pt x="1732" y="1579"/>
                    <a:pt x="1673" y="1591"/>
                    <a:pt x="1614" y="1591"/>
                  </a:cubicBezTo>
                  <a:cubicBezTo>
                    <a:pt x="1554" y="1591"/>
                    <a:pt x="1495" y="1579"/>
                    <a:pt x="1449" y="1556"/>
                  </a:cubicBezTo>
                  <a:lnTo>
                    <a:pt x="91" y="877"/>
                  </a:lnTo>
                  <a:cubicBezTo>
                    <a:pt x="0" y="832"/>
                    <a:pt x="0" y="758"/>
                    <a:pt x="91" y="713"/>
                  </a:cubicBezTo>
                  <a:lnTo>
                    <a:pt x="1449" y="34"/>
                  </a:lnTo>
                  <a:cubicBezTo>
                    <a:pt x="1495" y="12"/>
                    <a:pt x="1554" y="0"/>
                    <a:pt x="1614" y="0"/>
                  </a:cubicBezTo>
                </a:path>
              </a:pathLst>
            </a:custGeom>
            <a:solidFill>
              <a:schemeClr val="bg1">
                <a:lumMod val="95000"/>
              </a:schemeClr>
            </a:solidFill>
            <a:ln>
              <a:noFill/>
            </a:ln>
            <a:effectLst/>
          </p:spPr>
          <p:txBody>
            <a:bodyPr wrap="none" anchor="ctr"/>
            <a:lstStyle/>
            <a:p>
              <a:pPr algn="l" rtl="0"/>
              <a:endParaRPr lang="en-GB" sz="1600" dirty="0"/>
            </a:p>
          </p:txBody>
        </p:sp>
        <p:sp>
          <p:nvSpPr>
            <p:cNvPr id="83" name="Freeform 13">
              <a:extLst>
                <a:ext uri="{FF2B5EF4-FFF2-40B4-BE49-F238E27FC236}">
                  <a16:creationId xmlns:a16="http://schemas.microsoft.com/office/drawing/2014/main" id="{A0CA23EE-080C-E2A0-136E-5D4E10243BA7}"/>
                </a:ext>
              </a:extLst>
            </p:cNvPr>
            <p:cNvSpPr>
              <a:spLocks noChangeArrowheads="1"/>
            </p:cNvSpPr>
            <p:nvPr/>
          </p:nvSpPr>
          <p:spPr bwMode="auto">
            <a:xfrm>
              <a:off x="1634071" y="4348558"/>
              <a:ext cx="207472" cy="143848"/>
            </a:xfrm>
            <a:custGeom>
              <a:avLst/>
              <a:gdLst>
                <a:gd name="T0" fmla="*/ 300 w 329"/>
                <a:gd name="T1" fmla="*/ 12 h 230"/>
                <a:gd name="T2" fmla="*/ 276 w 329"/>
                <a:gd name="T3" fmla="*/ 20 h 230"/>
                <a:gd name="T4" fmla="*/ 254 w 329"/>
                <a:gd name="T5" fmla="*/ 26 h 230"/>
                <a:gd name="T6" fmla="*/ 230 w 329"/>
                <a:gd name="T7" fmla="*/ 30 h 230"/>
                <a:gd name="T8" fmla="*/ 205 w 329"/>
                <a:gd name="T9" fmla="*/ 33 h 230"/>
                <a:gd name="T10" fmla="*/ 183 w 329"/>
                <a:gd name="T11" fmla="*/ 34 h 230"/>
                <a:gd name="T12" fmla="*/ 148 w 329"/>
                <a:gd name="T13" fmla="*/ 34 h 230"/>
                <a:gd name="T14" fmla="*/ 122 w 329"/>
                <a:gd name="T15" fmla="*/ 32 h 230"/>
                <a:gd name="T16" fmla="*/ 100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3 w 329"/>
                <a:gd name="T37" fmla="*/ 221 h 230"/>
                <a:gd name="T38" fmla="*/ 100 w 329"/>
                <a:gd name="T39" fmla="*/ 224 h 230"/>
                <a:gd name="T40" fmla="*/ 120 w 329"/>
                <a:gd name="T41" fmla="*/ 227 h 230"/>
                <a:gd name="T42" fmla="*/ 139 w 329"/>
                <a:gd name="T43" fmla="*/ 228 h 230"/>
                <a:gd name="T44" fmla="*/ 148 w 329"/>
                <a:gd name="T45" fmla="*/ 228 h 230"/>
                <a:gd name="T46" fmla="*/ 165 w 329"/>
                <a:gd name="T47" fmla="*/ 229 h 230"/>
                <a:gd name="T48" fmla="*/ 183 w 329"/>
                <a:gd name="T49" fmla="*/ 228 h 230"/>
                <a:gd name="T50" fmla="*/ 202 w 329"/>
                <a:gd name="T51" fmla="*/ 227 h 230"/>
                <a:gd name="T52" fmla="*/ 229 w 329"/>
                <a:gd name="T53" fmla="*/ 224 h 230"/>
                <a:gd name="T54" fmla="*/ 252 w 329"/>
                <a:gd name="T55" fmla="*/ 220 h 230"/>
                <a:gd name="T56" fmla="*/ 273 w 329"/>
                <a:gd name="T57" fmla="*/ 215 h 230"/>
                <a:gd name="T58" fmla="*/ 293 w 329"/>
                <a:gd name="T59" fmla="*/ 209 h 230"/>
                <a:gd name="T60" fmla="*/ 314 w 329"/>
                <a:gd name="T61" fmla="*/ 202 h 230"/>
                <a:gd name="T62" fmla="*/ 328 w 329"/>
                <a:gd name="T63" fmla="*/ 195 h 230"/>
                <a:gd name="T64" fmla="*/ 314 w 329"/>
                <a:gd name="T65" fmla="*/ 7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4" y="7"/>
                  </a:moveTo>
                  <a:cubicBezTo>
                    <a:pt x="309" y="9"/>
                    <a:pt x="304" y="11"/>
                    <a:pt x="300" y="12"/>
                  </a:cubicBezTo>
                  <a:cubicBezTo>
                    <a:pt x="298" y="13"/>
                    <a:pt x="296" y="14"/>
                    <a:pt x="293" y="15"/>
                  </a:cubicBezTo>
                  <a:cubicBezTo>
                    <a:pt x="288" y="17"/>
                    <a:pt x="282" y="19"/>
                    <a:pt x="276" y="20"/>
                  </a:cubicBezTo>
                  <a:cubicBezTo>
                    <a:pt x="275" y="21"/>
                    <a:pt x="273" y="21"/>
                    <a:pt x="273" y="21"/>
                  </a:cubicBezTo>
                  <a:cubicBezTo>
                    <a:pt x="267" y="23"/>
                    <a:pt x="260" y="24"/>
                    <a:pt x="254" y="26"/>
                  </a:cubicBezTo>
                  <a:cubicBezTo>
                    <a:pt x="253" y="26"/>
                    <a:pt x="252" y="26"/>
                    <a:pt x="252" y="26"/>
                  </a:cubicBezTo>
                  <a:cubicBezTo>
                    <a:pt x="245" y="27"/>
                    <a:pt x="237" y="29"/>
                    <a:pt x="230" y="30"/>
                  </a:cubicBezTo>
                  <a:lnTo>
                    <a:pt x="229" y="30"/>
                  </a:lnTo>
                  <a:cubicBezTo>
                    <a:pt x="221" y="31"/>
                    <a:pt x="213" y="32"/>
                    <a:pt x="205" y="33"/>
                  </a:cubicBezTo>
                  <a:cubicBezTo>
                    <a:pt x="202" y="33"/>
                    <a:pt x="199" y="33"/>
                    <a:pt x="195" y="34"/>
                  </a:cubicBezTo>
                  <a:cubicBezTo>
                    <a:pt x="191" y="34"/>
                    <a:pt x="187" y="34"/>
                    <a:pt x="183" y="34"/>
                  </a:cubicBezTo>
                  <a:cubicBezTo>
                    <a:pt x="177" y="34"/>
                    <a:pt x="171" y="35"/>
                    <a:pt x="165" y="35"/>
                  </a:cubicBezTo>
                  <a:cubicBezTo>
                    <a:pt x="159" y="35"/>
                    <a:pt x="154" y="34"/>
                    <a:pt x="148" y="34"/>
                  </a:cubicBezTo>
                  <a:cubicBezTo>
                    <a:pt x="145" y="34"/>
                    <a:pt x="143" y="34"/>
                    <a:pt x="141" y="34"/>
                  </a:cubicBezTo>
                  <a:cubicBezTo>
                    <a:pt x="135" y="34"/>
                    <a:pt x="128" y="33"/>
                    <a:pt x="122" y="32"/>
                  </a:cubicBezTo>
                  <a:cubicBezTo>
                    <a:pt x="121" y="32"/>
                    <a:pt x="120" y="32"/>
                    <a:pt x="120" y="32"/>
                  </a:cubicBezTo>
                  <a:cubicBezTo>
                    <a:pt x="113" y="32"/>
                    <a:pt x="106" y="31"/>
                    <a:pt x="100" y="30"/>
                  </a:cubicBezTo>
                  <a:cubicBezTo>
                    <a:pt x="97" y="29"/>
                    <a:pt x="96" y="29"/>
                    <a:pt x="93" y="29"/>
                  </a:cubicBezTo>
                  <a:cubicBezTo>
                    <a:pt x="89" y="28"/>
                    <a:pt x="84" y="27"/>
                    <a:pt x="79" y="26"/>
                  </a:cubicBezTo>
                  <a:cubicBezTo>
                    <a:pt x="77" y="26"/>
                    <a:pt x="74" y="25"/>
                    <a:pt x="71" y="24"/>
                  </a:cubicBezTo>
                  <a:cubicBezTo>
                    <a:pt x="67" y="24"/>
                    <a:pt x="63" y="23"/>
                    <a:pt x="60" y="22"/>
                  </a:cubicBezTo>
                  <a:cubicBezTo>
                    <a:pt x="56" y="21"/>
                    <a:pt x="52" y="20"/>
                    <a:pt x="50" y="19"/>
                  </a:cubicBezTo>
                  <a:cubicBezTo>
                    <a:pt x="46" y="18"/>
                    <a:pt x="43" y="17"/>
                    <a:pt x="40" y="16"/>
                  </a:cubicBezTo>
                  <a:cubicBezTo>
                    <a:pt x="33" y="14"/>
                    <a:pt x="26" y="12"/>
                    <a:pt x="20" y="9"/>
                  </a:cubicBezTo>
                  <a:cubicBezTo>
                    <a:pt x="20" y="9"/>
                    <a:pt x="19" y="9"/>
                    <a:pt x="18" y="8"/>
                  </a:cubicBezTo>
                  <a:cubicBezTo>
                    <a:pt x="12" y="6"/>
                    <a:pt x="6" y="4"/>
                    <a:pt x="0" y="0"/>
                  </a:cubicBezTo>
                  <a:lnTo>
                    <a:pt x="0" y="195"/>
                  </a:lnTo>
                  <a:cubicBezTo>
                    <a:pt x="6" y="197"/>
                    <a:pt x="12" y="200"/>
                    <a:pt x="18" y="203"/>
                  </a:cubicBezTo>
                  <a:cubicBezTo>
                    <a:pt x="19" y="203"/>
                    <a:pt x="20" y="204"/>
                    <a:pt x="20" y="204"/>
                  </a:cubicBezTo>
                  <a:cubicBezTo>
                    <a:pt x="26" y="206"/>
                    <a:pt x="33" y="208"/>
                    <a:pt x="40" y="210"/>
                  </a:cubicBezTo>
                  <a:cubicBezTo>
                    <a:pt x="41" y="211"/>
                    <a:pt x="41" y="211"/>
                    <a:pt x="42" y="212"/>
                  </a:cubicBezTo>
                  <a:cubicBezTo>
                    <a:pt x="45" y="212"/>
                    <a:pt x="47" y="213"/>
                    <a:pt x="50" y="213"/>
                  </a:cubicBezTo>
                  <a:cubicBezTo>
                    <a:pt x="52" y="214"/>
                    <a:pt x="56" y="215"/>
                    <a:pt x="60" y="216"/>
                  </a:cubicBezTo>
                  <a:cubicBezTo>
                    <a:pt x="61" y="216"/>
                    <a:pt x="62" y="217"/>
                    <a:pt x="63" y="217"/>
                  </a:cubicBezTo>
                  <a:cubicBezTo>
                    <a:pt x="65" y="218"/>
                    <a:pt x="68" y="218"/>
                    <a:pt x="71" y="219"/>
                  </a:cubicBezTo>
                  <a:cubicBezTo>
                    <a:pt x="74" y="219"/>
                    <a:pt x="77" y="220"/>
                    <a:pt x="79" y="221"/>
                  </a:cubicBezTo>
                  <a:cubicBezTo>
                    <a:pt x="81" y="221"/>
                    <a:pt x="81" y="221"/>
                    <a:pt x="83" y="221"/>
                  </a:cubicBezTo>
                  <a:cubicBezTo>
                    <a:pt x="86" y="222"/>
                    <a:pt x="89" y="223"/>
                    <a:pt x="93" y="223"/>
                  </a:cubicBezTo>
                  <a:cubicBezTo>
                    <a:pt x="96" y="223"/>
                    <a:pt x="97" y="224"/>
                    <a:pt x="100" y="224"/>
                  </a:cubicBezTo>
                  <a:lnTo>
                    <a:pt x="101" y="224"/>
                  </a:lnTo>
                  <a:cubicBezTo>
                    <a:pt x="107" y="225"/>
                    <a:pt x="114" y="226"/>
                    <a:pt x="120" y="227"/>
                  </a:cubicBezTo>
                  <a:cubicBezTo>
                    <a:pt x="120" y="227"/>
                    <a:pt x="121" y="227"/>
                    <a:pt x="122" y="227"/>
                  </a:cubicBezTo>
                  <a:cubicBezTo>
                    <a:pt x="128" y="227"/>
                    <a:pt x="133" y="227"/>
                    <a:pt x="139" y="228"/>
                  </a:cubicBezTo>
                  <a:cubicBezTo>
                    <a:pt x="139" y="228"/>
                    <a:pt x="140" y="228"/>
                    <a:pt x="141" y="228"/>
                  </a:cubicBezTo>
                  <a:cubicBezTo>
                    <a:pt x="143" y="228"/>
                    <a:pt x="145" y="228"/>
                    <a:pt x="148" y="228"/>
                  </a:cubicBezTo>
                  <a:cubicBezTo>
                    <a:pt x="152" y="229"/>
                    <a:pt x="155" y="229"/>
                    <a:pt x="158" y="229"/>
                  </a:cubicBezTo>
                  <a:cubicBezTo>
                    <a:pt x="160" y="229"/>
                    <a:pt x="163" y="229"/>
                    <a:pt x="165" y="229"/>
                  </a:cubicBezTo>
                  <a:cubicBezTo>
                    <a:pt x="169" y="229"/>
                    <a:pt x="174" y="229"/>
                    <a:pt x="180" y="229"/>
                  </a:cubicBezTo>
                  <a:cubicBezTo>
                    <a:pt x="180" y="229"/>
                    <a:pt x="182" y="228"/>
                    <a:pt x="183" y="228"/>
                  </a:cubicBezTo>
                  <a:cubicBezTo>
                    <a:pt x="187" y="228"/>
                    <a:pt x="191" y="228"/>
                    <a:pt x="195" y="227"/>
                  </a:cubicBezTo>
                  <a:cubicBezTo>
                    <a:pt x="198" y="227"/>
                    <a:pt x="200" y="227"/>
                    <a:pt x="202" y="227"/>
                  </a:cubicBezTo>
                  <a:cubicBezTo>
                    <a:pt x="204" y="227"/>
                    <a:pt x="204" y="227"/>
                    <a:pt x="205" y="227"/>
                  </a:cubicBezTo>
                  <a:cubicBezTo>
                    <a:pt x="213" y="226"/>
                    <a:pt x="221" y="225"/>
                    <a:pt x="229" y="224"/>
                  </a:cubicBezTo>
                  <a:lnTo>
                    <a:pt x="230" y="224"/>
                  </a:lnTo>
                  <a:cubicBezTo>
                    <a:pt x="237" y="223"/>
                    <a:pt x="245" y="222"/>
                    <a:pt x="252" y="220"/>
                  </a:cubicBezTo>
                  <a:cubicBezTo>
                    <a:pt x="252" y="220"/>
                    <a:pt x="253" y="220"/>
                    <a:pt x="254" y="219"/>
                  </a:cubicBezTo>
                  <a:cubicBezTo>
                    <a:pt x="260" y="218"/>
                    <a:pt x="267" y="217"/>
                    <a:pt x="273" y="215"/>
                  </a:cubicBezTo>
                  <a:cubicBezTo>
                    <a:pt x="274" y="215"/>
                    <a:pt x="275" y="214"/>
                    <a:pt x="276" y="214"/>
                  </a:cubicBezTo>
                  <a:cubicBezTo>
                    <a:pt x="282" y="213"/>
                    <a:pt x="288" y="211"/>
                    <a:pt x="293" y="209"/>
                  </a:cubicBezTo>
                  <a:cubicBezTo>
                    <a:pt x="296" y="208"/>
                    <a:pt x="298" y="207"/>
                    <a:pt x="300" y="207"/>
                  </a:cubicBezTo>
                  <a:cubicBezTo>
                    <a:pt x="304" y="205"/>
                    <a:pt x="309" y="204"/>
                    <a:pt x="314" y="202"/>
                  </a:cubicBezTo>
                  <a:cubicBezTo>
                    <a:pt x="314" y="201"/>
                    <a:pt x="315" y="201"/>
                    <a:pt x="315" y="200"/>
                  </a:cubicBezTo>
                  <a:cubicBezTo>
                    <a:pt x="320" y="199"/>
                    <a:pt x="324" y="197"/>
                    <a:pt x="328" y="195"/>
                  </a:cubicBezTo>
                  <a:lnTo>
                    <a:pt x="328" y="0"/>
                  </a:lnTo>
                  <a:cubicBezTo>
                    <a:pt x="323" y="3"/>
                    <a:pt x="319" y="5"/>
                    <a:pt x="314" y="7"/>
                  </a:cubicBezTo>
                </a:path>
              </a:pathLst>
            </a:custGeom>
            <a:solidFill>
              <a:schemeClr val="bg1">
                <a:lumMod val="65000"/>
              </a:schemeClr>
            </a:solidFill>
            <a:ln>
              <a:noFill/>
            </a:ln>
            <a:effectLst/>
          </p:spPr>
          <p:txBody>
            <a:bodyPr wrap="none" anchor="ctr"/>
            <a:lstStyle/>
            <a:p>
              <a:pPr algn="l" rtl="0"/>
              <a:endParaRPr lang="en-GB" sz="1600" dirty="0"/>
            </a:p>
          </p:txBody>
        </p:sp>
        <p:sp>
          <p:nvSpPr>
            <p:cNvPr id="84" name="Freeform 14">
              <a:extLst>
                <a:ext uri="{FF2B5EF4-FFF2-40B4-BE49-F238E27FC236}">
                  <a16:creationId xmlns:a16="http://schemas.microsoft.com/office/drawing/2014/main" id="{453FA61F-E78B-24B3-06B5-B3363D4E1406}"/>
                </a:ext>
              </a:extLst>
            </p:cNvPr>
            <p:cNvSpPr>
              <a:spLocks noChangeArrowheads="1"/>
            </p:cNvSpPr>
            <p:nvPr/>
          </p:nvSpPr>
          <p:spPr bwMode="auto">
            <a:xfrm>
              <a:off x="1473627" y="3809129"/>
              <a:ext cx="525599" cy="124484"/>
            </a:xfrm>
            <a:custGeom>
              <a:avLst/>
              <a:gdLst>
                <a:gd name="T0" fmla="*/ 839 w 840"/>
                <a:gd name="T1" fmla="*/ 99 h 200"/>
                <a:gd name="T2" fmla="*/ 420 w 840"/>
                <a:gd name="T3" fmla="*/ 199 h 200"/>
                <a:gd name="T4" fmla="*/ 0 w 840"/>
                <a:gd name="T5" fmla="*/ 99 h 200"/>
                <a:gd name="T6" fmla="*/ 420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20" y="199"/>
                  </a:cubicBezTo>
                  <a:cubicBezTo>
                    <a:pt x="188" y="199"/>
                    <a:pt x="0" y="154"/>
                    <a:pt x="0" y="99"/>
                  </a:cubicBezTo>
                  <a:cubicBezTo>
                    <a:pt x="0" y="45"/>
                    <a:pt x="188" y="0"/>
                    <a:pt x="420" y="0"/>
                  </a:cubicBezTo>
                  <a:cubicBezTo>
                    <a:pt x="651" y="0"/>
                    <a:pt x="839" y="45"/>
                    <a:pt x="839" y="99"/>
                  </a:cubicBezTo>
                </a:path>
              </a:pathLst>
            </a:custGeom>
            <a:solidFill>
              <a:schemeClr val="bg1">
                <a:lumMod val="75000"/>
              </a:schemeClr>
            </a:solidFill>
            <a:ln>
              <a:noFill/>
            </a:ln>
            <a:effectLst/>
          </p:spPr>
          <p:txBody>
            <a:bodyPr wrap="none" anchor="ctr"/>
            <a:lstStyle/>
            <a:p>
              <a:pPr algn="l" rtl="0"/>
              <a:endParaRPr lang="en-GB" sz="1600" dirty="0"/>
            </a:p>
          </p:txBody>
        </p:sp>
        <p:grpSp>
          <p:nvGrpSpPr>
            <p:cNvPr id="126" name="Group 125">
              <a:extLst>
                <a:ext uri="{FF2B5EF4-FFF2-40B4-BE49-F238E27FC236}">
                  <a16:creationId xmlns:a16="http://schemas.microsoft.com/office/drawing/2014/main" id="{ED58D681-5429-D80B-20CF-1CE7FAE7FA09}"/>
                </a:ext>
              </a:extLst>
            </p:cNvPr>
            <p:cNvGrpSpPr/>
            <p:nvPr/>
          </p:nvGrpSpPr>
          <p:grpSpPr>
            <a:xfrm>
              <a:off x="1177630" y="2583653"/>
              <a:ext cx="1117589" cy="1289101"/>
              <a:chOff x="2664334" y="3004228"/>
              <a:chExt cx="954199" cy="1100636"/>
            </a:xfrm>
          </p:grpSpPr>
          <p:sp>
            <p:nvSpPr>
              <p:cNvPr id="85" name="Freeform 15">
                <a:extLst>
                  <a:ext uri="{FF2B5EF4-FFF2-40B4-BE49-F238E27FC236}">
                    <a16:creationId xmlns:a16="http://schemas.microsoft.com/office/drawing/2014/main" id="{10B7440F-899A-9564-0897-5AC33B2ECF1C}"/>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EDA13E"/>
              </a:solidFill>
              <a:ln>
                <a:noFill/>
              </a:ln>
              <a:effectLst/>
            </p:spPr>
            <p:txBody>
              <a:bodyPr wrap="none" anchor="ctr"/>
              <a:lstStyle/>
              <a:p>
                <a:pPr algn="l" rtl="0"/>
                <a:endParaRPr lang="en-GB" sz="1600" dirty="0"/>
              </a:p>
            </p:txBody>
          </p:sp>
          <p:sp>
            <p:nvSpPr>
              <p:cNvPr id="124" name="Oval 123">
                <a:extLst>
                  <a:ext uri="{FF2B5EF4-FFF2-40B4-BE49-F238E27FC236}">
                    <a16:creationId xmlns:a16="http://schemas.microsoft.com/office/drawing/2014/main" id="{F1545CDD-38E5-4D29-A904-C1CEBE0B35BB}"/>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25" name="TextBox 58">
                <a:extLst>
                  <a:ext uri="{FF2B5EF4-FFF2-40B4-BE49-F238E27FC236}">
                    <a16:creationId xmlns:a16="http://schemas.microsoft.com/office/drawing/2014/main" id="{7424912C-2B1E-815B-8C3A-8738BD856A7A}"/>
                  </a:ext>
                </a:extLst>
              </p:cNvPr>
              <p:cNvSpPr txBox="1"/>
              <p:nvPr/>
            </p:nvSpPr>
            <p:spPr>
              <a:xfrm>
                <a:off x="2853486" y="3176512"/>
                <a:ext cx="601109" cy="604394"/>
              </a:xfrm>
              <a:prstGeom prst="rect">
                <a:avLst/>
              </a:prstGeom>
              <a:noFill/>
            </p:spPr>
            <p:txBody>
              <a:bodyPr wrap="none" rtlCol="0" anchor="ctr">
                <a:spAutoFit/>
              </a:bodyPr>
              <a:lstStyle/>
              <a:p>
                <a:pPr algn="ctr" rtl="0"/>
                <a:r>
                  <a:rPr lang="en-GB" sz="4000" b="1" dirty="0">
                    <a:solidFill>
                      <a:srgbClr val="EDA13E"/>
                    </a:solidFill>
                    <a:cs typeface="Poppins" pitchFamily="2" charset="77"/>
                  </a:rPr>
                  <a:t>01</a:t>
                </a:r>
              </a:p>
            </p:txBody>
          </p:sp>
        </p:grpSp>
      </p:grpSp>
      <p:grpSp>
        <p:nvGrpSpPr>
          <p:cNvPr id="142" name="Group 141">
            <a:extLst>
              <a:ext uri="{FF2B5EF4-FFF2-40B4-BE49-F238E27FC236}">
                <a16:creationId xmlns:a16="http://schemas.microsoft.com/office/drawing/2014/main" id="{2A4E0E39-7006-FC72-0BCE-39DC1386289D}"/>
              </a:ext>
            </a:extLst>
          </p:cNvPr>
          <p:cNvGrpSpPr/>
          <p:nvPr/>
        </p:nvGrpSpPr>
        <p:grpSpPr>
          <a:xfrm>
            <a:off x="3617408" y="3267204"/>
            <a:ext cx="2024938" cy="1903166"/>
            <a:chOff x="2941494" y="3491057"/>
            <a:chExt cx="2024938" cy="1903166"/>
          </a:xfrm>
        </p:grpSpPr>
        <p:sp>
          <p:nvSpPr>
            <p:cNvPr id="88" name="Freeform 17">
              <a:extLst>
                <a:ext uri="{FF2B5EF4-FFF2-40B4-BE49-F238E27FC236}">
                  <a16:creationId xmlns:a16="http://schemas.microsoft.com/office/drawing/2014/main" id="{0090530A-CB57-5E68-B22F-6C25A036F9BE}"/>
                </a:ext>
              </a:extLst>
            </p:cNvPr>
            <p:cNvSpPr>
              <a:spLocks noChangeArrowheads="1"/>
            </p:cNvSpPr>
            <p:nvPr/>
          </p:nvSpPr>
          <p:spPr bwMode="auto">
            <a:xfrm>
              <a:off x="4908338" y="4774572"/>
              <a:ext cx="44261" cy="174276"/>
            </a:xfrm>
            <a:custGeom>
              <a:avLst/>
              <a:gdLst>
                <a:gd name="T0" fmla="*/ 67 w 69"/>
                <a:gd name="T1" fmla="*/ 10 h 277"/>
                <a:gd name="T2" fmla="*/ 67 w 69"/>
                <a:gd name="T3" fmla="*/ 11 h 277"/>
                <a:gd name="T4" fmla="*/ 64 w 69"/>
                <a:gd name="T5" fmla="*/ 21 h 277"/>
                <a:gd name="T6" fmla="*/ 63 w 69"/>
                <a:gd name="T7" fmla="*/ 24 h 277"/>
                <a:gd name="T8" fmla="*/ 59 w 69"/>
                <a:gd name="T9" fmla="*/ 32 h 277"/>
                <a:gd name="T10" fmla="*/ 56 w 69"/>
                <a:gd name="T11" fmla="*/ 35 h 277"/>
                <a:gd name="T12" fmla="*/ 52 w 69"/>
                <a:gd name="T13" fmla="*/ 41 h 277"/>
                <a:gd name="T14" fmla="*/ 49 w 69"/>
                <a:gd name="T15" fmla="*/ 46 h 277"/>
                <a:gd name="T16" fmla="*/ 44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20 w 69"/>
                <a:gd name="T37" fmla="*/ 265 h 277"/>
                <a:gd name="T38" fmla="*/ 29 w 69"/>
                <a:gd name="T39" fmla="*/ 259 h 277"/>
                <a:gd name="T40" fmla="*/ 31 w 69"/>
                <a:gd name="T41" fmla="*/ 257 h 277"/>
                <a:gd name="T42" fmla="*/ 36 w 69"/>
                <a:gd name="T43" fmla="*/ 254 h 277"/>
                <a:gd name="T44" fmla="*/ 38 w 69"/>
                <a:gd name="T45" fmla="*/ 251 h 277"/>
                <a:gd name="T46" fmla="*/ 44 w 69"/>
                <a:gd name="T47" fmla="*/ 246 h 277"/>
                <a:gd name="T48" fmla="*/ 46 w 69"/>
                <a:gd name="T49" fmla="*/ 243 h 277"/>
                <a:gd name="T50" fmla="*/ 49 w 69"/>
                <a:gd name="T51" fmla="*/ 240 h 277"/>
                <a:gd name="T52" fmla="*/ 52 w 69"/>
                <a:gd name="T53" fmla="*/ 236 h 277"/>
                <a:gd name="T54" fmla="*/ 54 w 69"/>
                <a:gd name="T55" fmla="*/ 234 h 277"/>
                <a:gd name="T56" fmla="*/ 56 w 69"/>
                <a:gd name="T57" fmla="*/ 230 h 277"/>
                <a:gd name="T58" fmla="*/ 59 w 69"/>
                <a:gd name="T59" fmla="*/ 225 h 277"/>
                <a:gd name="T60" fmla="*/ 60 w 69"/>
                <a:gd name="T61" fmla="*/ 224 h 277"/>
                <a:gd name="T62" fmla="*/ 63 w 69"/>
                <a:gd name="T63" fmla="*/ 219 h 277"/>
                <a:gd name="T64" fmla="*/ 64 w 69"/>
                <a:gd name="T65" fmla="*/ 216 h 277"/>
                <a:gd name="T66" fmla="*/ 65 w 69"/>
                <a:gd name="T67" fmla="*/ 215 h 277"/>
                <a:gd name="T68" fmla="*/ 67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lnTo>
                    <a:pt x="67" y="11"/>
                  </a:lnTo>
                  <a:cubicBezTo>
                    <a:pt x="66" y="14"/>
                    <a:pt x="65" y="18"/>
                    <a:pt x="64" y="21"/>
                  </a:cubicBezTo>
                  <a:cubicBezTo>
                    <a:pt x="64" y="23"/>
                    <a:pt x="63" y="24"/>
                    <a:pt x="63" y="24"/>
                  </a:cubicBezTo>
                  <a:cubicBezTo>
                    <a:pt x="61" y="27"/>
                    <a:pt x="61" y="29"/>
                    <a:pt x="59" y="32"/>
                  </a:cubicBezTo>
                  <a:cubicBezTo>
                    <a:pt x="59" y="33"/>
                    <a:pt x="58" y="34"/>
                    <a:pt x="56" y="35"/>
                  </a:cubicBezTo>
                  <a:cubicBezTo>
                    <a:pt x="55" y="38"/>
                    <a:pt x="54" y="40"/>
                    <a:pt x="52" y="41"/>
                  </a:cubicBezTo>
                  <a:cubicBezTo>
                    <a:pt x="52" y="43"/>
                    <a:pt x="50" y="45"/>
                    <a:pt x="49" y="46"/>
                  </a:cubicBezTo>
                  <a:cubicBezTo>
                    <a:pt x="47" y="47"/>
                    <a:pt x="46" y="49"/>
                    <a:pt x="44" y="51"/>
                  </a:cubicBezTo>
                  <a:cubicBezTo>
                    <a:pt x="43" y="53"/>
                    <a:pt x="41" y="55"/>
                    <a:pt x="38" y="57"/>
                  </a:cubicBezTo>
                  <a:cubicBezTo>
                    <a:pt x="36" y="59"/>
                    <a:pt x="34" y="60"/>
                    <a:pt x="31" y="63"/>
                  </a:cubicBezTo>
                  <a:cubicBezTo>
                    <a:pt x="30" y="63"/>
                    <a:pt x="30" y="63"/>
                    <a:pt x="29" y="64"/>
                  </a:cubicBezTo>
                  <a:cubicBezTo>
                    <a:pt x="25" y="67"/>
                    <a:pt x="22"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9" y="266"/>
                    <a:pt x="20" y="265"/>
                  </a:cubicBezTo>
                  <a:cubicBezTo>
                    <a:pt x="23" y="263"/>
                    <a:pt x="26" y="260"/>
                    <a:pt x="29" y="259"/>
                  </a:cubicBezTo>
                  <a:cubicBezTo>
                    <a:pt x="30" y="258"/>
                    <a:pt x="30" y="257"/>
                    <a:pt x="31" y="257"/>
                  </a:cubicBezTo>
                  <a:cubicBezTo>
                    <a:pt x="33" y="255"/>
                    <a:pt x="34" y="254"/>
                    <a:pt x="36" y="254"/>
                  </a:cubicBezTo>
                  <a:cubicBezTo>
                    <a:pt x="37" y="253"/>
                    <a:pt x="38" y="252"/>
                    <a:pt x="38" y="251"/>
                  </a:cubicBezTo>
                  <a:cubicBezTo>
                    <a:pt x="41" y="249"/>
                    <a:pt x="43" y="248"/>
                    <a:pt x="44" y="246"/>
                  </a:cubicBezTo>
                  <a:cubicBezTo>
                    <a:pt x="45" y="244"/>
                    <a:pt x="46" y="244"/>
                    <a:pt x="46" y="243"/>
                  </a:cubicBezTo>
                  <a:cubicBezTo>
                    <a:pt x="47" y="242"/>
                    <a:pt x="48" y="241"/>
                    <a:pt x="49" y="240"/>
                  </a:cubicBezTo>
                  <a:cubicBezTo>
                    <a:pt x="50" y="239"/>
                    <a:pt x="52" y="237"/>
                    <a:pt x="52" y="236"/>
                  </a:cubicBezTo>
                  <a:cubicBezTo>
                    <a:pt x="53" y="235"/>
                    <a:pt x="54" y="234"/>
                    <a:pt x="54" y="234"/>
                  </a:cubicBezTo>
                  <a:cubicBezTo>
                    <a:pt x="55" y="232"/>
                    <a:pt x="56" y="231"/>
                    <a:pt x="56" y="230"/>
                  </a:cubicBezTo>
                  <a:cubicBezTo>
                    <a:pt x="58" y="229"/>
                    <a:pt x="59" y="227"/>
                    <a:pt x="59" y="225"/>
                  </a:cubicBezTo>
                  <a:cubicBezTo>
                    <a:pt x="60" y="225"/>
                    <a:pt x="60" y="225"/>
                    <a:pt x="60" y="224"/>
                  </a:cubicBezTo>
                  <a:cubicBezTo>
                    <a:pt x="61" y="223"/>
                    <a:pt x="62" y="220"/>
                    <a:pt x="63" y="219"/>
                  </a:cubicBezTo>
                  <a:cubicBezTo>
                    <a:pt x="63" y="218"/>
                    <a:pt x="64" y="216"/>
                    <a:pt x="64" y="216"/>
                  </a:cubicBezTo>
                  <a:cubicBezTo>
                    <a:pt x="64" y="215"/>
                    <a:pt x="65" y="215"/>
                    <a:pt x="65" y="215"/>
                  </a:cubicBezTo>
                  <a:cubicBezTo>
                    <a:pt x="66" y="212"/>
                    <a:pt x="66" y="208"/>
                    <a:pt x="67"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pPr algn="l" rtl="0"/>
              <a:endParaRPr lang="en-GB" sz="1600" dirty="0"/>
            </a:p>
          </p:txBody>
        </p:sp>
        <p:sp>
          <p:nvSpPr>
            <p:cNvPr id="89" name="Freeform 19">
              <a:extLst>
                <a:ext uri="{FF2B5EF4-FFF2-40B4-BE49-F238E27FC236}">
                  <a16:creationId xmlns:a16="http://schemas.microsoft.com/office/drawing/2014/main" id="{FC76BE2B-D5CE-2A30-7CCA-F931F028B33D}"/>
                </a:ext>
              </a:extLst>
            </p:cNvPr>
            <p:cNvSpPr>
              <a:spLocks noChangeArrowheads="1"/>
            </p:cNvSpPr>
            <p:nvPr/>
          </p:nvSpPr>
          <p:spPr bwMode="auto">
            <a:xfrm>
              <a:off x="2955325" y="4774572"/>
              <a:ext cx="44261" cy="174276"/>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pPr algn="l" rtl="0"/>
              <a:endParaRPr lang="en-GB" sz="1600" dirty="0"/>
            </a:p>
          </p:txBody>
        </p:sp>
        <p:sp>
          <p:nvSpPr>
            <p:cNvPr id="90" name="Freeform 20">
              <a:extLst>
                <a:ext uri="{FF2B5EF4-FFF2-40B4-BE49-F238E27FC236}">
                  <a16:creationId xmlns:a16="http://schemas.microsoft.com/office/drawing/2014/main" id="{78697B42-986A-0E00-911A-FA81A278470F}"/>
                </a:ext>
              </a:extLst>
            </p:cNvPr>
            <p:cNvSpPr>
              <a:spLocks noChangeArrowheads="1"/>
            </p:cNvSpPr>
            <p:nvPr/>
          </p:nvSpPr>
          <p:spPr bwMode="auto">
            <a:xfrm>
              <a:off x="4056316" y="4824363"/>
              <a:ext cx="852022" cy="547729"/>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pPr algn="l" rtl="0"/>
              <a:endParaRPr lang="en-GB" sz="1600" dirty="0"/>
            </a:p>
          </p:txBody>
        </p:sp>
        <p:sp>
          <p:nvSpPr>
            <p:cNvPr id="91" name="Freeform 21">
              <a:extLst>
                <a:ext uri="{FF2B5EF4-FFF2-40B4-BE49-F238E27FC236}">
                  <a16:creationId xmlns:a16="http://schemas.microsoft.com/office/drawing/2014/main" id="{F7ED9637-82EB-35FE-0613-5447833A6874}"/>
                </a:ext>
              </a:extLst>
            </p:cNvPr>
            <p:cNvSpPr>
              <a:spLocks noChangeArrowheads="1"/>
            </p:cNvSpPr>
            <p:nvPr/>
          </p:nvSpPr>
          <p:spPr bwMode="auto">
            <a:xfrm>
              <a:off x="2996818" y="4824363"/>
              <a:ext cx="852022" cy="547729"/>
            </a:xfrm>
            <a:custGeom>
              <a:avLst/>
              <a:gdLst>
                <a:gd name="T0" fmla="*/ 1359 w 1360"/>
                <a:gd name="T1" fmla="*/ 679 h 874"/>
                <a:gd name="T2" fmla="*/ 1359 w 1360"/>
                <a:gd name="T3" fmla="*/ 873 h 874"/>
                <a:gd name="T4" fmla="*/ 0 w 1360"/>
                <a:gd name="T5" fmla="*/ 194 h 874"/>
                <a:gd name="T6" fmla="*/ 0 w 1360"/>
                <a:gd name="T7" fmla="*/ 0 h 874"/>
                <a:gd name="T8" fmla="*/ 1359 w 1360"/>
                <a:gd name="T9" fmla="*/ 679 h 874"/>
              </a:gdLst>
              <a:ahLst/>
              <a:cxnLst>
                <a:cxn ang="0">
                  <a:pos x="T0" y="T1"/>
                </a:cxn>
                <a:cxn ang="0">
                  <a:pos x="T2" y="T3"/>
                </a:cxn>
                <a:cxn ang="0">
                  <a:pos x="T4" y="T5"/>
                </a:cxn>
                <a:cxn ang="0">
                  <a:pos x="T6" y="T7"/>
                </a:cxn>
                <a:cxn ang="0">
                  <a:pos x="T8" y="T9"/>
                </a:cxn>
              </a:cxnLst>
              <a:rect l="0" t="0" r="r" b="b"/>
              <a:pathLst>
                <a:path w="1360" h="874">
                  <a:moveTo>
                    <a:pt x="1359" y="679"/>
                  </a:moveTo>
                  <a:lnTo>
                    <a:pt x="1359" y="873"/>
                  </a:lnTo>
                  <a:lnTo>
                    <a:pt x="0" y="194"/>
                  </a:lnTo>
                  <a:lnTo>
                    <a:pt x="0" y="0"/>
                  </a:lnTo>
                  <a:lnTo>
                    <a:pt x="1359" y="679"/>
                  </a:lnTo>
                </a:path>
              </a:pathLst>
            </a:custGeom>
            <a:solidFill>
              <a:schemeClr val="bg1">
                <a:lumMod val="75000"/>
              </a:schemeClr>
            </a:solidFill>
            <a:ln>
              <a:noFill/>
            </a:ln>
            <a:effectLst/>
          </p:spPr>
          <p:txBody>
            <a:bodyPr wrap="none" anchor="ctr"/>
            <a:lstStyle/>
            <a:p>
              <a:pPr algn="l" rtl="0"/>
              <a:endParaRPr lang="en-GB" sz="1600" dirty="0"/>
            </a:p>
          </p:txBody>
        </p:sp>
        <p:sp>
          <p:nvSpPr>
            <p:cNvPr id="92" name="Freeform 22">
              <a:extLst>
                <a:ext uri="{FF2B5EF4-FFF2-40B4-BE49-F238E27FC236}">
                  <a16:creationId xmlns:a16="http://schemas.microsoft.com/office/drawing/2014/main" id="{B7CF5C6B-37A7-68F1-2E45-3D004B7A6BFC}"/>
                </a:ext>
              </a:extLst>
            </p:cNvPr>
            <p:cNvSpPr>
              <a:spLocks noChangeArrowheads="1"/>
            </p:cNvSpPr>
            <p:nvPr/>
          </p:nvSpPr>
          <p:spPr bwMode="auto">
            <a:xfrm>
              <a:off x="2941494" y="4276634"/>
              <a:ext cx="2024938" cy="998637"/>
            </a:xfrm>
            <a:custGeom>
              <a:avLst/>
              <a:gdLst>
                <a:gd name="T0" fmla="*/ 1611 w 3226"/>
                <a:gd name="T1" fmla="*/ 0 h 1591"/>
                <a:gd name="T2" fmla="*/ 1776 w 3226"/>
                <a:gd name="T3" fmla="*/ 33 h 1591"/>
                <a:gd name="T4" fmla="*/ 3134 w 3226"/>
                <a:gd name="T5" fmla="*/ 713 h 1591"/>
                <a:gd name="T6" fmla="*/ 3134 w 3226"/>
                <a:gd name="T7" fmla="*/ 877 h 1591"/>
                <a:gd name="T8" fmla="*/ 1776 w 3226"/>
                <a:gd name="T9" fmla="*/ 1556 h 1591"/>
                <a:gd name="T10" fmla="*/ 1611 w 3226"/>
                <a:gd name="T11" fmla="*/ 1590 h 1591"/>
                <a:gd name="T12" fmla="*/ 1448 w 3226"/>
                <a:gd name="T13" fmla="*/ 1556 h 1591"/>
                <a:gd name="T14" fmla="*/ 89 w 3226"/>
                <a:gd name="T15" fmla="*/ 877 h 1591"/>
                <a:gd name="T16" fmla="*/ 89 w 3226"/>
                <a:gd name="T17" fmla="*/ 713 h 1591"/>
                <a:gd name="T18" fmla="*/ 1448 w 3226"/>
                <a:gd name="T19" fmla="*/ 33 h 1591"/>
                <a:gd name="T20" fmla="*/ 1611 w 3226"/>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6" h="1591">
                  <a:moveTo>
                    <a:pt x="1611" y="0"/>
                  </a:moveTo>
                  <a:cubicBezTo>
                    <a:pt x="1672" y="0"/>
                    <a:pt x="1731" y="11"/>
                    <a:pt x="1776" y="33"/>
                  </a:cubicBezTo>
                  <a:lnTo>
                    <a:pt x="3134" y="713"/>
                  </a:lnTo>
                  <a:cubicBezTo>
                    <a:pt x="3225" y="758"/>
                    <a:pt x="3225" y="831"/>
                    <a:pt x="3134" y="877"/>
                  </a:cubicBezTo>
                  <a:lnTo>
                    <a:pt x="1776" y="1556"/>
                  </a:lnTo>
                  <a:cubicBezTo>
                    <a:pt x="1731" y="1579"/>
                    <a:pt x="1672" y="1590"/>
                    <a:pt x="1611" y="1590"/>
                  </a:cubicBezTo>
                  <a:cubicBezTo>
                    <a:pt x="1552" y="1590"/>
                    <a:pt x="1493" y="1579"/>
                    <a:pt x="1448" y="1556"/>
                  </a:cubicBezTo>
                  <a:lnTo>
                    <a:pt x="89" y="877"/>
                  </a:lnTo>
                  <a:cubicBezTo>
                    <a:pt x="0" y="831"/>
                    <a:pt x="0" y="758"/>
                    <a:pt x="89" y="713"/>
                  </a:cubicBezTo>
                  <a:lnTo>
                    <a:pt x="1448" y="33"/>
                  </a:lnTo>
                  <a:cubicBezTo>
                    <a:pt x="1493" y="11"/>
                    <a:pt x="1552" y="0"/>
                    <a:pt x="1611" y="0"/>
                  </a:cubicBezTo>
                </a:path>
              </a:pathLst>
            </a:custGeom>
            <a:solidFill>
              <a:schemeClr val="bg1">
                <a:lumMod val="95000"/>
              </a:schemeClr>
            </a:solidFill>
            <a:ln>
              <a:noFill/>
            </a:ln>
            <a:effectLst/>
          </p:spPr>
          <p:txBody>
            <a:bodyPr wrap="none" anchor="ctr"/>
            <a:lstStyle/>
            <a:p>
              <a:pPr algn="l" rtl="0"/>
              <a:endParaRPr lang="en-GB" sz="1600" dirty="0"/>
            </a:p>
          </p:txBody>
        </p:sp>
        <p:sp>
          <p:nvSpPr>
            <p:cNvPr id="93" name="Freeform 23">
              <a:extLst>
                <a:ext uri="{FF2B5EF4-FFF2-40B4-BE49-F238E27FC236}">
                  <a16:creationId xmlns:a16="http://schemas.microsoft.com/office/drawing/2014/main" id="{A4A99ED8-5685-79F8-324C-5481C51AEDC5}"/>
                </a:ext>
              </a:extLst>
            </p:cNvPr>
            <p:cNvSpPr>
              <a:spLocks noChangeArrowheads="1"/>
            </p:cNvSpPr>
            <p:nvPr/>
          </p:nvSpPr>
          <p:spPr bwMode="auto">
            <a:xfrm>
              <a:off x="3848842" y="5250375"/>
              <a:ext cx="207474" cy="143848"/>
            </a:xfrm>
            <a:custGeom>
              <a:avLst/>
              <a:gdLst>
                <a:gd name="T0" fmla="*/ 300 w 329"/>
                <a:gd name="T1" fmla="*/ 12 h 229"/>
                <a:gd name="T2" fmla="*/ 275 w 329"/>
                <a:gd name="T3" fmla="*/ 20 h 229"/>
                <a:gd name="T4" fmla="*/ 253 w 329"/>
                <a:gd name="T5" fmla="*/ 25 h 229"/>
                <a:gd name="T6" fmla="*/ 230 w 329"/>
                <a:gd name="T7" fmla="*/ 29 h 229"/>
                <a:gd name="T8" fmla="*/ 204 w 329"/>
                <a:gd name="T9" fmla="*/ 32 h 229"/>
                <a:gd name="T10" fmla="*/ 183 w 329"/>
                <a:gd name="T11" fmla="*/ 34 h 229"/>
                <a:gd name="T12" fmla="*/ 148 w 329"/>
                <a:gd name="T13" fmla="*/ 34 h 229"/>
                <a:gd name="T14" fmla="*/ 121 w 329"/>
                <a:gd name="T15" fmla="*/ 32 h 229"/>
                <a:gd name="T16" fmla="*/ 99 w 329"/>
                <a:gd name="T17" fmla="*/ 30 h 229"/>
                <a:gd name="T18" fmla="*/ 79 w 329"/>
                <a:gd name="T19" fmla="*/ 26 h 229"/>
                <a:gd name="T20" fmla="*/ 59 w 329"/>
                <a:gd name="T21" fmla="*/ 22 h 229"/>
                <a:gd name="T22" fmla="*/ 39 w 329"/>
                <a:gd name="T23" fmla="*/ 16 h 229"/>
                <a:gd name="T24" fmla="*/ 17 w 329"/>
                <a:gd name="T25" fmla="*/ 8 h 229"/>
                <a:gd name="T26" fmla="*/ 0 w 329"/>
                <a:gd name="T27" fmla="*/ 194 h 229"/>
                <a:gd name="T28" fmla="*/ 18 w 329"/>
                <a:gd name="T29" fmla="*/ 203 h 229"/>
                <a:gd name="T30" fmla="*/ 39 w 329"/>
                <a:gd name="T31" fmla="*/ 210 h 229"/>
                <a:gd name="T32" fmla="*/ 48 w 329"/>
                <a:gd name="T33" fmla="*/ 213 h 229"/>
                <a:gd name="T34" fmla="*/ 63 w 329"/>
                <a:gd name="T35" fmla="*/ 217 h 229"/>
                <a:gd name="T36" fmla="*/ 79 w 329"/>
                <a:gd name="T37" fmla="*/ 221 h 229"/>
                <a:gd name="T38" fmla="*/ 93 w 329"/>
                <a:gd name="T39" fmla="*/ 222 h 229"/>
                <a:gd name="T40" fmla="*/ 100 w 329"/>
                <a:gd name="T41" fmla="*/ 224 h 229"/>
                <a:gd name="T42" fmla="*/ 120 w 329"/>
                <a:gd name="T43" fmla="*/ 226 h 229"/>
                <a:gd name="T44" fmla="*/ 138 w 329"/>
                <a:gd name="T45" fmla="*/ 228 h 229"/>
                <a:gd name="T46" fmla="*/ 148 w 329"/>
                <a:gd name="T47" fmla="*/ 228 h 229"/>
                <a:gd name="T48" fmla="*/ 163 w 329"/>
                <a:gd name="T49" fmla="*/ 228 h 229"/>
                <a:gd name="T50" fmla="*/ 183 w 329"/>
                <a:gd name="T51" fmla="*/ 228 h 229"/>
                <a:gd name="T52" fmla="*/ 202 w 329"/>
                <a:gd name="T53" fmla="*/ 227 h 229"/>
                <a:gd name="T54" fmla="*/ 228 w 329"/>
                <a:gd name="T55" fmla="*/ 223 h 229"/>
                <a:gd name="T56" fmla="*/ 251 w 329"/>
                <a:gd name="T57" fmla="*/ 220 h 229"/>
                <a:gd name="T58" fmla="*/ 272 w 329"/>
                <a:gd name="T59" fmla="*/ 215 h 229"/>
                <a:gd name="T60" fmla="*/ 293 w 329"/>
                <a:gd name="T61" fmla="*/ 209 h 229"/>
                <a:gd name="T62" fmla="*/ 313 w 329"/>
                <a:gd name="T63" fmla="*/ 201 h 229"/>
                <a:gd name="T64" fmla="*/ 328 w 329"/>
                <a:gd name="T65" fmla="*/ 194 h 229"/>
                <a:gd name="T66" fmla="*/ 313 w 329"/>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9" h="229">
                  <a:moveTo>
                    <a:pt x="313" y="7"/>
                  </a:moveTo>
                  <a:cubicBezTo>
                    <a:pt x="308" y="9"/>
                    <a:pt x="304" y="10"/>
                    <a:pt x="300" y="12"/>
                  </a:cubicBezTo>
                  <a:cubicBezTo>
                    <a:pt x="298" y="13"/>
                    <a:pt x="295" y="14"/>
                    <a:pt x="293" y="14"/>
                  </a:cubicBezTo>
                  <a:cubicBezTo>
                    <a:pt x="287" y="16"/>
                    <a:pt x="281" y="18"/>
                    <a:pt x="275" y="20"/>
                  </a:cubicBezTo>
                  <a:cubicBezTo>
                    <a:pt x="274" y="20"/>
                    <a:pt x="273" y="20"/>
                    <a:pt x="272" y="20"/>
                  </a:cubicBezTo>
                  <a:cubicBezTo>
                    <a:pt x="266" y="22"/>
                    <a:pt x="259" y="23"/>
                    <a:pt x="253" y="25"/>
                  </a:cubicBezTo>
                  <a:cubicBezTo>
                    <a:pt x="253" y="25"/>
                    <a:pt x="252" y="25"/>
                    <a:pt x="251" y="25"/>
                  </a:cubicBezTo>
                  <a:cubicBezTo>
                    <a:pt x="244" y="27"/>
                    <a:pt x="237" y="28"/>
                    <a:pt x="230" y="29"/>
                  </a:cubicBezTo>
                  <a:cubicBezTo>
                    <a:pt x="229" y="30"/>
                    <a:pt x="228" y="30"/>
                    <a:pt x="228" y="30"/>
                  </a:cubicBezTo>
                  <a:cubicBezTo>
                    <a:pt x="220" y="31"/>
                    <a:pt x="212" y="32"/>
                    <a:pt x="204" y="32"/>
                  </a:cubicBezTo>
                  <a:cubicBezTo>
                    <a:pt x="201" y="33"/>
                    <a:pt x="198" y="33"/>
                    <a:pt x="195" y="33"/>
                  </a:cubicBezTo>
                  <a:cubicBezTo>
                    <a:pt x="190" y="33"/>
                    <a:pt x="186" y="33"/>
                    <a:pt x="183" y="34"/>
                  </a:cubicBezTo>
                  <a:cubicBezTo>
                    <a:pt x="176" y="34"/>
                    <a:pt x="170" y="34"/>
                    <a:pt x="163" y="34"/>
                  </a:cubicBezTo>
                  <a:cubicBezTo>
                    <a:pt x="159" y="34"/>
                    <a:pt x="153" y="34"/>
                    <a:pt x="148" y="34"/>
                  </a:cubicBezTo>
                  <a:cubicBezTo>
                    <a:pt x="145" y="33"/>
                    <a:pt x="143" y="33"/>
                    <a:pt x="140" y="33"/>
                  </a:cubicBezTo>
                  <a:cubicBezTo>
                    <a:pt x="133" y="33"/>
                    <a:pt x="127" y="33"/>
                    <a:pt x="121" y="32"/>
                  </a:cubicBezTo>
                  <a:lnTo>
                    <a:pt x="120" y="32"/>
                  </a:lnTo>
                  <a:cubicBezTo>
                    <a:pt x="113" y="32"/>
                    <a:pt x="105" y="30"/>
                    <a:pt x="99" y="30"/>
                  </a:cubicBezTo>
                  <a:cubicBezTo>
                    <a:pt x="97" y="29"/>
                    <a:pt x="94" y="28"/>
                    <a:pt x="93" y="28"/>
                  </a:cubicBezTo>
                  <a:cubicBezTo>
                    <a:pt x="88" y="28"/>
                    <a:pt x="83" y="27"/>
                    <a:pt x="79" y="26"/>
                  </a:cubicBezTo>
                  <a:cubicBezTo>
                    <a:pt x="76" y="25"/>
                    <a:pt x="73" y="25"/>
                    <a:pt x="70" y="24"/>
                  </a:cubicBezTo>
                  <a:cubicBezTo>
                    <a:pt x="67" y="23"/>
                    <a:pt x="63" y="22"/>
                    <a:pt x="59" y="22"/>
                  </a:cubicBezTo>
                  <a:cubicBezTo>
                    <a:pt x="56" y="20"/>
                    <a:pt x="52" y="20"/>
                    <a:pt x="48" y="19"/>
                  </a:cubicBezTo>
                  <a:cubicBezTo>
                    <a:pt x="46" y="18"/>
                    <a:pt x="42" y="17"/>
                    <a:pt x="39" y="16"/>
                  </a:cubicBezTo>
                  <a:cubicBezTo>
                    <a:pt x="33" y="14"/>
                    <a:pt x="26" y="11"/>
                    <a:pt x="19" y="9"/>
                  </a:cubicBezTo>
                  <a:cubicBezTo>
                    <a:pt x="19" y="9"/>
                    <a:pt x="18" y="8"/>
                    <a:pt x="17" y="8"/>
                  </a:cubicBezTo>
                  <a:cubicBezTo>
                    <a:pt x="11" y="6"/>
                    <a:pt x="6" y="3"/>
                    <a:pt x="0" y="0"/>
                  </a:cubicBezTo>
                  <a:lnTo>
                    <a:pt x="0" y="194"/>
                  </a:lnTo>
                  <a:cubicBezTo>
                    <a:pt x="6" y="197"/>
                    <a:pt x="11" y="200"/>
                    <a:pt x="17" y="202"/>
                  </a:cubicBezTo>
                  <a:cubicBezTo>
                    <a:pt x="18" y="202"/>
                    <a:pt x="18" y="203"/>
                    <a:pt x="18" y="203"/>
                  </a:cubicBezTo>
                  <a:cubicBezTo>
                    <a:pt x="19" y="203"/>
                    <a:pt x="19" y="203"/>
                    <a:pt x="19" y="203"/>
                  </a:cubicBezTo>
                  <a:cubicBezTo>
                    <a:pt x="26" y="206"/>
                    <a:pt x="33" y="208"/>
                    <a:pt x="39" y="210"/>
                  </a:cubicBezTo>
                  <a:cubicBezTo>
                    <a:pt x="40" y="211"/>
                    <a:pt x="41" y="211"/>
                    <a:pt x="42" y="211"/>
                  </a:cubicBezTo>
                  <a:cubicBezTo>
                    <a:pt x="44" y="212"/>
                    <a:pt x="46" y="212"/>
                    <a:pt x="48" y="213"/>
                  </a:cubicBezTo>
                  <a:cubicBezTo>
                    <a:pt x="52" y="214"/>
                    <a:pt x="56" y="215"/>
                    <a:pt x="59" y="216"/>
                  </a:cubicBezTo>
                  <a:cubicBezTo>
                    <a:pt x="60" y="216"/>
                    <a:pt x="61" y="216"/>
                    <a:pt x="63" y="217"/>
                  </a:cubicBezTo>
                  <a:cubicBezTo>
                    <a:pt x="65" y="217"/>
                    <a:pt x="68" y="218"/>
                    <a:pt x="70" y="219"/>
                  </a:cubicBezTo>
                  <a:cubicBezTo>
                    <a:pt x="73" y="219"/>
                    <a:pt x="76" y="220"/>
                    <a:pt x="79" y="221"/>
                  </a:cubicBezTo>
                  <a:cubicBezTo>
                    <a:pt x="80" y="221"/>
                    <a:pt x="81" y="221"/>
                    <a:pt x="82" y="221"/>
                  </a:cubicBezTo>
                  <a:cubicBezTo>
                    <a:pt x="85" y="222"/>
                    <a:pt x="89" y="222"/>
                    <a:pt x="93" y="222"/>
                  </a:cubicBezTo>
                  <a:cubicBezTo>
                    <a:pt x="94" y="223"/>
                    <a:pt x="97" y="223"/>
                    <a:pt x="99" y="223"/>
                  </a:cubicBezTo>
                  <a:lnTo>
                    <a:pt x="100" y="224"/>
                  </a:lnTo>
                  <a:cubicBezTo>
                    <a:pt x="107" y="225"/>
                    <a:pt x="113" y="225"/>
                    <a:pt x="119" y="226"/>
                  </a:cubicBezTo>
                  <a:cubicBezTo>
                    <a:pt x="120" y="226"/>
                    <a:pt x="120" y="226"/>
                    <a:pt x="120" y="226"/>
                  </a:cubicBezTo>
                  <a:cubicBezTo>
                    <a:pt x="120" y="226"/>
                    <a:pt x="121" y="226"/>
                    <a:pt x="121" y="227"/>
                  </a:cubicBezTo>
                  <a:cubicBezTo>
                    <a:pt x="127" y="227"/>
                    <a:pt x="132" y="227"/>
                    <a:pt x="138" y="228"/>
                  </a:cubicBezTo>
                  <a:cubicBezTo>
                    <a:pt x="138" y="228"/>
                    <a:pt x="139" y="228"/>
                    <a:pt x="140" y="228"/>
                  </a:cubicBezTo>
                  <a:cubicBezTo>
                    <a:pt x="143" y="228"/>
                    <a:pt x="145" y="228"/>
                    <a:pt x="148" y="228"/>
                  </a:cubicBezTo>
                  <a:cubicBezTo>
                    <a:pt x="151" y="228"/>
                    <a:pt x="154" y="228"/>
                    <a:pt x="158" y="228"/>
                  </a:cubicBezTo>
                  <a:cubicBezTo>
                    <a:pt x="160" y="228"/>
                    <a:pt x="162" y="228"/>
                    <a:pt x="163" y="228"/>
                  </a:cubicBezTo>
                  <a:cubicBezTo>
                    <a:pt x="169" y="228"/>
                    <a:pt x="174" y="228"/>
                    <a:pt x="179" y="228"/>
                  </a:cubicBezTo>
                  <a:cubicBezTo>
                    <a:pt x="180" y="228"/>
                    <a:pt x="181" y="228"/>
                    <a:pt x="183" y="228"/>
                  </a:cubicBezTo>
                  <a:cubicBezTo>
                    <a:pt x="186" y="228"/>
                    <a:pt x="190" y="227"/>
                    <a:pt x="195" y="227"/>
                  </a:cubicBezTo>
                  <a:cubicBezTo>
                    <a:pt x="197" y="227"/>
                    <a:pt x="200" y="227"/>
                    <a:pt x="202" y="227"/>
                  </a:cubicBezTo>
                  <a:cubicBezTo>
                    <a:pt x="203" y="227"/>
                    <a:pt x="204" y="227"/>
                    <a:pt x="204" y="227"/>
                  </a:cubicBezTo>
                  <a:cubicBezTo>
                    <a:pt x="212" y="226"/>
                    <a:pt x="220" y="225"/>
                    <a:pt x="228" y="223"/>
                  </a:cubicBezTo>
                  <a:cubicBezTo>
                    <a:pt x="228" y="223"/>
                    <a:pt x="229" y="223"/>
                    <a:pt x="230" y="223"/>
                  </a:cubicBezTo>
                  <a:cubicBezTo>
                    <a:pt x="237" y="222"/>
                    <a:pt x="244" y="221"/>
                    <a:pt x="251" y="220"/>
                  </a:cubicBezTo>
                  <a:cubicBezTo>
                    <a:pt x="252" y="220"/>
                    <a:pt x="253" y="219"/>
                    <a:pt x="253" y="219"/>
                  </a:cubicBezTo>
                  <a:cubicBezTo>
                    <a:pt x="259" y="218"/>
                    <a:pt x="266" y="217"/>
                    <a:pt x="272" y="215"/>
                  </a:cubicBezTo>
                  <a:cubicBezTo>
                    <a:pt x="273" y="214"/>
                    <a:pt x="274" y="214"/>
                    <a:pt x="275" y="214"/>
                  </a:cubicBezTo>
                  <a:cubicBezTo>
                    <a:pt x="281" y="212"/>
                    <a:pt x="287" y="211"/>
                    <a:pt x="293" y="209"/>
                  </a:cubicBezTo>
                  <a:cubicBezTo>
                    <a:pt x="295" y="208"/>
                    <a:pt x="298" y="207"/>
                    <a:pt x="300" y="206"/>
                  </a:cubicBezTo>
                  <a:cubicBezTo>
                    <a:pt x="304" y="205"/>
                    <a:pt x="308" y="203"/>
                    <a:pt x="313" y="201"/>
                  </a:cubicBezTo>
                  <a:lnTo>
                    <a:pt x="315" y="200"/>
                  </a:lnTo>
                  <a:cubicBezTo>
                    <a:pt x="319" y="198"/>
                    <a:pt x="324" y="197"/>
                    <a:pt x="328" y="194"/>
                  </a:cubicBezTo>
                  <a:lnTo>
                    <a:pt x="328" y="0"/>
                  </a:lnTo>
                  <a:cubicBezTo>
                    <a:pt x="323" y="3"/>
                    <a:pt x="318" y="4"/>
                    <a:pt x="313" y="7"/>
                  </a:cubicBezTo>
                </a:path>
              </a:pathLst>
            </a:custGeom>
            <a:solidFill>
              <a:schemeClr val="bg1">
                <a:lumMod val="65000"/>
              </a:schemeClr>
            </a:solidFill>
            <a:ln>
              <a:noFill/>
            </a:ln>
            <a:effectLst/>
          </p:spPr>
          <p:txBody>
            <a:bodyPr wrap="none" anchor="ctr"/>
            <a:lstStyle/>
            <a:p>
              <a:pPr algn="l" rtl="0"/>
              <a:endParaRPr lang="en-GB" sz="1600" dirty="0"/>
            </a:p>
          </p:txBody>
        </p:sp>
        <p:sp>
          <p:nvSpPr>
            <p:cNvPr id="94" name="Freeform 24">
              <a:extLst>
                <a:ext uri="{FF2B5EF4-FFF2-40B4-BE49-F238E27FC236}">
                  <a16:creationId xmlns:a16="http://schemas.microsoft.com/office/drawing/2014/main" id="{738B0FAF-DBF3-FA51-A53C-3A18AF4AFE73}"/>
                </a:ext>
              </a:extLst>
            </p:cNvPr>
            <p:cNvSpPr>
              <a:spLocks noChangeArrowheads="1"/>
            </p:cNvSpPr>
            <p:nvPr/>
          </p:nvSpPr>
          <p:spPr bwMode="auto">
            <a:xfrm>
              <a:off x="3688397" y="4710945"/>
              <a:ext cx="525599" cy="124484"/>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8" y="198"/>
                    <a:pt x="0" y="154"/>
                    <a:pt x="0" y="99"/>
                  </a:cubicBezTo>
                  <a:cubicBezTo>
                    <a:pt x="0" y="44"/>
                    <a:pt x="188" y="0"/>
                    <a:pt x="419" y="0"/>
                  </a:cubicBezTo>
                  <a:cubicBezTo>
                    <a:pt x="651" y="0"/>
                    <a:pt x="839" y="44"/>
                    <a:pt x="839" y="99"/>
                  </a:cubicBezTo>
                </a:path>
              </a:pathLst>
            </a:custGeom>
            <a:solidFill>
              <a:schemeClr val="bg1">
                <a:lumMod val="75000"/>
              </a:schemeClr>
            </a:solidFill>
            <a:ln>
              <a:noFill/>
            </a:ln>
            <a:effectLst/>
          </p:spPr>
          <p:txBody>
            <a:bodyPr wrap="none" anchor="ctr"/>
            <a:lstStyle/>
            <a:p>
              <a:pPr algn="l" rtl="0"/>
              <a:endParaRPr lang="en-GB" sz="1600" dirty="0"/>
            </a:p>
          </p:txBody>
        </p:sp>
        <p:grpSp>
          <p:nvGrpSpPr>
            <p:cNvPr id="127" name="Group 126">
              <a:extLst>
                <a:ext uri="{FF2B5EF4-FFF2-40B4-BE49-F238E27FC236}">
                  <a16:creationId xmlns:a16="http://schemas.microsoft.com/office/drawing/2014/main" id="{BA71E26F-E50E-FF0B-C5A9-658E2A0BE180}"/>
                </a:ext>
              </a:extLst>
            </p:cNvPr>
            <p:cNvGrpSpPr/>
            <p:nvPr/>
          </p:nvGrpSpPr>
          <p:grpSpPr>
            <a:xfrm>
              <a:off x="3403739" y="3491057"/>
              <a:ext cx="1117589" cy="1289101"/>
              <a:chOff x="2664334" y="3004228"/>
              <a:chExt cx="954199" cy="1100636"/>
            </a:xfrm>
          </p:grpSpPr>
          <p:sp>
            <p:nvSpPr>
              <p:cNvPr id="128" name="Freeform 15">
                <a:extLst>
                  <a:ext uri="{FF2B5EF4-FFF2-40B4-BE49-F238E27FC236}">
                    <a16:creationId xmlns:a16="http://schemas.microsoft.com/office/drawing/2014/main" id="{C58FE19B-4250-FE1C-8330-AC4B58AFB886}"/>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F16924"/>
              </a:solidFill>
              <a:ln>
                <a:noFill/>
              </a:ln>
              <a:effectLst/>
            </p:spPr>
            <p:txBody>
              <a:bodyPr wrap="none" anchor="ctr"/>
              <a:lstStyle/>
              <a:p>
                <a:pPr algn="l" rtl="0"/>
                <a:endParaRPr lang="en-GB" sz="1600" dirty="0"/>
              </a:p>
            </p:txBody>
          </p:sp>
          <p:sp>
            <p:nvSpPr>
              <p:cNvPr id="129" name="Oval 128">
                <a:extLst>
                  <a:ext uri="{FF2B5EF4-FFF2-40B4-BE49-F238E27FC236}">
                    <a16:creationId xmlns:a16="http://schemas.microsoft.com/office/drawing/2014/main" id="{854FCEEF-BD11-9A1F-F1DE-17A37F96332E}"/>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30" name="TextBox 58">
                <a:extLst>
                  <a:ext uri="{FF2B5EF4-FFF2-40B4-BE49-F238E27FC236}">
                    <a16:creationId xmlns:a16="http://schemas.microsoft.com/office/drawing/2014/main" id="{16276994-C9EF-12A5-5CDA-5C72E1D942A5}"/>
                  </a:ext>
                </a:extLst>
              </p:cNvPr>
              <p:cNvSpPr txBox="1"/>
              <p:nvPr/>
            </p:nvSpPr>
            <p:spPr>
              <a:xfrm>
                <a:off x="2853486" y="3176512"/>
                <a:ext cx="601109" cy="604394"/>
              </a:xfrm>
              <a:prstGeom prst="rect">
                <a:avLst/>
              </a:prstGeom>
              <a:noFill/>
            </p:spPr>
            <p:txBody>
              <a:bodyPr wrap="none" rtlCol="0" anchor="ctr">
                <a:spAutoFit/>
              </a:bodyPr>
              <a:lstStyle/>
              <a:p>
                <a:pPr algn="ctr" rtl="0"/>
                <a:r>
                  <a:rPr lang="en-GB" sz="4000" b="1" dirty="0">
                    <a:solidFill>
                      <a:srgbClr val="F16924"/>
                    </a:solidFill>
                    <a:cs typeface="Poppins" pitchFamily="2" charset="77"/>
                  </a:rPr>
                  <a:t>02</a:t>
                </a:r>
              </a:p>
            </p:txBody>
          </p:sp>
        </p:grpSp>
      </p:grpSp>
      <p:grpSp>
        <p:nvGrpSpPr>
          <p:cNvPr id="143" name="Group 142">
            <a:extLst>
              <a:ext uri="{FF2B5EF4-FFF2-40B4-BE49-F238E27FC236}">
                <a16:creationId xmlns:a16="http://schemas.microsoft.com/office/drawing/2014/main" id="{CF79BEC1-4B0A-6900-3477-DB760D611BCF}"/>
              </a:ext>
            </a:extLst>
          </p:cNvPr>
          <p:cNvGrpSpPr/>
          <p:nvPr/>
        </p:nvGrpSpPr>
        <p:grpSpPr>
          <a:xfrm>
            <a:off x="6504427" y="2397157"/>
            <a:ext cx="2024938" cy="1911821"/>
            <a:chOff x="5159030" y="2580585"/>
            <a:chExt cx="2024938" cy="1911821"/>
          </a:xfrm>
        </p:grpSpPr>
        <p:sp>
          <p:nvSpPr>
            <p:cNvPr id="99" name="Freeform 29">
              <a:extLst>
                <a:ext uri="{FF2B5EF4-FFF2-40B4-BE49-F238E27FC236}">
                  <a16:creationId xmlns:a16="http://schemas.microsoft.com/office/drawing/2014/main" id="{91991BD4-C783-D77A-F22F-3BB6D4C400C6}"/>
                </a:ext>
              </a:extLst>
            </p:cNvPr>
            <p:cNvSpPr>
              <a:spLocks noChangeArrowheads="1"/>
            </p:cNvSpPr>
            <p:nvPr/>
          </p:nvSpPr>
          <p:spPr bwMode="auto">
            <a:xfrm>
              <a:off x="5172860" y="3872755"/>
              <a:ext cx="44261" cy="174276"/>
            </a:xfrm>
            <a:custGeom>
              <a:avLst/>
              <a:gdLst>
                <a:gd name="T0" fmla="*/ 0 w 70"/>
                <a:gd name="T1" fmla="*/ 195 h 278"/>
                <a:gd name="T2" fmla="*/ 0 w 70"/>
                <a:gd name="T3" fmla="*/ 0 h 278"/>
                <a:gd name="T4" fmla="*/ 69 w 70"/>
                <a:gd name="T5" fmla="*/ 82 h 278"/>
                <a:gd name="T6" fmla="*/ 69 w 70"/>
                <a:gd name="T7" fmla="*/ 277 h 278"/>
                <a:gd name="T8" fmla="*/ 0 w 70"/>
                <a:gd name="T9" fmla="*/ 195 h 278"/>
              </a:gdLst>
              <a:ahLst/>
              <a:cxnLst>
                <a:cxn ang="0">
                  <a:pos x="T0" y="T1"/>
                </a:cxn>
                <a:cxn ang="0">
                  <a:pos x="T2" y="T3"/>
                </a:cxn>
                <a:cxn ang="0">
                  <a:pos x="T4" y="T5"/>
                </a:cxn>
                <a:cxn ang="0">
                  <a:pos x="T6" y="T7"/>
                </a:cxn>
                <a:cxn ang="0">
                  <a:pos x="T8" y="T9"/>
                </a:cxn>
              </a:cxnLst>
              <a:rect l="0" t="0" r="r" b="b"/>
              <a:pathLst>
                <a:path w="70" h="278">
                  <a:moveTo>
                    <a:pt x="0" y="195"/>
                  </a:moveTo>
                  <a:lnTo>
                    <a:pt x="0" y="0"/>
                  </a:lnTo>
                  <a:cubicBezTo>
                    <a:pt x="0" y="30"/>
                    <a:pt x="23" y="59"/>
                    <a:pt x="69" y="82"/>
                  </a:cubicBezTo>
                  <a:lnTo>
                    <a:pt x="69" y="277"/>
                  </a:lnTo>
                  <a:cubicBezTo>
                    <a:pt x="23" y="254"/>
                    <a:pt x="0" y="224"/>
                    <a:pt x="0" y="195"/>
                  </a:cubicBezTo>
                </a:path>
              </a:pathLst>
            </a:custGeom>
            <a:solidFill>
              <a:schemeClr val="bg1">
                <a:lumMod val="65000"/>
              </a:schemeClr>
            </a:solidFill>
            <a:ln>
              <a:noFill/>
            </a:ln>
            <a:effectLst/>
          </p:spPr>
          <p:txBody>
            <a:bodyPr wrap="none" anchor="ctr"/>
            <a:lstStyle/>
            <a:p>
              <a:pPr algn="l" rtl="0"/>
              <a:endParaRPr lang="en-GB" sz="1600" dirty="0"/>
            </a:p>
          </p:txBody>
        </p:sp>
        <p:sp>
          <p:nvSpPr>
            <p:cNvPr id="102" name="Freeform 32">
              <a:extLst>
                <a:ext uri="{FF2B5EF4-FFF2-40B4-BE49-F238E27FC236}">
                  <a16:creationId xmlns:a16="http://schemas.microsoft.com/office/drawing/2014/main" id="{CFD0589C-8D5D-C5A4-D44E-E20441BBEF3D}"/>
                </a:ext>
              </a:extLst>
            </p:cNvPr>
            <p:cNvSpPr>
              <a:spLocks noChangeArrowheads="1"/>
            </p:cNvSpPr>
            <p:nvPr/>
          </p:nvSpPr>
          <p:spPr bwMode="auto">
            <a:xfrm>
              <a:off x="5159030" y="3374818"/>
              <a:ext cx="2024938" cy="998637"/>
            </a:xfrm>
            <a:custGeom>
              <a:avLst/>
              <a:gdLst>
                <a:gd name="T0" fmla="*/ 1613 w 3227"/>
                <a:gd name="T1" fmla="*/ 0 h 1592"/>
                <a:gd name="T2" fmla="*/ 1777 w 3227"/>
                <a:gd name="T3" fmla="*/ 34 h 1592"/>
                <a:gd name="T4" fmla="*/ 3135 w 3227"/>
                <a:gd name="T5" fmla="*/ 713 h 1592"/>
                <a:gd name="T6" fmla="*/ 3135 w 3227"/>
                <a:gd name="T7" fmla="*/ 877 h 1592"/>
                <a:gd name="T8" fmla="*/ 1777 w 3227"/>
                <a:gd name="T9" fmla="*/ 1556 h 1592"/>
                <a:gd name="T10" fmla="*/ 1613 w 3227"/>
                <a:gd name="T11" fmla="*/ 1591 h 1592"/>
                <a:gd name="T12" fmla="*/ 1449 w 3227"/>
                <a:gd name="T13" fmla="*/ 1556 h 1592"/>
                <a:gd name="T14" fmla="*/ 91 w 3227"/>
                <a:gd name="T15" fmla="*/ 877 h 1592"/>
                <a:gd name="T16" fmla="*/ 91 w 3227"/>
                <a:gd name="T17" fmla="*/ 713 h 1592"/>
                <a:gd name="T18" fmla="*/ 1449 w 3227"/>
                <a:gd name="T19" fmla="*/ 34 h 1592"/>
                <a:gd name="T20" fmla="*/ 1613 w 3227"/>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2">
                  <a:moveTo>
                    <a:pt x="1613" y="0"/>
                  </a:moveTo>
                  <a:cubicBezTo>
                    <a:pt x="1672" y="0"/>
                    <a:pt x="1732" y="12"/>
                    <a:pt x="1777" y="34"/>
                  </a:cubicBezTo>
                  <a:lnTo>
                    <a:pt x="3135" y="713"/>
                  </a:lnTo>
                  <a:cubicBezTo>
                    <a:pt x="3226" y="758"/>
                    <a:pt x="3226" y="832"/>
                    <a:pt x="3135" y="877"/>
                  </a:cubicBezTo>
                  <a:lnTo>
                    <a:pt x="1777" y="1556"/>
                  </a:lnTo>
                  <a:cubicBezTo>
                    <a:pt x="1732" y="1579"/>
                    <a:pt x="1672" y="1591"/>
                    <a:pt x="1613" y="1591"/>
                  </a:cubicBezTo>
                  <a:cubicBezTo>
                    <a:pt x="1554" y="1591"/>
                    <a:pt x="1494" y="1579"/>
                    <a:pt x="1449" y="1556"/>
                  </a:cubicBezTo>
                  <a:lnTo>
                    <a:pt x="91" y="877"/>
                  </a:lnTo>
                  <a:cubicBezTo>
                    <a:pt x="0" y="832"/>
                    <a:pt x="0" y="758"/>
                    <a:pt x="91" y="713"/>
                  </a:cubicBezTo>
                  <a:lnTo>
                    <a:pt x="1449" y="34"/>
                  </a:lnTo>
                  <a:cubicBezTo>
                    <a:pt x="1494" y="12"/>
                    <a:pt x="1554" y="0"/>
                    <a:pt x="1613" y="0"/>
                  </a:cubicBezTo>
                </a:path>
              </a:pathLst>
            </a:custGeom>
            <a:solidFill>
              <a:schemeClr val="bg1">
                <a:lumMod val="95000"/>
              </a:schemeClr>
            </a:solidFill>
            <a:ln>
              <a:noFill/>
            </a:ln>
            <a:effectLst/>
          </p:spPr>
          <p:txBody>
            <a:bodyPr wrap="none" anchor="ctr"/>
            <a:lstStyle/>
            <a:p>
              <a:pPr algn="l" rtl="0"/>
              <a:endParaRPr lang="en-GB" sz="1600" dirty="0"/>
            </a:p>
          </p:txBody>
        </p:sp>
        <p:grpSp>
          <p:nvGrpSpPr>
            <p:cNvPr id="141" name="Group 140">
              <a:extLst>
                <a:ext uri="{FF2B5EF4-FFF2-40B4-BE49-F238E27FC236}">
                  <a16:creationId xmlns:a16="http://schemas.microsoft.com/office/drawing/2014/main" id="{5CF5DBCA-B45A-5098-F86E-08DD70AAE408}"/>
                </a:ext>
              </a:extLst>
            </p:cNvPr>
            <p:cNvGrpSpPr/>
            <p:nvPr/>
          </p:nvGrpSpPr>
          <p:grpSpPr>
            <a:xfrm>
              <a:off x="5217121" y="2580585"/>
              <a:ext cx="1953015" cy="1911821"/>
              <a:chOff x="5217121" y="2580585"/>
              <a:chExt cx="1953015" cy="1911821"/>
            </a:xfrm>
          </p:grpSpPr>
          <p:sp>
            <p:nvSpPr>
              <p:cNvPr id="98" name="Freeform 27">
                <a:extLst>
                  <a:ext uri="{FF2B5EF4-FFF2-40B4-BE49-F238E27FC236}">
                    <a16:creationId xmlns:a16="http://schemas.microsoft.com/office/drawing/2014/main" id="{1017FAD7-C08C-279A-70DC-D2C2982AF2AB}"/>
                  </a:ext>
                </a:extLst>
              </p:cNvPr>
              <p:cNvSpPr>
                <a:spLocks noChangeArrowheads="1"/>
              </p:cNvSpPr>
              <p:nvPr/>
            </p:nvSpPr>
            <p:spPr bwMode="auto">
              <a:xfrm>
                <a:off x="7125875" y="3872755"/>
                <a:ext cx="44261" cy="174276"/>
              </a:xfrm>
              <a:custGeom>
                <a:avLst/>
                <a:gdLst>
                  <a:gd name="T0" fmla="*/ 68 w 70"/>
                  <a:gd name="T1" fmla="*/ 10 h 278"/>
                  <a:gd name="T2" fmla="*/ 68 w 70"/>
                  <a:gd name="T3" fmla="*/ 12 h 278"/>
                  <a:gd name="T4" fmla="*/ 64 w 70"/>
                  <a:gd name="T5" fmla="*/ 22 h 278"/>
                  <a:gd name="T6" fmla="*/ 63 w 70"/>
                  <a:gd name="T7" fmla="*/ 25 h 278"/>
                  <a:gd name="T8" fmla="*/ 60 w 70"/>
                  <a:gd name="T9" fmla="*/ 32 h 278"/>
                  <a:gd name="T10" fmla="*/ 57 w 70"/>
                  <a:gd name="T11" fmla="*/ 36 h 278"/>
                  <a:gd name="T12" fmla="*/ 53 w 70"/>
                  <a:gd name="T13" fmla="*/ 42 h 278"/>
                  <a:gd name="T14" fmla="*/ 49 w 70"/>
                  <a:gd name="T15" fmla="*/ 47 h 278"/>
                  <a:gd name="T16" fmla="*/ 44 w 70"/>
                  <a:gd name="T17" fmla="*/ 52 h 278"/>
                  <a:gd name="T18" fmla="*/ 39 w 70"/>
                  <a:gd name="T19" fmla="*/ 57 h 278"/>
                  <a:gd name="T20" fmla="*/ 32 w 70"/>
                  <a:gd name="T21" fmla="*/ 63 h 278"/>
                  <a:gd name="T22" fmla="*/ 30 w 70"/>
                  <a:gd name="T23" fmla="*/ 65 h 278"/>
                  <a:gd name="T24" fmla="*/ 17 w 70"/>
                  <a:gd name="T25" fmla="*/ 73 h 278"/>
                  <a:gd name="T26" fmla="*/ 15 w 70"/>
                  <a:gd name="T27" fmla="*/ 75 h 278"/>
                  <a:gd name="T28" fmla="*/ 0 w 70"/>
                  <a:gd name="T29" fmla="*/ 82 h 278"/>
                  <a:gd name="T30" fmla="*/ 0 w 70"/>
                  <a:gd name="T31" fmla="*/ 277 h 278"/>
                  <a:gd name="T32" fmla="*/ 15 w 70"/>
                  <a:gd name="T33" fmla="*/ 268 h 278"/>
                  <a:gd name="T34" fmla="*/ 17 w 70"/>
                  <a:gd name="T35" fmla="*/ 267 h 278"/>
                  <a:gd name="T36" fmla="*/ 20 w 70"/>
                  <a:gd name="T37" fmla="*/ 266 h 278"/>
                  <a:gd name="T38" fmla="*/ 30 w 70"/>
                  <a:gd name="T39" fmla="*/ 259 h 278"/>
                  <a:gd name="T40" fmla="*/ 32 w 70"/>
                  <a:gd name="T41" fmla="*/ 258 h 278"/>
                  <a:gd name="T42" fmla="*/ 36 w 70"/>
                  <a:gd name="T43" fmla="*/ 254 h 278"/>
                  <a:gd name="T44" fmla="*/ 39 w 70"/>
                  <a:gd name="T45" fmla="*/ 251 h 278"/>
                  <a:gd name="T46" fmla="*/ 44 w 70"/>
                  <a:gd name="T47" fmla="*/ 246 h 278"/>
                  <a:gd name="T48" fmla="*/ 47 w 70"/>
                  <a:gd name="T49" fmla="*/ 243 h 278"/>
                  <a:gd name="T50" fmla="*/ 49 w 70"/>
                  <a:gd name="T51" fmla="*/ 240 h 278"/>
                  <a:gd name="T52" fmla="*/ 53 w 70"/>
                  <a:gd name="T53" fmla="*/ 236 h 278"/>
                  <a:gd name="T54" fmla="*/ 55 w 70"/>
                  <a:gd name="T55" fmla="*/ 234 h 278"/>
                  <a:gd name="T56" fmla="*/ 57 w 70"/>
                  <a:gd name="T57" fmla="*/ 230 h 278"/>
                  <a:gd name="T58" fmla="*/ 60 w 70"/>
                  <a:gd name="T59" fmla="*/ 226 h 278"/>
                  <a:gd name="T60" fmla="*/ 61 w 70"/>
                  <a:gd name="T61" fmla="*/ 225 h 278"/>
                  <a:gd name="T62" fmla="*/ 63 w 70"/>
                  <a:gd name="T63" fmla="*/ 219 h 278"/>
                  <a:gd name="T64" fmla="*/ 64 w 70"/>
                  <a:gd name="T65" fmla="*/ 216 h 278"/>
                  <a:gd name="T66" fmla="*/ 64 w 70"/>
                  <a:gd name="T67" fmla="*/ 215 h 278"/>
                  <a:gd name="T68" fmla="*/ 68 w 70"/>
                  <a:gd name="T69" fmla="*/ 206 h 278"/>
                  <a:gd name="T70" fmla="*/ 68 w 70"/>
                  <a:gd name="T71" fmla="*/ 204 h 278"/>
                  <a:gd name="T72" fmla="*/ 69 w 70"/>
                  <a:gd name="T73" fmla="*/ 196 h 278"/>
                  <a:gd name="T74" fmla="*/ 69 w 70"/>
                  <a:gd name="T75" fmla="*/ 195 h 278"/>
                  <a:gd name="T76" fmla="*/ 69 w 70"/>
                  <a:gd name="T77" fmla="*/ 0 h 278"/>
                  <a:gd name="T78" fmla="*/ 68 w 70"/>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 h="278">
                    <a:moveTo>
                      <a:pt x="68" y="10"/>
                    </a:moveTo>
                    <a:cubicBezTo>
                      <a:pt x="68" y="10"/>
                      <a:pt x="68" y="11"/>
                      <a:pt x="68" y="12"/>
                    </a:cubicBezTo>
                    <a:cubicBezTo>
                      <a:pt x="67" y="15"/>
                      <a:pt x="66" y="19"/>
                      <a:pt x="64" y="22"/>
                    </a:cubicBezTo>
                    <a:cubicBezTo>
                      <a:pt x="64" y="23"/>
                      <a:pt x="63" y="24"/>
                      <a:pt x="63" y="25"/>
                    </a:cubicBezTo>
                    <a:cubicBezTo>
                      <a:pt x="62" y="28"/>
                      <a:pt x="61" y="30"/>
                      <a:pt x="60" y="32"/>
                    </a:cubicBezTo>
                    <a:cubicBezTo>
                      <a:pt x="59" y="33"/>
                      <a:pt x="58" y="34"/>
                      <a:pt x="57" y="36"/>
                    </a:cubicBezTo>
                    <a:cubicBezTo>
                      <a:pt x="56" y="38"/>
                      <a:pt x="54" y="40"/>
                      <a:pt x="53" y="42"/>
                    </a:cubicBezTo>
                    <a:cubicBezTo>
                      <a:pt x="52" y="43"/>
                      <a:pt x="51" y="45"/>
                      <a:pt x="49" y="47"/>
                    </a:cubicBezTo>
                    <a:cubicBezTo>
                      <a:pt x="47" y="48"/>
                      <a:pt x="46" y="50"/>
                      <a:pt x="44" y="52"/>
                    </a:cubicBezTo>
                    <a:cubicBezTo>
                      <a:pt x="42" y="53"/>
                      <a:pt x="41" y="55"/>
                      <a:pt x="39" y="57"/>
                    </a:cubicBezTo>
                    <a:cubicBezTo>
                      <a:pt x="36" y="59"/>
                      <a:pt x="34" y="61"/>
                      <a:pt x="32" y="63"/>
                    </a:cubicBezTo>
                    <a:cubicBezTo>
                      <a:pt x="31" y="64"/>
                      <a:pt x="30" y="64"/>
                      <a:pt x="30" y="65"/>
                    </a:cubicBezTo>
                    <a:cubicBezTo>
                      <a:pt x="26" y="67"/>
                      <a:pt x="22" y="70"/>
                      <a:pt x="17" y="73"/>
                    </a:cubicBezTo>
                    <a:cubicBezTo>
                      <a:pt x="17" y="73"/>
                      <a:pt x="16" y="74"/>
                      <a:pt x="15" y="75"/>
                    </a:cubicBezTo>
                    <a:cubicBezTo>
                      <a:pt x="10" y="77"/>
                      <a:pt x="6" y="80"/>
                      <a:pt x="0" y="82"/>
                    </a:cubicBezTo>
                    <a:lnTo>
                      <a:pt x="0" y="277"/>
                    </a:lnTo>
                    <a:cubicBezTo>
                      <a:pt x="6" y="274"/>
                      <a:pt x="10" y="272"/>
                      <a:pt x="15" y="268"/>
                    </a:cubicBezTo>
                    <a:cubicBezTo>
                      <a:pt x="16" y="268"/>
                      <a:pt x="17" y="267"/>
                      <a:pt x="17" y="267"/>
                    </a:cubicBezTo>
                    <a:cubicBezTo>
                      <a:pt x="19" y="267"/>
                      <a:pt x="19" y="266"/>
                      <a:pt x="20" y="266"/>
                    </a:cubicBezTo>
                    <a:cubicBezTo>
                      <a:pt x="23" y="263"/>
                      <a:pt x="27" y="261"/>
                      <a:pt x="30" y="259"/>
                    </a:cubicBezTo>
                    <a:cubicBezTo>
                      <a:pt x="30" y="258"/>
                      <a:pt x="31" y="258"/>
                      <a:pt x="32" y="258"/>
                    </a:cubicBezTo>
                    <a:cubicBezTo>
                      <a:pt x="33" y="256"/>
                      <a:pt x="35" y="255"/>
                      <a:pt x="36" y="254"/>
                    </a:cubicBezTo>
                    <a:cubicBezTo>
                      <a:pt x="37" y="253"/>
                      <a:pt x="38" y="252"/>
                      <a:pt x="39" y="251"/>
                    </a:cubicBezTo>
                    <a:cubicBezTo>
                      <a:pt x="41" y="250"/>
                      <a:pt x="42" y="248"/>
                      <a:pt x="44" y="246"/>
                    </a:cubicBezTo>
                    <a:cubicBezTo>
                      <a:pt x="45" y="245"/>
                      <a:pt x="46" y="245"/>
                      <a:pt x="47" y="243"/>
                    </a:cubicBezTo>
                    <a:cubicBezTo>
                      <a:pt x="47" y="243"/>
                      <a:pt x="49" y="242"/>
                      <a:pt x="49" y="240"/>
                    </a:cubicBezTo>
                    <a:cubicBezTo>
                      <a:pt x="51" y="239"/>
                      <a:pt x="52" y="238"/>
                      <a:pt x="53" y="236"/>
                    </a:cubicBezTo>
                    <a:cubicBezTo>
                      <a:pt x="53" y="236"/>
                      <a:pt x="54" y="235"/>
                      <a:pt x="55" y="234"/>
                    </a:cubicBezTo>
                    <a:cubicBezTo>
                      <a:pt x="55" y="232"/>
                      <a:pt x="57" y="231"/>
                      <a:pt x="57" y="230"/>
                    </a:cubicBezTo>
                    <a:cubicBezTo>
                      <a:pt x="58" y="229"/>
                      <a:pt x="59" y="227"/>
                      <a:pt x="60" y="226"/>
                    </a:cubicBezTo>
                    <a:cubicBezTo>
                      <a:pt x="60" y="226"/>
                      <a:pt x="60" y="225"/>
                      <a:pt x="61" y="225"/>
                    </a:cubicBezTo>
                    <a:cubicBezTo>
                      <a:pt x="62" y="223"/>
                      <a:pt x="62" y="221"/>
                      <a:pt x="63" y="219"/>
                    </a:cubicBezTo>
                    <a:cubicBezTo>
                      <a:pt x="63" y="219"/>
                      <a:pt x="64" y="217"/>
                      <a:pt x="64" y="216"/>
                    </a:cubicBezTo>
                    <a:lnTo>
                      <a:pt x="64" y="215"/>
                    </a:lnTo>
                    <a:cubicBezTo>
                      <a:pt x="66" y="212"/>
                      <a:pt x="67" y="209"/>
                      <a:pt x="68" y="206"/>
                    </a:cubicBezTo>
                    <a:cubicBezTo>
                      <a:pt x="68" y="206"/>
                      <a:pt x="68" y="205"/>
                      <a:pt x="68" y="204"/>
                    </a:cubicBezTo>
                    <a:cubicBezTo>
                      <a:pt x="68" y="202"/>
                      <a:pt x="68" y="199"/>
                      <a:pt x="69" y="196"/>
                    </a:cubicBezTo>
                    <a:cubicBezTo>
                      <a:pt x="69" y="195"/>
                      <a:pt x="69" y="195"/>
                      <a:pt x="69" y="195"/>
                    </a:cubicBezTo>
                    <a:lnTo>
                      <a:pt x="69" y="0"/>
                    </a:lnTo>
                    <a:cubicBezTo>
                      <a:pt x="69" y="4"/>
                      <a:pt x="68" y="7"/>
                      <a:pt x="68" y="10"/>
                    </a:cubicBezTo>
                  </a:path>
                </a:pathLst>
              </a:custGeom>
              <a:solidFill>
                <a:schemeClr val="bg1">
                  <a:lumMod val="65000"/>
                </a:schemeClr>
              </a:solidFill>
              <a:ln>
                <a:noFill/>
              </a:ln>
              <a:effectLst/>
            </p:spPr>
            <p:txBody>
              <a:bodyPr wrap="none" anchor="ctr"/>
              <a:lstStyle/>
              <a:p>
                <a:pPr algn="l" rtl="0"/>
                <a:endParaRPr lang="en-GB" sz="1600" dirty="0"/>
              </a:p>
            </p:txBody>
          </p:sp>
          <p:sp>
            <p:nvSpPr>
              <p:cNvPr id="100" name="Freeform 30">
                <a:extLst>
                  <a:ext uri="{FF2B5EF4-FFF2-40B4-BE49-F238E27FC236}">
                    <a16:creationId xmlns:a16="http://schemas.microsoft.com/office/drawing/2014/main" id="{31CFA4A3-3B61-1E10-4BBD-647988080722}"/>
                  </a:ext>
                </a:extLst>
              </p:cNvPr>
              <p:cNvSpPr>
                <a:spLocks noChangeArrowheads="1"/>
              </p:cNvSpPr>
              <p:nvPr/>
            </p:nvSpPr>
            <p:spPr bwMode="auto">
              <a:xfrm>
                <a:off x="6273851" y="3922547"/>
                <a:ext cx="852022" cy="547729"/>
              </a:xfrm>
              <a:custGeom>
                <a:avLst/>
                <a:gdLst>
                  <a:gd name="T0" fmla="*/ 1358 w 1359"/>
                  <a:gd name="T1" fmla="*/ 0 h 875"/>
                  <a:gd name="T2" fmla="*/ 1358 w 1359"/>
                  <a:gd name="T3" fmla="*/ 195 h 875"/>
                  <a:gd name="T4" fmla="*/ 0 w 1359"/>
                  <a:gd name="T5" fmla="*/ 874 h 875"/>
                  <a:gd name="T6" fmla="*/ 0 w 1359"/>
                  <a:gd name="T7" fmla="*/ 679 h 875"/>
                  <a:gd name="T8" fmla="*/ 1358 w 1359"/>
                  <a:gd name="T9" fmla="*/ 0 h 875"/>
                </a:gdLst>
                <a:ahLst/>
                <a:cxnLst>
                  <a:cxn ang="0">
                    <a:pos x="T0" y="T1"/>
                  </a:cxn>
                  <a:cxn ang="0">
                    <a:pos x="T2" y="T3"/>
                  </a:cxn>
                  <a:cxn ang="0">
                    <a:pos x="T4" y="T5"/>
                  </a:cxn>
                  <a:cxn ang="0">
                    <a:pos x="T6" y="T7"/>
                  </a:cxn>
                  <a:cxn ang="0">
                    <a:pos x="T8" y="T9"/>
                  </a:cxn>
                </a:cxnLst>
                <a:rect l="0" t="0" r="r" b="b"/>
                <a:pathLst>
                  <a:path w="1359" h="875">
                    <a:moveTo>
                      <a:pt x="1358" y="0"/>
                    </a:moveTo>
                    <a:lnTo>
                      <a:pt x="1358" y="195"/>
                    </a:lnTo>
                    <a:lnTo>
                      <a:pt x="0" y="874"/>
                    </a:lnTo>
                    <a:lnTo>
                      <a:pt x="0" y="679"/>
                    </a:lnTo>
                    <a:lnTo>
                      <a:pt x="1358" y="0"/>
                    </a:lnTo>
                  </a:path>
                </a:pathLst>
              </a:custGeom>
              <a:solidFill>
                <a:schemeClr val="bg1">
                  <a:lumMod val="75000"/>
                </a:schemeClr>
              </a:solidFill>
              <a:ln>
                <a:noFill/>
              </a:ln>
              <a:effectLst/>
            </p:spPr>
            <p:txBody>
              <a:bodyPr wrap="none" anchor="ctr"/>
              <a:lstStyle/>
              <a:p>
                <a:pPr algn="l" rtl="0"/>
                <a:endParaRPr lang="en-GB" sz="1600" dirty="0"/>
              </a:p>
            </p:txBody>
          </p:sp>
          <p:sp>
            <p:nvSpPr>
              <p:cNvPr id="101" name="Freeform 31">
                <a:extLst>
                  <a:ext uri="{FF2B5EF4-FFF2-40B4-BE49-F238E27FC236}">
                    <a16:creationId xmlns:a16="http://schemas.microsoft.com/office/drawing/2014/main" id="{B39F7E76-EB36-AA30-CC97-3B4621C6AF3D}"/>
                  </a:ext>
                </a:extLst>
              </p:cNvPr>
              <p:cNvSpPr>
                <a:spLocks noChangeArrowheads="1"/>
              </p:cNvSpPr>
              <p:nvPr/>
            </p:nvSpPr>
            <p:spPr bwMode="auto">
              <a:xfrm>
                <a:off x="5217121" y="3922547"/>
                <a:ext cx="852022" cy="547729"/>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pPr algn="l" rtl="0"/>
                <a:endParaRPr lang="en-GB" sz="1600" dirty="0"/>
              </a:p>
            </p:txBody>
          </p:sp>
          <p:sp>
            <p:nvSpPr>
              <p:cNvPr id="103" name="Freeform 33">
                <a:extLst>
                  <a:ext uri="{FF2B5EF4-FFF2-40B4-BE49-F238E27FC236}">
                    <a16:creationId xmlns:a16="http://schemas.microsoft.com/office/drawing/2014/main" id="{23248998-8147-215B-126F-06A4C2498FD2}"/>
                  </a:ext>
                </a:extLst>
              </p:cNvPr>
              <p:cNvSpPr>
                <a:spLocks noChangeArrowheads="1"/>
              </p:cNvSpPr>
              <p:nvPr/>
            </p:nvSpPr>
            <p:spPr bwMode="auto">
              <a:xfrm>
                <a:off x="6069143" y="4348558"/>
                <a:ext cx="207474" cy="143848"/>
              </a:xfrm>
              <a:custGeom>
                <a:avLst/>
                <a:gdLst>
                  <a:gd name="T0" fmla="*/ 300 w 329"/>
                  <a:gd name="T1" fmla="*/ 12 h 230"/>
                  <a:gd name="T2" fmla="*/ 275 w 329"/>
                  <a:gd name="T3" fmla="*/ 20 h 230"/>
                  <a:gd name="T4" fmla="*/ 254 w 329"/>
                  <a:gd name="T5" fmla="*/ 26 h 230"/>
                  <a:gd name="T6" fmla="*/ 230 w 329"/>
                  <a:gd name="T7" fmla="*/ 30 h 230"/>
                  <a:gd name="T8" fmla="*/ 205 w 329"/>
                  <a:gd name="T9" fmla="*/ 33 h 230"/>
                  <a:gd name="T10" fmla="*/ 182 w 329"/>
                  <a:gd name="T11" fmla="*/ 34 h 230"/>
                  <a:gd name="T12" fmla="*/ 148 w 329"/>
                  <a:gd name="T13" fmla="*/ 34 h 230"/>
                  <a:gd name="T14" fmla="*/ 121 w 329"/>
                  <a:gd name="T15" fmla="*/ 32 h 230"/>
                  <a:gd name="T16" fmla="*/ 99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2 w 329"/>
                  <a:gd name="T37" fmla="*/ 221 h 230"/>
                  <a:gd name="T38" fmla="*/ 99 w 329"/>
                  <a:gd name="T39" fmla="*/ 224 h 230"/>
                  <a:gd name="T40" fmla="*/ 119 w 329"/>
                  <a:gd name="T41" fmla="*/ 227 h 230"/>
                  <a:gd name="T42" fmla="*/ 138 w 329"/>
                  <a:gd name="T43" fmla="*/ 228 h 230"/>
                  <a:gd name="T44" fmla="*/ 148 w 329"/>
                  <a:gd name="T45" fmla="*/ 228 h 230"/>
                  <a:gd name="T46" fmla="*/ 164 w 329"/>
                  <a:gd name="T47" fmla="*/ 229 h 230"/>
                  <a:gd name="T48" fmla="*/ 182 w 329"/>
                  <a:gd name="T49" fmla="*/ 228 h 230"/>
                  <a:gd name="T50" fmla="*/ 202 w 329"/>
                  <a:gd name="T51" fmla="*/ 227 h 230"/>
                  <a:gd name="T52" fmla="*/ 228 w 329"/>
                  <a:gd name="T53" fmla="*/ 224 h 230"/>
                  <a:gd name="T54" fmla="*/ 230 w 329"/>
                  <a:gd name="T55" fmla="*/ 224 h 230"/>
                  <a:gd name="T56" fmla="*/ 254 w 329"/>
                  <a:gd name="T57" fmla="*/ 219 h 230"/>
                  <a:gd name="T58" fmla="*/ 275 w 329"/>
                  <a:gd name="T59" fmla="*/ 214 h 230"/>
                  <a:gd name="T60" fmla="*/ 300 w 329"/>
                  <a:gd name="T61" fmla="*/ 207 h 230"/>
                  <a:gd name="T62" fmla="*/ 315 w 329"/>
                  <a:gd name="T63" fmla="*/ 200 h 230"/>
                  <a:gd name="T64" fmla="*/ 328 w 329"/>
                  <a:gd name="T6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3" y="7"/>
                    </a:moveTo>
                    <a:cubicBezTo>
                      <a:pt x="309" y="9"/>
                      <a:pt x="305" y="11"/>
                      <a:pt x="300" y="12"/>
                    </a:cubicBezTo>
                    <a:cubicBezTo>
                      <a:pt x="298" y="13"/>
                      <a:pt x="296" y="14"/>
                      <a:pt x="293" y="15"/>
                    </a:cubicBezTo>
                    <a:cubicBezTo>
                      <a:pt x="288" y="17"/>
                      <a:pt x="281" y="19"/>
                      <a:pt x="275" y="20"/>
                    </a:cubicBezTo>
                    <a:cubicBezTo>
                      <a:pt x="274" y="21"/>
                      <a:pt x="274" y="21"/>
                      <a:pt x="272" y="21"/>
                    </a:cubicBezTo>
                    <a:cubicBezTo>
                      <a:pt x="266" y="23"/>
                      <a:pt x="260" y="24"/>
                      <a:pt x="254" y="26"/>
                    </a:cubicBezTo>
                    <a:cubicBezTo>
                      <a:pt x="253" y="26"/>
                      <a:pt x="252" y="26"/>
                      <a:pt x="251" y="26"/>
                    </a:cubicBezTo>
                    <a:cubicBezTo>
                      <a:pt x="244" y="27"/>
                      <a:pt x="238" y="29"/>
                      <a:pt x="230" y="30"/>
                    </a:cubicBezTo>
                    <a:cubicBezTo>
                      <a:pt x="229" y="30"/>
                      <a:pt x="229" y="30"/>
                      <a:pt x="228" y="30"/>
                    </a:cubicBezTo>
                    <a:cubicBezTo>
                      <a:pt x="220" y="31"/>
                      <a:pt x="213" y="32"/>
                      <a:pt x="205" y="33"/>
                    </a:cubicBezTo>
                    <a:cubicBezTo>
                      <a:pt x="201" y="33"/>
                      <a:pt x="198" y="33"/>
                      <a:pt x="195" y="34"/>
                    </a:cubicBezTo>
                    <a:cubicBezTo>
                      <a:pt x="191" y="34"/>
                      <a:pt x="187" y="34"/>
                      <a:pt x="182" y="34"/>
                    </a:cubicBezTo>
                    <a:cubicBezTo>
                      <a:pt x="176" y="34"/>
                      <a:pt x="170" y="35"/>
                      <a:pt x="164" y="35"/>
                    </a:cubicBezTo>
                    <a:cubicBezTo>
                      <a:pt x="159" y="35"/>
                      <a:pt x="153" y="34"/>
                      <a:pt x="148" y="34"/>
                    </a:cubicBezTo>
                    <a:cubicBezTo>
                      <a:pt x="145" y="34"/>
                      <a:pt x="143" y="34"/>
                      <a:pt x="140" y="34"/>
                    </a:cubicBezTo>
                    <a:cubicBezTo>
                      <a:pt x="134" y="34"/>
                      <a:pt x="128" y="33"/>
                      <a:pt x="121" y="32"/>
                    </a:cubicBezTo>
                    <a:cubicBezTo>
                      <a:pt x="121" y="32"/>
                      <a:pt x="120" y="32"/>
                      <a:pt x="119" y="32"/>
                    </a:cubicBezTo>
                    <a:cubicBezTo>
                      <a:pt x="113" y="32"/>
                      <a:pt x="106" y="31"/>
                      <a:pt x="99" y="30"/>
                    </a:cubicBezTo>
                    <a:cubicBezTo>
                      <a:pt x="97" y="29"/>
                      <a:pt x="95" y="29"/>
                      <a:pt x="93" y="29"/>
                    </a:cubicBezTo>
                    <a:cubicBezTo>
                      <a:pt x="88" y="28"/>
                      <a:pt x="84" y="27"/>
                      <a:pt x="79" y="26"/>
                    </a:cubicBezTo>
                    <a:cubicBezTo>
                      <a:pt x="77" y="26"/>
                      <a:pt x="73" y="25"/>
                      <a:pt x="71" y="24"/>
                    </a:cubicBezTo>
                    <a:cubicBezTo>
                      <a:pt x="67" y="24"/>
                      <a:pt x="63" y="23"/>
                      <a:pt x="60" y="22"/>
                    </a:cubicBezTo>
                    <a:cubicBezTo>
                      <a:pt x="56" y="21"/>
                      <a:pt x="52" y="20"/>
                      <a:pt x="49" y="19"/>
                    </a:cubicBezTo>
                    <a:cubicBezTo>
                      <a:pt x="46" y="18"/>
                      <a:pt x="43" y="17"/>
                      <a:pt x="40" y="16"/>
                    </a:cubicBezTo>
                    <a:cubicBezTo>
                      <a:pt x="33" y="14"/>
                      <a:pt x="27" y="12"/>
                      <a:pt x="20" y="9"/>
                    </a:cubicBezTo>
                    <a:cubicBezTo>
                      <a:pt x="19" y="9"/>
                      <a:pt x="19" y="9"/>
                      <a:pt x="18" y="8"/>
                    </a:cubicBezTo>
                    <a:cubicBezTo>
                      <a:pt x="12" y="6"/>
                      <a:pt x="6" y="4"/>
                      <a:pt x="0" y="0"/>
                    </a:cubicBezTo>
                    <a:lnTo>
                      <a:pt x="0" y="195"/>
                    </a:lnTo>
                    <a:cubicBezTo>
                      <a:pt x="6" y="197"/>
                      <a:pt x="12" y="200"/>
                      <a:pt x="18" y="203"/>
                    </a:cubicBezTo>
                    <a:cubicBezTo>
                      <a:pt x="19" y="203"/>
                      <a:pt x="19" y="204"/>
                      <a:pt x="20" y="204"/>
                    </a:cubicBezTo>
                    <a:cubicBezTo>
                      <a:pt x="27" y="206"/>
                      <a:pt x="33" y="208"/>
                      <a:pt x="40" y="210"/>
                    </a:cubicBezTo>
                    <a:cubicBezTo>
                      <a:pt x="41" y="211"/>
                      <a:pt x="41" y="211"/>
                      <a:pt x="42" y="212"/>
                    </a:cubicBezTo>
                    <a:cubicBezTo>
                      <a:pt x="44" y="212"/>
                      <a:pt x="47" y="213"/>
                      <a:pt x="49" y="213"/>
                    </a:cubicBezTo>
                    <a:cubicBezTo>
                      <a:pt x="52" y="214"/>
                      <a:pt x="56" y="215"/>
                      <a:pt x="60" y="216"/>
                    </a:cubicBezTo>
                    <a:cubicBezTo>
                      <a:pt x="61" y="216"/>
                      <a:pt x="61" y="217"/>
                      <a:pt x="62" y="217"/>
                    </a:cubicBezTo>
                    <a:cubicBezTo>
                      <a:pt x="66" y="218"/>
                      <a:pt x="68" y="218"/>
                      <a:pt x="71" y="219"/>
                    </a:cubicBezTo>
                    <a:cubicBezTo>
                      <a:pt x="73" y="219"/>
                      <a:pt x="77" y="220"/>
                      <a:pt x="79" y="221"/>
                    </a:cubicBezTo>
                    <a:cubicBezTo>
                      <a:pt x="80" y="221"/>
                      <a:pt x="81" y="221"/>
                      <a:pt x="82" y="221"/>
                    </a:cubicBezTo>
                    <a:cubicBezTo>
                      <a:pt x="85" y="222"/>
                      <a:pt x="89" y="223"/>
                      <a:pt x="93" y="223"/>
                    </a:cubicBezTo>
                    <a:cubicBezTo>
                      <a:pt x="95" y="223"/>
                      <a:pt x="97" y="224"/>
                      <a:pt x="99" y="224"/>
                    </a:cubicBezTo>
                    <a:cubicBezTo>
                      <a:pt x="100" y="224"/>
                      <a:pt x="101" y="224"/>
                      <a:pt x="101" y="224"/>
                    </a:cubicBezTo>
                    <a:cubicBezTo>
                      <a:pt x="107" y="225"/>
                      <a:pt x="113" y="226"/>
                      <a:pt x="119" y="227"/>
                    </a:cubicBezTo>
                    <a:cubicBezTo>
                      <a:pt x="120" y="227"/>
                      <a:pt x="121" y="227"/>
                      <a:pt x="121" y="227"/>
                    </a:cubicBezTo>
                    <a:cubicBezTo>
                      <a:pt x="127" y="227"/>
                      <a:pt x="133" y="227"/>
                      <a:pt x="138" y="228"/>
                    </a:cubicBezTo>
                    <a:cubicBezTo>
                      <a:pt x="139" y="228"/>
                      <a:pt x="140" y="228"/>
                      <a:pt x="140" y="228"/>
                    </a:cubicBezTo>
                    <a:cubicBezTo>
                      <a:pt x="143" y="228"/>
                      <a:pt x="145" y="228"/>
                      <a:pt x="148" y="228"/>
                    </a:cubicBezTo>
                    <a:cubicBezTo>
                      <a:pt x="151" y="229"/>
                      <a:pt x="155" y="229"/>
                      <a:pt x="158" y="229"/>
                    </a:cubicBezTo>
                    <a:cubicBezTo>
                      <a:pt x="160" y="229"/>
                      <a:pt x="162" y="229"/>
                      <a:pt x="164" y="229"/>
                    </a:cubicBezTo>
                    <a:cubicBezTo>
                      <a:pt x="169" y="229"/>
                      <a:pt x="174" y="229"/>
                      <a:pt x="179" y="229"/>
                    </a:cubicBezTo>
                    <a:cubicBezTo>
                      <a:pt x="181" y="229"/>
                      <a:pt x="181" y="228"/>
                      <a:pt x="182" y="228"/>
                    </a:cubicBezTo>
                    <a:cubicBezTo>
                      <a:pt x="187" y="228"/>
                      <a:pt x="191" y="228"/>
                      <a:pt x="195" y="227"/>
                    </a:cubicBezTo>
                    <a:cubicBezTo>
                      <a:pt x="197" y="227"/>
                      <a:pt x="200" y="227"/>
                      <a:pt x="202" y="227"/>
                    </a:cubicBezTo>
                    <a:cubicBezTo>
                      <a:pt x="203" y="227"/>
                      <a:pt x="204" y="227"/>
                      <a:pt x="205" y="227"/>
                    </a:cubicBezTo>
                    <a:cubicBezTo>
                      <a:pt x="213" y="226"/>
                      <a:pt x="220" y="225"/>
                      <a:pt x="228" y="224"/>
                    </a:cubicBezTo>
                    <a:cubicBezTo>
                      <a:pt x="229" y="224"/>
                      <a:pt x="229" y="224"/>
                      <a:pt x="229" y="224"/>
                    </a:cubicBezTo>
                    <a:lnTo>
                      <a:pt x="230" y="224"/>
                    </a:lnTo>
                    <a:cubicBezTo>
                      <a:pt x="238" y="223"/>
                      <a:pt x="244" y="222"/>
                      <a:pt x="251" y="220"/>
                    </a:cubicBezTo>
                    <a:cubicBezTo>
                      <a:pt x="252" y="220"/>
                      <a:pt x="253" y="220"/>
                      <a:pt x="254" y="219"/>
                    </a:cubicBezTo>
                    <a:cubicBezTo>
                      <a:pt x="260" y="218"/>
                      <a:pt x="266" y="217"/>
                      <a:pt x="272" y="215"/>
                    </a:cubicBezTo>
                    <a:cubicBezTo>
                      <a:pt x="274" y="215"/>
                      <a:pt x="274" y="214"/>
                      <a:pt x="275" y="214"/>
                    </a:cubicBezTo>
                    <a:cubicBezTo>
                      <a:pt x="281" y="213"/>
                      <a:pt x="288" y="211"/>
                      <a:pt x="293" y="209"/>
                    </a:cubicBezTo>
                    <a:cubicBezTo>
                      <a:pt x="296" y="208"/>
                      <a:pt x="298" y="207"/>
                      <a:pt x="300" y="207"/>
                    </a:cubicBezTo>
                    <a:cubicBezTo>
                      <a:pt x="305" y="205"/>
                      <a:pt x="309" y="204"/>
                      <a:pt x="313" y="202"/>
                    </a:cubicBezTo>
                    <a:cubicBezTo>
                      <a:pt x="314" y="201"/>
                      <a:pt x="314" y="201"/>
                      <a:pt x="315" y="200"/>
                    </a:cubicBezTo>
                    <a:cubicBezTo>
                      <a:pt x="320" y="199"/>
                      <a:pt x="324" y="197"/>
                      <a:pt x="328" y="195"/>
                    </a:cubicBezTo>
                    <a:lnTo>
                      <a:pt x="328" y="0"/>
                    </a:lnTo>
                    <a:cubicBezTo>
                      <a:pt x="323" y="3"/>
                      <a:pt x="318" y="5"/>
                      <a:pt x="313" y="7"/>
                    </a:cubicBezTo>
                  </a:path>
                </a:pathLst>
              </a:custGeom>
              <a:solidFill>
                <a:schemeClr val="bg1">
                  <a:lumMod val="65000"/>
                </a:schemeClr>
              </a:solidFill>
              <a:ln>
                <a:noFill/>
              </a:ln>
              <a:effectLst/>
            </p:spPr>
            <p:txBody>
              <a:bodyPr wrap="none" anchor="ctr"/>
              <a:lstStyle/>
              <a:p>
                <a:pPr algn="l" rtl="0"/>
                <a:endParaRPr lang="en-GB" sz="1600" dirty="0"/>
              </a:p>
            </p:txBody>
          </p:sp>
          <p:sp>
            <p:nvSpPr>
              <p:cNvPr id="104" name="Freeform 34">
                <a:extLst>
                  <a:ext uri="{FF2B5EF4-FFF2-40B4-BE49-F238E27FC236}">
                    <a16:creationId xmlns:a16="http://schemas.microsoft.com/office/drawing/2014/main" id="{0D1A1B0F-DD1E-0E17-2F65-FC19EF562138}"/>
                  </a:ext>
                </a:extLst>
              </p:cNvPr>
              <p:cNvSpPr>
                <a:spLocks noChangeArrowheads="1"/>
              </p:cNvSpPr>
              <p:nvPr/>
            </p:nvSpPr>
            <p:spPr bwMode="auto">
              <a:xfrm>
                <a:off x="5908700" y="3809129"/>
                <a:ext cx="525599" cy="124484"/>
              </a:xfrm>
              <a:custGeom>
                <a:avLst/>
                <a:gdLst>
                  <a:gd name="T0" fmla="*/ 839 w 840"/>
                  <a:gd name="T1" fmla="*/ 99 h 200"/>
                  <a:gd name="T2" fmla="*/ 419 w 840"/>
                  <a:gd name="T3" fmla="*/ 199 h 200"/>
                  <a:gd name="T4" fmla="*/ 0 w 840"/>
                  <a:gd name="T5" fmla="*/ 99 h 200"/>
                  <a:gd name="T6" fmla="*/ 419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19" y="199"/>
                    </a:cubicBezTo>
                    <a:cubicBezTo>
                      <a:pt x="187" y="199"/>
                      <a:pt x="0" y="154"/>
                      <a:pt x="0" y="99"/>
                    </a:cubicBezTo>
                    <a:cubicBezTo>
                      <a:pt x="0" y="45"/>
                      <a:pt x="187" y="0"/>
                      <a:pt x="419" y="0"/>
                    </a:cubicBezTo>
                    <a:cubicBezTo>
                      <a:pt x="651" y="0"/>
                      <a:pt x="839" y="45"/>
                      <a:pt x="839" y="99"/>
                    </a:cubicBezTo>
                  </a:path>
                </a:pathLst>
              </a:custGeom>
              <a:solidFill>
                <a:schemeClr val="bg1">
                  <a:lumMod val="75000"/>
                </a:schemeClr>
              </a:solidFill>
              <a:ln>
                <a:noFill/>
              </a:ln>
              <a:effectLst/>
            </p:spPr>
            <p:txBody>
              <a:bodyPr wrap="none" anchor="ctr"/>
              <a:lstStyle/>
              <a:p>
                <a:pPr algn="l" rtl="0"/>
                <a:endParaRPr lang="en-GB" sz="1600" dirty="0"/>
              </a:p>
            </p:txBody>
          </p:sp>
          <p:grpSp>
            <p:nvGrpSpPr>
              <p:cNvPr id="131" name="Group 130">
                <a:extLst>
                  <a:ext uri="{FF2B5EF4-FFF2-40B4-BE49-F238E27FC236}">
                    <a16:creationId xmlns:a16="http://schemas.microsoft.com/office/drawing/2014/main" id="{34C05028-D2B1-671E-8114-C9878CDC166E}"/>
                  </a:ext>
                </a:extLst>
              </p:cNvPr>
              <p:cNvGrpSpPr/>
              <p:nvPr/>
            </p:nvGrpSpPr>
            <p:grpSpPr>
              <a:xfrm>
                <a:off x="5638937" y="2580585"/>
                <a:ext cx="1117589" cy="1289101"/>
                <a:chOff x="2664334" y="3004228"/>
                <a:chExt cx="954199" cy="1100636"/>
              </a:xfrm>
            </p:grpSpPr>
            <p:sp>
              <p:nvSpPr>
                <p:cNvPr id="132" name="Freeform 15">
                  <a:extLst>
                    <a:ext uri="{FF2B5EF4-FFF2-40B4-BE49-F238E27FC236}">
                      <a16:creationId xmlns:a16="http://schemas.microsoft.com/office/drawing/2014/main" id="{12035672-FD0F-C439-FD3B-152D22C27E8B}"/>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B41F7A"/>
                </a:solidFill>
                <a:ln>
                  <a:noFill/>
                </a:ln>
                <a:effectLst/>
              </p:spPr>
              <p:txBody>
                <a:bodyPr wrap="none" anchor="ctr"/>
                <a:lstStyle/>
                <a:p>
                  <a:pPr algn="l" rtl="0"/>
                  <a:endParaRPr lang="en-GB" sz="1600" dirty="0"/>
                </a:p>
              </p:txBody>
            </p:sp>
            <p:sp>
              <p:nvSpPr>
                <p:cNvPr id="133" name="Oval 132">
                  <a:extLst>
                    <a:ext uri="{FF2B5EF4-FFF2-40B4-BE49-F238E27FC236}">
                      <a16:creationId xmlns:a16="http://schemas.microsoft.com/office/drawing/2014/main" id="{E221E6C4-CF47-B67B-4A17-875C2D7E7600}"/>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34" name="TextBox 58">
                  <a:extLst>
                    <a:ext uri="{FF2B5EF4-FFF2-40B4-BE49-F238E27FC236}">
                      <a16:creationId xmlns:a16="http://schemas.microsoft.com/office/drawing/2014/main" id="{FDF0679E-3AEB-1D45-666B-C6D0CE4A727D}"/>
                    </a:ext>
                  </a:extLst>
                </p:cNvPr>
                <p:cNvSpPr txBox="1"/>
                <p:nvPr/>
              </p:nvSpPr>
              <p:spPr>
                <a:xfrm>
                  <a:off x="2853486" y="3176512"/>
                  <a:ext cx="601109" cy="604394"/>
                </a:xfrm>
                <a:prstGeom prst="rect">
                  <a:avLst/>
                </a:prstGeom>
                <a:noFill/>
              </p:spPr>
              <p:txBody>
                <a:bodyPr wrap="none" rtlCol="0" anchor="ctr">
                  <a:spAutoFit/>
                </a:bodyPr>
                <a:lstStyle/>
                <a:p>
                  <a:pPr algn="ctr" rtl="0"/>
                  <a:r>
                    <a:rPr lang="en-GB" sz="4000" b="1" dirty="0">
                      <a:solidFill>
                        <a:srgbClr val="B41F7A"/>
                      </a:solidFill>
                      <a:cs typeface="Poppins" pitchFamily="2" charset="77"/>
                    </a:rPr>
                    <a:t>03</a:t>
                  </a:r>
                </a:p>
              </p:txBody>
            </p:sp>
          </p:grpSp>
        </p:grpSp>
      </p:grpSp>
      <p:grpSp>
        <p:nvGrpSpPr>
          <p:cNvPr id="140" name="Group 139">
            <a:extLst>
              <a:ext uri="{FF2B5EF4-FFF2-40B4-BE49-F238E27FC236}">
                <a16:creationId xmlns:a16="http://schemas.microsoft.com/office/drawing/2014/main" id="{DCABF9F9-2DA2-92CB-48B6-3CB30E001E74}"/>
              </a:ext>
            </a:extLst>
          </p:cNvPr>
          <p:cNvGrpSpPr/>
          <p:nvPr/>
        </p:nvGrpSpPr>
        <p:grpSpPr>
          <a:xfrm>
            <a:off x="9391445" y="3267204"/>
            <a:ext cx="2024938" cy="1921460"/>
            <a:chOff x="7376568" y="3472763"/>
            <a:chExt cx="2024938" cy="1921460"/>
          </a:xfrm>
        </p:grpSpPr>
        <p:sp>
          <p:nvSpPr>
            <p:cNvPr id="108" name="Freeform 37">
              <a:extLst>
                <a:ext uri="{FF2B5EF4-FFF2-40B4-BE49-F238E27FC236}">
                  <a16:creationId xmlns:a16="http://schemas.microsoft.com/office/drawing/2014/main" id="{D6FA0B70-0CC7-3F3E-8361-5E9A69519319}"/>
                </a:ext>
              </a:extLst>
            </p:cNvPr>
            <p:cNvSpPr>
              <a:spLocks noChangeArrowheads="1"/>
            </p:cNvSpPr>
            <p:nvPr/>
          </p:nvSpPr>
          <p:spPr bwMode="auto">
            <a:xfrm>
              <a:off x="9343413" y="4774572"/>
              <a:ext cx="44261" cy="174276"/>
            </a:xfrm>
            <a:custGeom>
              <a:avLst/>
              <a:gdLst>
                <a:gd name="T0" fmla="*/ 67 w 69"/>
                <a:gd name="T1" fmla="*/ 10 h 277"/>
                <a:gd name="T2" fmla="*/ 66 w 69"/>
                <a:gd name="T3" fmla="*/ 11 h 277"/>
                <a:gd name="T4" fmla="*/ 64 w 69"/>
                <a:gd name="T5" fmla="*/ 21 h 277"/>
                <a:gd name="T6" fmla="*/ 62 w 69"/>
                <a:gd name="T7" fmla="*/ 24 h 277"/>
                <a:gd name="T8" fmla="*/ 59 w 69"/>
                <a:gd name="T9" fmla="*/ 32 h 277"/>
                <a:gd name="T10" fmla="*/ 56 w 69"/>
                <a:gd name="T11" fmla="*/ 35 h 277"/>
                <a:gd name="T12" fmla="*/ 53 w 69"/>
                <a:gd name="T13" fmla="*/ 41 h 277"/>
                <a:gd name="T14" fmla="*/ 49 w 69"/>
                <a:gd name="T15" fmla="*/ 46 h 277"/>
                <a:gd name="T16" fmla="*/ 43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19 w 69"/>
                <a:gd name="T37" fmla="*/ 265 h 277"/>
                <a:gd name="T38" fmla="*/ 29 w 69"/>
                <a:gd name="T39" fmla="*/ 259 h 277"/>
                <a:gd name="T40" fmla="*/ 31 w 69"/>
                <a:gd name="T41" fmla="*/ 257 h 277"/>
                <a:gd name="T42" fmla="*/ 35 w 69"/>
                <a:gd name="T43" fmla="*/ 254 h 277"/>
                <a:gd name="T44" fmla="*/ 38 w 69"/>
                <a:gd name="T45" fmla="*/ 251 h 277"/>
                <a:gd name="T46" fmla="*/ 43 w 69"/>
                <a:gd name="T47" fmla="*/ 246 h 277"/>
                <a:gd name="T48" fmla="*/ 46 w 69"/>
                <a:gd name="T49" fmla="*/ 243 h 277"/>
                <a:gd name="T50" fmla="*/ 49 w 69"/>
                <a:gd name="T51" fmla="*/ 240 h 277"/>
                <a:gd name="T52" fmla="*/ 53 w 69"/>
                <a:gd name="T53" fmla="*/ 236 h 277"/>
                <a:gd name="T54" fmla="*/ 54 w 69"/>
                <a:gd name="T55" fmla="*/ 234 h 277"/>
                <a:gd name="T56" fmla="*/ 56 w 69"/>
                <a:gd name="T57" fmla="*/ 230 h 277"/>
                <a:gd name="T58" fmla="*/ 59 w 69"/>
                <a:gd name="T59" fmla="*/ 225 h 277"/>
                <a:gd name="T60" fmla="*/ 60 w 69"/>
                <a:gd name="T61" fmla="*/ 224 h 277"/>
                <a:gd name="T62" fmla="*/ 62 w 69"/>
                <a:gd name="T63" fmla="*/ 219 h 277"/>
                <a:gd name="T64" fmla="*/ 64 w 69"/>
                <a:gd name="T65" fmla="*/ 216 h 277"/>
                <a:gd name="T66" fmla="*/ 64 w 69"/>
                <a:gd name="T67" fmla="*/ 215 h 277"/>
                <a:gd name="T68" fmla="*/ 66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cubicBezTo>
                    <a:pt x="66" y="10"/>
                    <a:pt x="66" y="11"/>
                    <a:pt x="66" y="11"/>
                  </a:cubicBezTo>
                  <a:cubicBezTo>
                    <a:pt x="66" y="14"/>
                    <a:pt x="65" y="18"/>
                    <a:pt x="64" y="21"/>
                  </a:cubicBezTo>
                  <a:cubicBezTo>
                    <a:pt x="64" y="23"/>
                    <a:pt x="63" y="24"/>
                    <a:pt x="62" y="24"/>
                  </a:cubicBezTo>
                  <a:cubicBezTo>
                    <a:pt x="61" y="27"/>
                    <a:pt x="60" y="29"/>
                    <a:pt x="59" y="32"/>
                  </a:cubicBezTo>
                  <a:cubicBezTo>
                    <a:pt x="58" y="33"/>
                    <a:pt x="58" y="34"/>
                    <a:pt x="56" y="35"/>
                  </a:cubicBezTo>
                  <a:cubicBezTo>
                    <a:pt x="55" y="38"/>
                    <a:pt x="54" y="40"/>
                    <a:pt x="53" y="41"/>
                  </a:cubicBezTo>
                  <a:cubicBezTo>
                    <a:pt x="51" y="43"/>
                    <a:pt x="50" y="45"/>
                    <a:pt x="49" y="46"/>
                  </a:cubicBezTo>
                  <a:cubicBezTo>
                    <a:pt x="47" y="47"/>
                    <a:pt x="45" y="49"/>
                    <a:pt x="43" y="51"/>
                  </a:cubicBezTo>
                  <a:cubicBezTo>
                    <a:pt x="42" y="53"/>
                    <a:pt x="40" y="55"/>
                    <a:pt x="38" y="57"/>
                  </a:cubicBezTo>
                  <a:cubicBezTo>
                    <a:pt x="36" y="59"/>
                    <a:pt x="34" y="60"/>
                    <a:pt x="31" y="63"/>
                  </a:cubicBezTo>
                  <a:cubicBezTo>
                    <a:pt x="30" y="63"/>
                    <a:pt x="29" y="63"/>
                    <a:pt x="29" y="64"/>
                  </a:cubicBezTo>
                  <a:cubicBezTo>
                    <a:pt x="25" y="67"/>
                    <a:pt x="21"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8" y="266"/>
                    <a:pt x="19" y="265"/>
                  </a:cubicBezTo>
                  <a:cubicBezTo>
                    <a:pt x="23" y="263"/>
                    <a:pt x="25" y="260"/>
                    <a:pt x="29" y="259"/>
                  </a:cubicBezTo>
                  <a:cubicBezTo>
                    <a:pt x="29" y="258"/>
                    <a:pt x="30" y="257"/>
                    <a:pt x="31" y="257"/>
                  </a:cubicBezTo>
                  <a:cubicBezTo>
                    <a:pt x="32" y="255"/>
                    <a:pt x="34" y="254"/>
                    <a:pt x="35" y="254"/>
                  </a:cubicBezTo>
                  <a:cubicBezTo>
                    <a:pt x="37" y="253"/>
                    <a:pt x="37" y="252"/>
                    <a:pt x="38" y="251"/>
                  </a:cubicBezTo>
                  <a:cubicBezTo>
                    <a:pt x="40" y="249"/>
                    <a:pt x="42" y="248"/>
                    <a:pt x="43" y="246"/>
                  </a:cubicBezTo>
                  <a:cubicBezTo>
                    <a:pt x="45" y="244"/>
                    <a:pt x="45" y="244"/>
                    <a:pt x="46" y="243"/>
                  </a:cubicBezTo>
                  <a:cubicBezTo>
                    <a:pt x="47" y="242"/>
                    <a:pt x="48" y="241"/>
                    <a:pt x="49" y="240"/>
                  </a:cubicBezTo>
                  <a:cubicBezTo>
                    <a:pt x="50" y="239"/>
                    <a:pt x="51" y="237"/>
                    <a:pt x="53" y="236"/>
                  </a:cubicBezTo>
                  <a:cubicBezTo>
                    <a:pt x="53" y="235"/>
                    <a:pt x="54" y="234"/>
                    <a:pt x="54" y="234"/>
                  </a:cubicBezTo>
                  <a:cubicBezTo>
                    <a:pt x="55" y="232"/>
                    <a:pt x="56" y="231"/>
                    <a:pt x="56" y="230"/>
                  </a:cubicBezTo>
                  <a:cubicBezTo>
                    <a:pt x="58" y="229"/>
                    <a:pt x="58" y="227"/>
                    <a:pt x="59" y="225"/>
                  </a:cubicBezTo>
                  <a:cubicBezTo>
                    <a:pt x="59" y="225"/>
                    <a:pt x="60" y="225"/>
                    <a:pt x="60" y="224"/>
                  </a:cubicBezTo>
                  <a:cubicBezTo>
                    <a:pt x="61" y="223"/>
                    <a:pt x="62" y="220"/>
                    <a:pt x="62" y="219"/>
                  </a:cubicBezTo>
                  <a:cubicBezTo>
                    <a:pt x="63" y="218"/>
                    <a:pt x="64" y="216"/>
                    <a:pt x="64" y="216"/>
                  </a:cubicBezTo>
                  <a:cubicBezTo>
                    <a:pt x="64" y="215"/>
                    <a:pt x="64" y="215"/>
                    <a:pt x="64" y="215"/>
                  </a:cubicBezTo>
                  <a:cubicBezTo>
                    <a:pt x="65" y="212"/>
                    <a:pt x="66" y="208"/>
                    <a:pt x="66"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pPr algn="l" rtl="0"/>
              <a:endParaRPr lang="en-GB" sz="1600" dirty="0"/>
            </a:p>
          </p:txBody>
        </p:sp>
        <p:sp>
          <p:nvSpPr>
            <p:cNvPr id="109" name="Freeform 39">
              <a:extLst>
                <a:ext uri="{FF2B5EF4-FFF2-40B4-BE49-F238E27FC236}">
                  <a16:creationId xmlns:a16="http://schemas.microsoft.com/office/drawing/2014/main" id="{B5994B2F-FFB3-EB19-F918-6EF1DF95BFDC}"/>
                </a:ext>
              </a:extLst>
            </p:cNvPr>
            <p:cNvSpPr>
              <a:spLocks noChangeArrowheads="1"/>
            </p:cNvSpPr>
            <p:nvPr/>
          </p:nvSpPr>
          <p:spPr bwMode="auto">
            <a:xfrm>
              <a:off x="7393164" y="4774572"/>
              <a:ext cx="44261" cy="174276"/>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pPr algn="l" rtl="0"/>
              <a:endParaRPr lang="en-GB" sz="1600" dirty="0"/>
            </a:p>
          </p:txBody>
        </p:sp>
        <p:sp>
          <p:nvSpPr>
            <p:cNvPr id="110" name="Freeform 40">
              <a:extLst>
                <a:ext uri="{FF2B5EF4-FFF2-40B4-BE49-F238E27FC236}">
                  <a16:creationId xmlns:a16="http://schemas.microsoft.com/office/drawing/2014/main" id="{65D8F9AB-75BE-1438-2FB8-4EA25A7D63E0}"/>
                </a:ext>
              </a:extLst>
            </p:cNvPr>
            <p:cNvSpPr>
              <a:spLocks noChangeArrowheads="1"/>
            </p:cNvSpPr>
            <p:nvPr/>
          </p:nvSpPr>
          <p:spPr bwMode="auto">
            <a:xfrm>
              <a:off x="8494156" y="4824363"/>
              <a:ext cx="852022" cy="547729"/>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pPr algn="l" rtl="0"/>
              <a:endParaRPr lang="en-GB" sz="1600" dirty="0"/>
            </a:p>
          </p:txBody>
        </p:sp>
        <p:sp>
          <p:nvSpPr>
            <p:cNvPr id="111" name="Freeform 41">
              <a:extLst>
                <a:ext uri="{FF2B5EF4-FFF2-40B4-BE49-F238E27FC236}">
                  <a16:creationId xmlns:a16="http://schemas.microsoft.com/office/drawing/2014/main" id="{B13849AF-32D8-ED23-1898-3FA2BC01796D}"/>
                </a:ext>
              </a:extLst>
            </p:cNvPr>
            <p:cNvSpPr>
              <a:spLocks noChangeArrowheads="1"/>
            </p:cNvSpPr>
            <p:nvPr/>
          </p:nvSpPr>
          <p:spPr bwMode="auto">
            <a:xfrm>
              <a:off x="7434660" y="4824363"/>
              <a:ext cx="852022" cy="547729"/>
            </a:xfrm>
            <a:custGeom>
              <a:avLst/>
              <a:gdLst>
                <a:gd name="T0" fmla="*/ 1358 w 1359"/>
                <a:gd name="T1" fmla="*/ 679 h 874"/>
                <a:gd name="T2" fmla="*/ 1358 w 1359"/>
                <a:gd name="T3" fmla="*/ 873 h 874"/>
                <a:gd name="T4" fmla="*/ 0 w 1359"/>
                <a:gd name="T5" fmla="*/ 194 h 874"/>
                <a:gd name="T6" fmla="*/ 0 w 1359"/>
                <a:gd name="T7" fmla="*/ 0 h 874"/>
                <a:gd name="T8" fmla="*/ 1358 w 1359"/>
                <a:gd name="T9" fmla="*/ 679 h 874"/>
              </a:gdLst>
              <a:ahLst/>
              <a:cxnLst>
                <a:cxn ang="0">
                  <a:pos x="T0" y="T1"/>
                </a:cxn>
                <a:cxn ang="0">
                  <a:pos x="T2" y="T3"/>
                </a:cxn>
                <a:cxn ang="0">
                  <a:pos x="T4" y="T5"/>
                </a:cxn>
                <a:cxn ang="0">
                  <a:pos x="T6" y="T7"/>
                </a:cxn>
                <a:cxn ang="0">
                  <a:pos x="T8" y="T9"/>
                </a:cxn>
              </a:cxnLst>
              <a:rect l="0" t="0" r="r" b="b"/>
              <a:pathLst>
                <a:path w="1359" h="874">
                  <a:moveTo>
                    <a:pt x="1358" y="679"/>
                  </a:moveTo>
                  <a:lnTo>
                    <a:pt x="1358" y="873"/>
                  </a:lnTo>
                  <a:lnTo>
                    <a:pt x="0" y="194"/>
                  </a:lnTo>
                  <a:lnTo>
                    <a:pt x="0" y="0"/>
                  </a:lnTo>
                  <a:lnTo>
                    <a:pt x="1358" y="679"/>
                  </a:lnTo>
                </a:path>
              </a:pathLst>
            </a:custGeom>
            <a:solidFill>
              <a:schemeClr val="bg1">
                <a:lumMod val="75000"/>
              </a:schemeClr>
            </a:solidFill>
            <a:ln>
              <a:noFill/>
            </a:ln>
            <a:effectLst/>
          </p:spPr>
          <p:txBody>
            <a:bodyPr wrap="none" anchor="ctr"/>
            <a:lstStyle/>
            <a:p>
              <a:pPr algn="l" rtl="0"/>
              <a:endParaRPr lang="en-GB" sz="1600" dirty="0"/>
            </a:p>
          </p:txBody>
        </p:sp>
        <p:sp>
          <p:nvSpPr>
            <p:cNvPr id="112" name="Freeform 42">
              <a:extLst>
                <a:ext uri="{FF2B5EF4-FFF2-40B4-BE49-F238E27FC236}">
                  <a16:creationId xmlns:a16="http://schemas.microsoft.com/office/drawing/2014/main" id="{7FA020EF-B5FA-8F7E-3C19-6368E24576FC}"/>
                </a:ext>
              </a:extLst>
            </p:cNvPr>
            <p:cNvSpPr>
              <a:spLocks noChangeArrowheads="1"/>
            </p:cNvSpPr>
            <p:nvPr/>
          </p:nvSpPr>
          <p:spPr bwMode="auto">
            <a:xfrm>
              <a:off x="7376568" y="4276634"/>
              <a:ext cx="2024938" cy="998637"/>
            </a:xfrm>
            <a:custGeom>
              <a:avLst/>
              <a:gdLst>
                <a:gd name="T0" fmla="*/ 1614 w 3227"/>
                <a:gd name="T1" fmla="*/ 0 h 1591"/>
                <a:gd name="T2" fmla="*/ 1778 w 3227"/>
                <a:gd name="T3" fmla="*/ 33 h 1591"/>
                <a:gd name="T4" fmla="*/ 3136 w 3227"/>
                <a:gd name="T5" fmla="*/ 713 h 1591"/>
                <a:gd name="T6" fmla="*/ 3136 w 3227"/>
                <a:gd name="T7" fmla="*/ 877 h 1591"/>
                <a:gd name="T8" fmla="*/ 1778 w 3227"/>
                <a:gd name="T9" fmla="*/ 1556 h 1591"/>
                <a:gd name="T10" fmla="*/ 1614 w 3227"/>
                <a:gd name="T11" fmla="*/ 1590 h 1591"/>
                <a:gd name="T12" fmla="*/ 1449 w 3227"/>
                <a:gd name="T13" fmla="*/ 1556 h 1591"/>
                <a:gd name="T14" fmla="*/ 91 w 3227"/>
                <a:gd name="T15" fmla="*/ 877 h 1591"/>
                <a:gd name="T16" fmla="*/ 91 w 3227"/>
                <a:gd name="T17" fmla="*/ 713 h 1591"/>
                <a:gd name="T18" fmla="*/ 1449 w 3227"/>
                <a:gd name="T19" fmla="*/ 33 h 1591"/>
                <a:gd name="T20" fmla="*/ 1614 w 3227"/>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1">
                  <a:moveTo>
                    <a:pt x="1614" y="0"/>
                  </a:moveTo>
                  <a:cubicBezTo>
                    <a:pt x="1673" y="0"/>
                    <a:pt x="1732" y="11"/>
                    <a:pt x="1778" y="33"/>
                  </a:cubicBezTo>
                  <a:lnTo>
                    <a:pt x="3136" y="713"/>
                  </a:lnTo>
                  <a:cubicBezTo>
                    <a:pt x="3226" y="758"/>
                    <a:pt x="3226" y="831"/>
                    <a:pt x="3136" y="877"/>
                  </a:cubicBezTo>
                  <a:lnTo>
                    <a:pt x="1778" y="1556"/>
                  </a:lnTo>
                  <a:cubicBezTo>
                    <a:pt x="1732" y="1579"/>
                    <a:pt x="1673" y="1590"/>
                    <a:pt x="1614" y="1590"/>
                  </a:cubicBezTo>
                  <a:cubicBezTo>
                    <a:pt x="1554" y="1590"/>
                    <a:pt x="1495" y="1579"/>
                    <a:pt x="1449" y="1556"/>
                  </a:cubicBezTo>
                  <a:lnTo>
                    <a:pt x="91" y="877"/>
                  </a:lnTo>
                  <a:cubicBezTo>
                    <a:pt x="0" y="831"/>
                    <a:pt x="0" y="758"/>
                    <a:pt x="91" y="713"/>
                  </a:cubicBezTo>
                  <a:lnTo>
                    <a:pt x="1449" y="33"/>
                  </a:lnTo>
                  <a:cubicBezTo>
                    <a:pt x="1495" y="11"/>
                    <a:pt x="1554" y="0"/>
                    <a:pt x="1614" y="0"/>
                  </a:cubicBezTo>
                </a:path>
              </a:pathLst>
            </a:custGeom>
            <a:solidFill>
              <a:schemeClr val="bg1">
                <a:lumMod val="95000"/>
              </a:schemeClr>
            </a:solidFill>
            <a:ln>
              <a:noFill/>
            </a:ln>
            <a:effectLst/>
          </p:spPr>
          <p:txBody>
            <a:bodyPr wrap="none" anchor="ctr"/>
            <a:lstStyle/>
            <a:p>
              <a:pPr algn="l" rtl="0"/>
              <a:endParaRPr lang="en-GB" sz="1600" dirty="0"/>
            </a:p>
          </p:txBody>
        </p:sp>
        <p:sp>
          <p:nvSpPr>
            <p:cNvPr id="113" name="Freeform 43">
              <a:extLst>
                <a:ext uri="{FF2B5EF4-FFF2-40B4-BE49-F238E27FC236}">
                  <a16:creationId xmlns:a16="http://schemas.microsoft.com/office/drawing/2014/main" id="{CF0053EF-61E1-9EE8-A8CF-55F52AB695F8}"/>
                </a:ext>
              </a:extLst>
            </p:cNvPr>
            <p:cNvSpPr>
              <a:spLocks noChangeArrowheads="1"/>
            </p:cNvSpPr>
            <p:nvPr/>
          </p:nvSpPr>
          <p:spPr bwMode="auto">
            <a:xfrm>
              <a:off x="8286684" y="5250375"/>
              <a:ext cx="207472" cy="143848"/>
            </a:xfrm>
            <a:custGeom>
              <a:avLst/>
              <a:gdLst>
                <a:gd name="T0" fmla="*/ 300 w 330"/>
                <a:gd name="T1" fmla="*/ 12 h 229"/>
                <a:gd name="T2" fmla="*/ 275 w 330"/>
                <a:gd name="T3" fmla="*/ 20 h 229"/>
                <a:gd name="T4" fmla="*/ 254 w 330"/>
                <a:gd name="T5" fmla="*/ 25 h 229"/>
                <a:gd name="T6" fmla="*/ 230 w 330"/>
                <a:gd name="T7" fmla="*/ 29 h 229"/>
                <a:gd name="T8" fmla="*/ 205 w 330"/>
                <a:gd name="T9" fmla="*/ 32 h 229"/>
                <a:gd name="T10" fmla="*/ 183 w 330"/>
                <a:gd name="T11" fmla="*/ 34 h 229"/>
                <a:gd name="T12" fmla="*/ 148 w 330"/>
                <a:gd name="T13" fmla="*/ 34 h 229"/>
                <a:gd name="T14" fmla="*/ 122 w 330"/>
                <a:gd name="T15" fmla="*/ 32 h 229"/>
                <a:gd name="T16" fmla="*/ 100 w 330"/>
                <a:gd name="T17" fmla="*/ 30 h 229"/>
                <a:gd name="T18" fmla="*/ 80 w 330"/>
                <a:gd name="T19" fmla="*/ 26 h 229"/>
                <a:gd name="T20" fmla="*/ 60 w 330"/>
                <a:gd name="T21" fmla="*/ 22 h 229"/>
                <a:gd name="T22" fmla="*/ 40 w 330"/>
                <a:gd name="T23" fmla="*/ 16 h 229"/>
                <a:gd name="T24" fmla="*/ 18 w 330"/>
                <a:gd name="T25" fmla="*/ 8 h 229"/>
                <a:gd name="T26" fmla="*/ 0 w 330"/>
                <a:gd name="T27" fmla="*/ 194 h 229"/>
                <a:gd name="T28" fmla="*/ 18 w 330"/>
                <a:gd name="T29" fmla="*/ 203 h 229"/>
                <a:gd name="T30" fmla="*/ 40 w 330"/>
                <a:gd name="T31" fmla="*/ 210 h 229"/>
                <a:gd name="T32" fmla="*/ 49 w 330"/>
                <a:gd name="T33" fmla="*/ 213 h 229"/>
                <a:gd name="T34" fmla="*/ 63 w 330"/>
                <a:gd name="T35" fmla="*/ 217 h 229"/>
                <a:gd name="T36" fmla="*/ 80 w 330"/>
                <a:gd name="T37" fmla="*/ 221 h 229"/>
                <a:gd name="T38" fmla="*/ 93 w 330"/>
                <a:gd name="T39" fmla="*/ 222 h 229"/>
                <a:gd name="T40" fmla="*/ 101 w 330"/>
                <a:gd name="T41" fmla="*/ 224 h 229"/>
                <a:gd name="T42" fmla="*/ 122 w 330"/>
                <a:gd name="T43" fmla="*/ 227 h 229"/>
                <a:gd name="T44" fmla="*/ 141 w 330"/>
                <a:gd name="T45" fmla="*/ 228 h 229"/>
                <a:gd name="T46" fmla="*/ 159 w 330"/>
                <a:gd name="T47" fmla="*/ 228 h 229"/>
                <a:gd name="T48" fmla="*/ 179 w 330"/>
                <a:gd name="T49" fmla="*/ 228 h 229"/>
                <a:gd name="T50" fmla="*/ 195 w 330"/>
                <a:gd name="T51" fmla="*/ 227 h 229"/>
                <a:gd name="T52" fmla="*/ 205 w 330"/>
                <a:gd name="T53" fmla="*/ 227 h 229"/>
                <a:gd name="T54" fmla="*/ 230 w 330"/>
                <a:gd name="T55" fmla="*/ 223 h 229"/>
                <a:gd name="T56" fmla="*/ 254 w 330"/>
                <a:gd name="T57" fmla="*/ 219 h 229"/>
                <a:gd name="T58" fmla="*/ 273 w 330"/>
                <a:gd name="T59" fmla="*/ 215 h 229"/>
                <a:gd name="T60" fmla="*/ 294 w 330"/>
                <a:gd name="T61" fmla="*/ 209 h 229"/>
                <a:gd name="T62" fmla="*/ 313 w 330"/>
                <a:gd name="T63" fmla="*/ 201 h 229"/>
                <a:gd name="T64" fmla="*/ 329 w 330"/>
                <a:gd name="T65" fmla="*/ 194 h 229"/>
                <a:gd name="T66" fmla="*/ 313 w 330"/>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0" h="229">
                  <a:moveTo>
                    <a:pt x="313" y="7"/>
                  </a:moveTo>
                  <a:cubicBezTo>
                    <a:pt x="309" y="9"/>
                    <a:pt x="305" y="10"/>
                    <a:pt x="300" y="12"/>
                  </a:cubicBezTo>
                  <a:cubicBezTo>
                    <a:pt x="298" y="13"/>
                    <a:pt x="296" y="14"/>
                    <a:pt x="294" y="14"/>
                  </a:cubicBezTo>
                  <a:cubicBezTo>
                    <a:pt x="288" y="16"/>
                    <a:pt x="282" y="18"/>
                    <a:pt x="275" y="20"/>
                  </a:cubicBezTo>
                  <a:cubicBezTo>
                    <a:pt x="275" y="20"/>
                    <a:pt x="274" y="20"/>
                    <a:pt x="272" y="20"/>
                  </a:cubicBezTo>
                  <a:cubicBezTo>
                    <a:pt x="267" y="22"/>
                    <a:pt x="260" y="23"/>
                    <a:pt x="254" y="25"/>
                  </a:cubicBezTo>
                  <a:cubicBezTo>
                    <a:pt x="253" y="25"/>
                    <a:pt x="253" y="25"/>
                    <a:pt x="252" y="25"/>
                  </a:cubicBezTo>
                  <a:cubicBezTo>
                    <a:pt x="245" y="27"/>
                    <a:pt x="237" y="28"/>
                    <a:pt x="230" y="29"/>
                  </a:cubicBezTo>
                  <a:cubicBezTo>
                    <a:pt x="230" y="30"/>
                    <a:pt x="229" y="30"/>
                    <a:pt x="229" y="30"/>
                  </a:cubicBezTo>
                  <a:cubicBezTo>
                    <a:pt x="221" y="31"/>
                    <a:pt x="213" y="32"/>
                    <a:pt x="205" y="32"/>
                  </a:cubicBezTo>
                  <a:cubicBezTo>
                    <a:pt x="202" y="33"/>
                    <a:pt x="198" y="33"/>
                    <a:pt x="195" y="33"/>
                  </a:cubicBezTo>
                  <a:cubicBezTo>
                    <a:pt x="191" y="33"/>
                    <a:pt x="187" y="33"/>
                    <a:pt x="183" y="34"/>
                  </a:cubicBezTo>
                  <a:cubicBezTo>
                    <a:pt x="177" y="34"/>
                    <a:pt x="171" y="34"/>
                    <a:pt x="165" y="34"/>
                  </a:cubicBezTo>
                  <a:cubicBezTo>
                    <a:pt x="159" y="34"/>
                    <a:pt x="154" y="34"/>
                    <a:pt x="148" y="34"/>
                  </a:cubicBezTo>
                  <a:cubicBezTo>
                    <a:pt x="146" y="33"/>
                    <a:pt x="143" y="33"/>
                    <a:pt x="141" y="33"/>
                  </a:cubicBezTo>
                  <a:cubicBezTo>
                    <a:pt x="134" y="33"/>
                    <a:pt x="128" y="33"/>
                    <a:pt x="122" y="32"/>
                  </a:cubicBezTo>
                  <a:cubicBezTo>
                    <a:pt x="121" y="32"/>
                    <a:pt x="121" y="32"/>
                    <a:pt x="120" y="32"/>
                  </a:cubicBezTo>
                  <a:cubicBezTo>
                    <a:pt x="113" y="32"/>
                    <a:pt x="107" y="30"/>
                    <a:pt x="100" y="30"/>
                  </a:cubicBezTo>
                  <a:cubicBezTo>
                    <a:pt x="98" y="29"/>
                    <a:pt x="95" y="28"/>
                    <a:pt x="93" y="28"/>
                  </a:cubicBezTo>
                  <a:cubicBezTo>
                    <a:pt x="88" y="28"/>
                    <a:pt x="84" y="27"/>
                    <a:pt x="80" y="26"/>
                  </a:cubicBezTo>
                  <a:cubicBezTo>
                    <a:pt x="77" y="25"/>
                    <a:pt x="74" y="25"/>
                    <a:pt x="71" y="24"/>
                  </a:cubicBezTo>
                  <a:cubicBezTo>
                    <a:pt x="68" y="23"/>
                    <a:pt x="64" y="22"/>
                    <a:pt x="60" y="22"/>
                  </a:cubicBezTo>
                  <a:cubicBezTo>
                    <a:pt x="57" y="20"/>
                    <a:pt x="53" y="20"/>
                    <a:pt x="49" y="19"/>
                  </a:cubicBezTo>
                  <a:cubicBezTo>
                    <a:pt x="46" y="18"/>
                    <a:pt x="43" y="17"/>
                    <a:pt x="40" y="16"/>
                  </a:cubicBezTo>
                  <a:cubicBezTo>
                    <a:pt x="33" y="14"/>
                    <a:pt x="27" y="11"/>
                    <a:pt x="20" y="9"/>
                  </a:cubicBezTo>
                  <a:lnTo>
                    <a:pt x="18" y="8"/>
                  </a:lnTo>
                  <a:cubicBezTo>
                    <a:pt x="12" y="6"/>
                    <a:pt x="6" y="3"/>
                    <a:pt x="0" y="0"/>
                  </a:cubicBezTo>
                  <a:lnTo>
                    <a:pt x="0" y="194"/>
                  </a:lnTo>
                  <a:cubicBezTo>
                    <a:pt x="6" y="197"/>
                    <a:pt x="12" y="200"/>
                    <a:pt x="18" y="202"/>
                  </a:cubicBezTo>
                  <a:lnTo>
                    <a:pt x="18" y="203"/>
                  </a:lnTo>
                  <a:cubicBezTo>
                    <a:pt x="19" y="203"/>
                    <a:pt x="20" y="203"/>
                    <a:pt x="20" y="203"/>
                  </a:cubicBezTo>
                  <a:cubicBezTo>
                    <a:pt x="27" y="206"/>
                    <a:pt x="33" y="208"/>
                    <a:pt x="40" y="210"/>
                  </a:cubicBezTo>
                  <a:cubicBezTo>
                    <a:pt x="41" y="211"/>
                    <a:pt x="42" y="211"/>
                    <a:pt x="42" y="211"/>
                  </a:cubicBezTo>
                  <a:cubicBezTo>
                    <a:pt x="45" y="212"/>
                    <a:pt x="47" y="212"/>
                    <a:pt x="49" y="213"/>
                  </a:cubicBezTo>
                  <a:cubicBezTo>
                    <a:pt x="53" y="214"/>
                    <a:pt x="57" y="215"/>
                    <a:pt x="60" y="216"/>
                  </a:cubicBezTo>
                  <a:cubicBezTo>
                    <a:pt x="61" y="216"/>
                    <a:pt x="62" y="216"/>
                    <a:pt x="63" y="217"/>
                  </a:cubicBezTo>
                  <a:cubicBezTo>
                    <a:pt x="66" y="217"/>
                    <a:pt x="69" y="218"/>
                    <a:pt x="71" y="219"/>
                  </a:cubicBezTo>
                  <a:cubicBezTo>
                    <a:pt x="74" y="219"/>
                    <a:pt x="77" y="220"/>
                    <a:pt x="80" y="221"/>
                  </a:cubicBezTo>
                  <a:cubicBezTo>
                    <a:pt x="80" y="221"/>
                    <a:pt x="81" y="221"/>
                    <a:pt x="82" y="221"/>
                  </a:cubicBezTo>
                  <a:cubicBezTo>
                    <a:pt x="86" y="222"/>
                    <a:pt x="90" y="222"/>
                    <a:pt x="93" y="222"/>
                  </a:cubicBezTo>
                  <a:cubicBezTo>
                    <a:pt x="95" y="223"/>
                    <a:pt x="98" y="223"/>
                    <a:pt x="100" y="223"/>
                  </a:cubicBezTo>
                  <a:cubicBezTo>
                    <a:pt x="100" y="223"/>
                    <a:pt x="100" y="224"/>
                    <a:pt x="101" y="224"/>
                  </a:cubicBezTo>
                  <a:cubicBezTo>
                    <a:pt x="107" y="225"/>
                    <a:pt x="113" y="225"/>
                    <a:pt x="120" y="226"/>
                  </a:cubicBezTo>
                  <a:cubicBezTo>
                    <a:pt x="121" y="226"/>
                    <a:pt x="121" y="226"/>
                    <a:pt x="122" y="227"/>
                  </a:cubicBezTo>
                  <a:cubicBezTo>
                    <a:pt x="127" y="227"/>
                    <a:pt x="133" y="227"/>
                    <a:pt x="139" y="228"/>
                  </a:cubicBezTo>
                  <a:cubicBezTo>
                    <a:pt x="140" y="228"/>
                    <a:pt x="140" y="228"/>
                    <a:pt x="141" y="228"/>
                  </a:cubicBezTo>
                  <a:cubicBezTo>
                    <a:pt x="143" y="228"/>
                    <a:pt x="146" y="228"/>
                    <a:pt x="148" y="228"/>
                  </a:cubicBezTo>
                  <a:cubicBezTo>
                    <a:pt x="152" y="228"/>
                    <a:pt x="155" y="228"/>
                    <a:pt x="159" y="228"/>
                  </a:cubicBezTo>
                  <a:cubicBezTo>
                    <a:pt x="161" y="228"/>
                    <a:pt x="162" y="228"/>
                    <a:pt x="165" y="228"/>
                  </a:cubicBezTo>
                  <a:cubicBezTo>
                    <a:pt x="170" y="228"/>
                    <a:pt x="174" y="228"/>
                    <a:pt x="179" y="228"/>
                  </a:cubicBezTo>
                  <a:cubicBezTo>
                    <a:pt x="181" y="228"/>
                    <a:pt x="182" y="228"/>
                    <a:pt x="183" y="228"/>
                  </a:cubicBezTo>
                  <a:cubicBezTo>
                    <a:pt x="187" y="228"/>
                    <a:pt x="191" y="227"/>
                    <a:pt x="195" y="227"/>
                  </a:cubicBezTo>
                  <a:cubicBezTo>
                    <a:pt x="198" y="227"/>
                    <a:pt x="200" y="227"/>
                    <a:pt x="203" y="227"/>
                  </a:cubicBezTo>
                  <a:lnTo>
                    <a:pt x="205" y="227"/>
                  </a:lnTo>
                  <a:cubicBezTo>
                    <a:pt x="213" y="226"/>
                    <a:pt x="221" y="225"/>
                    <a:pt x="229" y="223"/>
                  </a:cubicBezTo>
                  <a:lnTo>
                    <a:pt x="230" y="223"/>
                  </a:lnTo>
                  <a:cubicBezTo>
                    <a:pt x="237" y="222"/>
                    <a:pt x="245" y="221"/>
                    <a:pt x="252" y="220"/>
                  </a:cubicBezTo>
                  <a:cubicBezTo>
                    <a:pt x="253" y="220"/>
                    <a:pt x="253" y="219"/>
                    <a:pt x="254" y="219"/>
                  </a:cubicBezTo>
                  <a:cubicBezTo>
                    <a:pt x="260" y="218"/>
                    <a:pt x="267" y="217"/>
                    <a:pt x="272" y="215"/>
                  </a:cubicBezTo>
                  <a:cubicBezTo>
                    <a:pt x="273" y="215"/>
                    <a:pt x="273" y="215"/>
                    <a:pt x="273" y="215"/>
                  </a:cubicBezTo>
                  <a:cubicBezTo>
                    <a:pt x="274" y="214"/>
                    <a:pt x="275" y="214"/>
                    <a:pt x="275" y="214"/>
                  </a:cubicBezTo>
                  <a:cubicBezTo>
                    <a:pt x="282" y="212"/>
                    <a:pt x="288" y="211"/>
                    <a:pt x="294" y="209"/>
                  </a:cubicBezTo>
                  <a:cubicBezTo>
                    <a:pt x="296" y="208"/>
                    <a:pt x="298" y="207"/>
                    <a:pt x="300" y="206"/>
                  </a:cubicBezTo>
                  <a:cubicBezTo>
                    <a:pt x="305" y="205"/>
                    <a:pt x="309" y="203"/>
                    <a:pt x="313" y="201"/>
                  </a:cubicBezTo>
                  <a:cubicBezTo>
                    <a:pt x="314" y="201"/>
                    <a:pt x="315" y="200"/>
                    <a:pt x="316" y="200"/>
                  </a:cubicBezTo>
                  <a:cubicBezTo>
                    <a:pt x="320" y="198"/>
                    <a:pt x="324" y="197"/>
                    <a:pt x="329" y="194"/>
                  </a:cubicBezTo>
                  <a:lnTo>
                    <a:pt x="329" y="0"/>
                  </a:lnTo>
                  <a:cubicBezTo>
                    <a:pt x="324" y="3"/>
                    <a:pt x="319" y="4"/>
                    <a:pt x="313" y="7"/>
                  </a:cubicBezTo>
                </a:path>
              </a:pathLst>
            </a:custGeom>
            <a:solidFill>
              <a:schemeClr val="bg1">
                <a:lumMod val="65000"/>
              </a:schemeClr>
            </a:solidFill>
            <a:ln>
              <a:noFill/>
            </a:ln>
            <a:effectLst/>
          </p:spPr>
          <p:txBody>
            <a:bodyPr wrap="none" anchor="ctr"/>
            <a:lstStyle/>
            <a:p>
              <a:pPr algn="l" rtl="0"/>
              <a:endParaRPr lang="en-GB" sz="1600" dirty="0"/>
            </a:p>
          </p:txBody>
        </p:sp>
        <p:sp>
          <p:nvSpPr>
            <p:cNvPr id="114" name="Freeform 44">
              <a:extLst>
                <a:ext uri="{FF2B5EF4-FFF2-40B4-BE49-F238E27FC236}">
                  <a16:creationId xmlns:a16="http://schemas.microsoft.com/office/drawing/2014/main" id="{BF7AFF63-1138-E9B2-A7B2-54F97E24D5A5}"/>
                </a:ext>
              </a:extLst>
            </p:cNvPr>
            <p:cNvSpPr>
              <a:spLocks noChangeArrowheads="1"/>
            </p:cNvSpPr>
            <p:nvPr/>
          </p:nvSpPr>
          <p:spPr bwMode="auto">
            <a:xfrm>
              <a:off x="8126239" y="4710945"/>
              <a:ext cx="525599" cy="124484"/>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7" y="198"/>
                    <a:pt x="0" y="154"/>
                    <a:pt x="0" y="99"/>
                  </a:cubicBezTo>
                  <a:cubicBezTo>
                    <a:pt x="0" y="44"/>
                    <a:pt x="187" y="0"/>
                    <a:pt x="419" y="0"/>
                  </a:cubicBezTo>
                  <a:cubicBezTo>
                    <a:pt x="651" y="0"/>
                    <a:pt x="839" y="44"/>
                    <a:pt x="839" y="99"/>
                  </a:cubicBezTo>
                </a:path>
              </a:pathLst>
            </a:custGeom>
            <a:solidFill>
              <a:schemeClr val="bg1">
                <a:lumMod val="75000"/>
              </a:schemeClr>
            </a:solidFill>
            <a:ln>
              <a:noFill/>
            </a:ln>
            <a:effectLst/>
          </p:spPr>
          <p:txBody>
            <a:bodyPr wrap="none" anchor="ctr"/>
            <a:lstStyle/>
            <a:p>
              <a:pPr algn="l" rtl="0"/>
              <a:endParaRPr lang="en-GB" sz="1600" dirty="0"/>
            </a:p>
          </p:txBody>
        </p:sp>
        <p:grpSp>
          <p:nvGrpSpPr>
            <p:cNvPr id="135" name="Group 134">
              <a:extLst>
                <a:ext uri="{FF2B5EF4-FFF2-40B4-BE49-F238E27FC236}">
                  <a16:creationId xmlns:a16="http://schemas.microsoft.com/office/drawing/2014/main" id="{D38C83A1-CB26-31BB-5EDD-AED467CD6216}"/>
                </a:ext>
              </a:extLst>
            </p:cNvPr>
            <p:cNvGrpSpPr/>
            <p:nvPr/>
          </p:nvGrpSpPr>
          <p:grpSpPr>
            <a:xfrm>
              <a:off x="7830241" y="3472763"/>
              <a:ext cx="1117589" cy="1289101"/>
              <a:chOff x="2664334" y="3004228"/>
              <a:chExt cx="954199" cy="1100636"/>
            </a:xfrm>
          </p:grpSpPr>
          <p:sp>
            <p:nvSpPr>
              <p:cNvPr id="136" name="Freeform 15">
                <a:extLst>
                  <a:ext uri="{FF2B5EF4-FFF2-40B4-BE49-F238E27FC236}">
                    <a16:creationId xmlns:a16="http://schemas.microsoft.com/office/drawing/2014/main" id="{6B14E949-96AE-978A-75CA-A4317E3A78DE}"/>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7F1C58"/>
              </a:solidFill>
              <a:ln>
                <a:noFill/>
              </a:ln>
              <a:effectLst/>
            </p:spPr>
            <p:txBody>
              <a:bodyPr wrap="none" anchor="ctr"/>
              <a:lstStyle/>
              <a:p>
                <a:pPr algn="l" rtl="0"/>
                <a:endParaRPr lang="en-GB" sz="1600" dirty="0"/>
              </a:p>
            </p:txBody>
          </p:sp>
          <p:sp>
            <p:nvSpPr>
              <p:cNvPr id="137" name="Oval 136">
                <a:extLst>
                  <a:ext uri="{FF2B5EF4-FFF2-40B4-BE49-F238E27FC236}">
                    <a16:creationId xmlns:a16="http://schemas.microsoft.com/office/drawing/2014/main" id="{1B953D90-6CA7-9C76-1668-9C0347183891}"/>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38" name="TextBox 58">
                <a:extLst>
                  <a:ext uri="{FF2B5EF4-FFF2-40B4-BE49-F238E27FC236}">
                    <a16:creationId xmlns:a16="http://schemas.microsoft.com/office/drawing/2014/main" id="{33D76ECB-2F72-2B09-0C36-7388A7B93022}"/>
                  </a:ext>
                </a:extLst>
              </p:cNvPr>
              <p:cNvSpPr txBox="1"/>
              <p:nvPr/>
            </p:nvSpPr>
            <p:spPr>
              <a:xfrm>
                <a:off x="2853486" y="3176512"/>
                <a:ext cx="601109" cy="604394"/>
              </a:xfrm>
              <a:prstGeom prst="rect">
                <a:avLst/>
              </a:prstGeom>
              <a:noFill/>
            </p:spPr>
            <p:txBody>
              <a:bodyPr wrap="none" rtlCol="0" anchor="ctr">
                <a:spAutoFit/>
              </a:bodyPr>
              <a:lstStyle/>
              <a:p>
                <a:pPr algn="ctr" rtl="0"/>
                <a:r>
                  <a:rPr lang="en-GB" sz="4000" b="1" dirty="0">
                    <a:solidFill>
                      <a:srgbClr val="7F1C58"/>
                    </a:solidFill>
                    <a:cs typeface="Poppins" pitchFamily="2" charset="77"/>
                  </a:rPr>
                  <a:t>04</a:t>
                </a:r>
              </a:p>
            </p:txBody>
          </p:sp>
        </p:grpSp>
      </p:grpSp>
      <p:sp>
        <p:nvSpPr>
          <p:cNvPr id="145" name="TextBox 73">
            <a:extLst>
              <a:ext uri="{FF2B5EF4-FFF2-40B4-BE49-F238E27FC236}">
                <a16:creationId xmlns:a16="http://schemas.microsoft.com/office/drawing/2014/main" id="{B7E498B0-7D13-FF07-DF41-CEFD1ECB45D8}"/>
              </a:ext>
            </a:extLst>
          </p:cNvPr>
          <p:cNvSpPr txBox="1"/>
          <p:nvPr/>
        </p:nvSpPr>
        <p:spPr>
          <a:xfrm rot="1737985">
            <a:off x="8625995" y="3945603"/>
            <a:ext cx="1006302" cy="338554"/>
          </a:xfrm>
          <a:prstGeom prst="rect">
            <a:avLst/>
          </a:prstGeom>
          <a:noFill/>
        </p:spPr>
        <p:txBody>
          <a:bodyPr wrap="none" rtlCol="0" anchor="b" anchorCtr="0">
            <a:spAutoFit/>
          </a:bodyPr>
          <a:lstStyle/>
          <a:p>
            <a:pPr algn="ctr" rtl="0"/>
            <a:r>
              <a:rPr lang="en-GB" sz="1600" b="1" dirty="0">
                <a:solidFill>
                  <a:srgbClr val="595959"/>
                </a:solidFill>
                <a:ea typeface="League Spartan" charset="0"/>
                <a:cs typeface="Poppins" pitchFamily="2" charset="77"/>
              </a:rPr>
              <a:t>REACTIVO</a:t>
            </a:r>
          </a:p>
        </p:txBody>
      </p:sp>
    </p:spTree>
    <p:extLst>
      <p:ext uri="{BB962C8B-B14F-4D97-AF65-F5344CB8AC3E}">
        <p14:creationId xmlns:p14="http://schemas.microsoft.com/office/powerpoint/2010/main" val="29230939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4"/>
            <a:ext cx="12192000" cy="253201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4109264" y="324849"/>
            <a:ext cx="7911813" cy="2083453"/>
          </a:xfrm>
          <a:prstGeom prst="rect">
            <a:avLst/>
          </a:prstGeom>
        </p:spPr>
        <p:txBody>
          <a:bodyPr vert="horz" lIns="91440" tIns="45720" rIns="91440" bIns="45720" rtlCol="0">
            <a:normAutofit fontScale="92500"/>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r>
              <a:rPr lang="en-US" dirty="0">
                <a:solidFill>
                  <a:schemeClr val="bg1"/>
                </a:solidFill>
              </a:rPr>
              <a:t>Muy pocos gerentes combinan todos los requisitos previos necesarios para una gestión eficaz en varias fases de crisis en una sola persona.</a:t>
            </a:r>
          </a:p>
          <a:p>
            <a:pPr marL="12700" indent="-12700" algn="l" rtl="0"/>
            <a:r>
              <a:rPr lang="en-US" dirty="0">
                <a:solidFill>
                  <a:schemeClr val="bg1"/>
                </a:solidFill>
              </a:rPr>
              <a:t>Los roles que tienen que asumir son extremadamente diferentes.</a:t>
            </a:r>
          </a:p>
          <a:p>
            <a:pPr marL="12700" indent="-12700" algn="l" rtl="0"/>
            <a:r>
              <a:rPr lang="en-US" dirty="0">
                <a:solidFill>
                  <a:schemeClr val="bg1"/>
                </a:solidFill>
              </a:rPr>
              <a:t>El arte es conocer sus propias fortalezas, y aún más importante, sus propias debilidades, en las fases individuales y construir un equipo de gestión de crisis, si es necesario, con apoyo externo.</a:t>
            </a:r>
          </a:p>
          <a:p>
            <a:pPr marL="12700" indent="-12700" algn="l" rtl="0"/>
            <a:endParaRPr lang="en-US" dirty="0">
              <a:solidFill>
                <a:schemeClr val="bg1"/>
              </a:solidFill>
            </a:endParaRP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30826" y="282511"/>
            <a:ext cx="3542438" cy="2236133"/>
          </a:xfrm>
          <a:prstGeom prst="rect">
            <a:avLst/>
          </a:prstGeom>
        </p:spPr>
        <p:txBody>
          <a:bodyPr vert="horz" lIns="91440" tIns="45720" rIns="91440" bIns="45720" rtlCol="0">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Descripción general de las habilidades necesarias durante una crisis</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3119016" y="1125227"/>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14" name="Oval 13">
            <a:extLst>
              <a:ext uri="{FF2B5EF4-FFF2-40B4-BE49-F238E27FC236}">
                <a16:creationId xmlns:a16="http://schemas.microsoft.com/office/drawing/2014/main" id="{66A3630D-9F6D-A5C4-A96F-93308AFDFEBA}"/>
              </a:ext>
            </a:extLst>
          </p:cNvPr>
          <p:cNvSpPr/>
          <p:nvPr/>
        </p:nvSpPr>
        <p:spPr>
          <a:xfrm>
            <a:off x="1091336" y="3406217"/>
            <a:ext cx="2664102" cy="266410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5" name="Oval 14">
            <a:extLst>
              <a:ext uri="{FF2B5EF4-FFF2-40B4-BE49-F238E27FC236}">
                <a16:creationId xmlns:a16="http://schemas.microsoft.com/office/drawing/2014/main" id="{BF08719C-66FF-CFAD-BB0E-C564EB506861}"/>
              </a:ext>
            </a:extLst>
          </p:cNvPr>
          <p:cNvSpPr/>
          <p:nvPr/>
        </p:nvSpPr>
        <p:spPr>
          <a:xfrm>
            <a:off x="3386562" y="3406217"/>
            <a:ext cx="2664102" cy="266410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6" name="Oval 15">
            <a:extLst>
              <a:ext uri="{FF2B5EF4-FFF2-40B4-BE49-F238E27FC236}">
                <a16:creationId xmlns:a16="http://schemas.microsoft.com/office/drawing/2014/main" id="{38482C50-8F5F-3176-48AC-F44D1345E526}"/>
              </a:ext>
            </a:extLst>
          </p:cNvPr>
          <p:cNvSpPr/>
          <p:nvPr/>
        </p:nvSpPr>
        <p:spPr>
          <a:xfrm>
            <a:off x="5681788" y="3406217"/>
            <a:ext cx="2664102" cy="266410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7" name="Oval 16">
            <a:extLst>
              <a:ext uri="{FF2B5EF4-FFF2-40B4-BE49-F238E27FC236}">
                <a16:creationId xmlns:a16="http://schemas.microsoft.com/office/drawing/2014/main" id="{2F0C8BF0-9B83-21DC-3591-6ACD95EB131B}"/>
              </a:ext>
            </a:extLst>
          </p:cNvPr>
          <p:cNvSpPr/>
          <p:nvPr/>
        </p:nvSpPr>
        <p:spPr>
          <a:xfrm>
            <a:off x="7977014" y="3406217"/>
            <a:ext cx="2664102" cy="266410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8" name="Oval 17">
            <a:extLst>
              <a:ext uri="{FF2B5EF4-FFF2-40B4-BE49-F238E27FC236}">
                <a16:creationId xmlns:a16="http://schemas.microsoft.com/office/drawing/2014/main" id="{3DF747D2-2072-C47B-8BBF-4E574CD0993A}"/>
              </a:ext>
            </a:extLst>
          </p:cNvPr>
          <p:cNvSpPr/>
          <p:nvPr/>
        </p:nvSpPr>
        <p:spPr>
          <a:xfrm>
            <a:off x="1030980" y="2829107"/>
            <a:ext cx="1268168" cy="126816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9" name="Oval 18">
            <a:extLst>
              <a:ext uri="{FF2B5EF4-FFF2-40B4-BE49-F238E27FC236}">
                <a16:creationId xmlns:a16="http://schemas.microsoft.com/office/drawing/2014/main" id="{A1A4E927-1D76-2FD7-5353-9F5A0ED22661}"/>
              </a:ext>
            </a:extLst>
          </p:cNvPr>
          <p:cNvSpPr/>
          <p:nvPr/>
        </p:nvSpPr>
        <p:spPr>
          <a:xfrm>
            <a:off x="3326206" y="2829107"/>
            <a:ext cx="1268168" cy="126816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0" name="Oval 19">
            <a:extLst>
              <a:ext uri="{FF2B5EF4-FFF2-40B4-BE49-F238E27FC236}">
                <a16:creationId xmlns:a16="http://schemas.microsoft.com/office/drawing/2014/main" id="{B310F117-0317-0B52-C832-04AF9B5B3E57}"/>
              </a:ext>
            </a:extLst>
          </p:cNvPr>
          <p:cNvSpPr/>
          <p:nvPr/>
        </p:nvSpPr>
        <p:spPr>
          <a:xfrm>
            <a:off x="5621432" y="2829107"/>
            <a:ext cx="1268168" cy="126816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1" name="Oval 20">
            <a:extLst>
              <a:ext uri="{FF2B5EF4-FFF2-40B4-BE49-F238E27FC236}">
                <a16:creationId xmlns:a16="http://schemas.microsoft.com/office/drawing/2014/main" id="{113A71B6-37C3-59BA-4CCF-2CED7EF14D4C}"/>
              </a:ext>
            </a:extLst>
          </p:cNvPr>
          <p:cNvSpPr/>
          <p:nvPr/>
        </p:nvSpPr>
        <p:spPr>
          <a:xfrm>
            <a:off x="7916658" y="2829107"/>
            <a:ext cx="1268168" cy="126816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2" name="Oval 21">
            <a:extLst>
              <a:ext uri="{FF2B5EF4-FFF2-40B4-BE49-F238E27FC236}">
                <a16:creationId xmlns:a16="http://schemas.microsoft.com/office/drawing/2014/main" id="{9C132F5D-E2F0-7B9D-5B5F-B0C50ADC6178}"/>
              </a:ext>
            </a:extLst>
          </p:cNvPr>
          <p:cNvSpPr/>
          <p:nvPr/>
        </p:nvSpPr>
        <p:spPr>
          <a:xfrm>
            <a:off x="1134229" y="2917397"/>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3" name="Oval 22">
            <a:extLst>
              <a:ext uri="{FF2B5EF4-FFF2-40B4-BE49-F238E27FC236}">
                <a16:creationId xmlns:a16="http://schemas.microsoft.com/office/drawing/2014/main" id="{FC231125-BB6B-95C9-8A93-CECD25A0D9DD}"/>
              </a:ext>
            </a:extLst>
          </p:cNvPr>
          <p:cNvSpPr/>
          <p:nvPr/>
        </p:nvSpPr>
        <p:spPr>
          <a:xfrm>
            <a:off x="3432960" y="2935861"/>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4" name="Oval 23">
            <a:extLst>
              <a:ext uri="{FF2B5EF4-FFF2-40B4-BE49-F238E27FC236}">
                <a16:creationId xmlns:a16="http://schemas.microsoft.com/office/drawing/2014/main" id="{7923E6F3-E702-3A75-35C1-98EA234F0FD6}"/>
              </a:ext>
            </a:extLst>
          </p:cNvPr>
          <p:cNvSpPr/>
          <p:nvPr/>
        </p:nvSpPr>
        <p:spPr>
          <a:xfrm>
            <a:off x="5728186" y="2935860"/>
            <a:ext cx="1054660" cy="10546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9" name="Oval 28">
            <a:extLst>
              <a:ext uri="{FF2B5EF4-FFF2-40B4-BE49-F238E27FC236}">
                <a16:creationId xmlns:a16="http://schemas.microsoft.com/office/drawing/2014/main" id="{79BC9C14-1DC1-84E4-8548-47F0F7DC4167}"/>
              </a:ext>
            </a:extLst>
          </p:cNvPr>
          <p:cNvSpPr/>
          <p:nvPr/>
        </p:nvSpPr>
        <p:spPr>
          <a:xfrm>
            <a:off x="8023412" y="2935860"/>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4" name="Text Placeholder 17">
            <a:extLst>
              <a:ext uri="{FF2B5EF4-FFF2-40B4-BE49-F238E27FC236}">
                <a16:creationId xmlns:a16="http://schemas.microsoft.com/office/drawing/2014/main" id="{9131C61E-1AE0-6FE2-8849-37DD2D26DB73}"/>
              </a:ext>
            </a:extLst>
          </p:cNvPr>
          <p:cNvSpPr txBox="1">
            <a:spLocks/>
          </p:cNvSpPr>
          <p:nvPr/>
        </p:nvSpPr>
        <p:spPr>
          <a:xfrm>
            <a:off x="1233071" y="3077328"/>
            <a:ext cx="868733"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7F1C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t>01</a:t>
            </a:r>
            <a:endParaRPr lang="en-US" dirty="0"/>
          </a:p>
        </p:txBody>
      </p:sp>
      <p:sp>
        <p:nvSpPr>
          <p:cNvPr id="35" name="Text Placeholder 17">
            <a:extLst>
              <a:ext uri="{FF2B5EF4-FFF2-40B4-BE49-F238E27FC236}">
                <a16:creationId xmlns:a16="http://schemas.microsoft.com/office/drawing/2014/main" id="{87CDE11A-BB13-1550-883D-C2BAA8E7A411}"/>
              </a:ext>
            </a:extLst>
          </p:cNvPr>
          <p:cNvSpPr txBox="1">
            <a:spLocks/>
          </p:cNvSpPr>
          <p:nvPr/>
        </p:nvSpPr>
        <p:spPr>
          <a:xfrm>
            <a:off x="3549679" y="3079924"/>
            <a:ext cx="854826"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B41F7A"/>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t>02</a:t>
            </a:r>
            <a:endParaRPr lang="en-US" dirty="0"/>
          </a:p>
        </p:txBody>
      </p:sp>
      <p:sp>
        <p:nvSpPr>
          <p:cNvPr id="36" name="Text Placeholder 17">
            <a:extLst>
              <a:ext uri="{FF2B5EF4-FFF2-40B4-BE49-F238E27FC236}">
                <a16:creationId xmlns:a16="http://schemas.microsoft.com/office/drawing/2014/main" id="{D96DB7E6-66A7-CC9E-3754-269259513AE6}"/>
              </a:ext>
            </a:extLst>
          </p:cNvPr>
          <p:cNvSpPr txBox="1">
            <a:spLocks/>
          </p:cNvSpPr>
          <p:nvPr/>
        </p:nvSpPr>
        <p:spPr>
          <a:xfrm>
            <a:off x="5823524" y="3093282"/>
            <a:ext cx="872238"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F16924"/>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t>03</a:t>
            </a:r>
            <a:endParaRPr lang="en-US" dirty="0"/>
          </a:p>
        </p:txBody>
      </p:sp>
      <p:sp>
        <p:nvSpPr>
          <p:cNvPr id="37" name="Text Placeholder 17">
            <a:extLst>
              <a:ext uri="{FF2B5EF4-FFF2-40B4-BE49-F238E27FC236}">
                <a16:creationId xmlns:a16="http://schemas.microsoft.com/office/drawing/2014/main" id="{E7C2C245-A636-A9A5-9341-6557EAF5A338}"/>
              </a:ext>
            </a:extLst>
          </p:cNvPr>
          <p:cNvSpPr txBox="1">
            <a:spLocks/>
          </p:cNvSpPr>
          <p:nvPr/>
        </p:nvSpPr>
        <p:spPr>
          <a:xfrm>
            <a:off x="8140131" y="3095878"/>
            <a:ext cx="871240"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EDA13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t>04</a:t>
            </a:r>
            <a:endParaRPr lang="en-US" dirty="0"/>
          </a:p>
        </p:txBody>
      </p:sp>
      <p:sp>
        <p:nvSpPr>
          <p:cNvPr id="38" name="Text Placeholder 17">
            <a:extLst>
              <a:ext uri="{FF2B5EF4-FFF2-40B4-BE49-F238E27FC236}">
                <a16:creationId xmlns:a16="http://schemas.microsoft.com/office/drawing/2014/main" id="{8FE15AB6-12AE-2CA5-8ADE-7D72F19C7919}"/>
              </a:ext>
            </a:extLst>
          </p:cNvPr>
          <p:cNvSpPr txBox="1">
            <a:spLocks/>
          </p:cNvSpPr>
          <p:nvPr/>
        </p:nvSpPr>
        <p:spPr>
          <a:xfrm>
            <a:off x="1201813" y="4081679"/>
            <a:ext cx="2545416" cy="614600"/>
          </a:xfrm>
          <a:prstGeom prst="rect">
            <a:avLst/>
          </a:prstGeom>
        </p:spPr>
        <p:txBody>
          <a:bodyPr>
            <a:normAutofit fontScale="92500"/>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b="1" dirty="0">
                <a:solidFill>
                  <a:schemeClr val="tx2"/>
                </a:solidFill>
                <a:ea typeface="League Spartan" charset="0"/>
                <a:cs typeface="Poppins" pitchFamily="2" charset="77"/>
              </a:rPr>
              <a:t>ANTES DE LA CRISIS</a:t>
            </a:r>
          </a:p>
          <a:p>
            <a:pPr algn="l" rtl="0"/>
            <a:endParaRPr lang="en-GB" dirty="0"/>
          </a:p>
        </p:txBody>
      </p:sp>
      <p:sp>
        <p:nvSpPr>
          <p:cNvPr id="39" name="Text Placeholder 17">
            <a:extLst>
              <a:ext uri="{FF2B5EF4-FFF2-40B4-BE49-F238E27FC236}">
                <a16:creationId xmlns:a16="http://schemas.microsoft.com/office/drawing/2014/main" id="{97D76E73-2D61-4465-44BD-6BE79F322F72}"/>
              </a:ext>
            </a:extLst>
          </p:cNvPr>
          <p:cNvSpPr txBox="1">
            <a:spLocks/>
          </p:cNvSpPr>
          <p:nvPr/>
        </p:nvSpPr>
        <p:spPr>
          <a:xfrm>
            <a:off x="3418877" y="4062882"/>
            <a:ext cx="2624552" cy="120208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b="1" dirty="0">
                <a:solidFill>
                  <a:schemeClr val="tx2"/>
                </a:solidFill>
                <a:ea typeface="League Spartan" charset="0"/>
                <a:cs typeface="Poppins" pitchFamily="2" charset="77"/>
              </a:rPr>
              <a:t>DURANTE LA CRISIS</a:t>
            </a:r>
          </a:p>
        </p:txBody>
      </p:sp>
      <p:sp>
        <p:nvSpPr>
          <p:cNvPr id="40" name="Text Placeholder 17">
            <a:extLst>
              <a:ext uri="{FF2B5EF4-FFF2-40B4-BE49-F238E27FC236}">
                <a16:creationId xmlns:a16="http://schemas.microsoft.com/office/drawing/2014/main" id="{760477D3-1FAC-DE59-4AE4-FC4A33105AA1}"/>
              </a:ext>
            </a:extLst>
          </p:cNvPr>
          <p:cNvSpPr txBox="1">
            <a:spLocks/>
          </p:cNvSpPr>
          <p:nvPr/>
        </p:nvSpPr>
        <p:spPr>
          <a:xfrm>
            <a:off x="5729547" y="4067350"/>
            <a:ext cx="2624552" cy="120208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b="1" dirty="0">
                <a:solidFill>
                  <a:schemeClr val="tx2"/>
                </a:solidFill>
                <a:ea typeface="League Spartan" charset="0"/>
                <a:cs typeface="Poppins" pitchFamily="2" charset="77"/>
              </a:rPr>
              <a:t>POST-CRISIS</a:t>
            </a:r>
            <a:endParaRPr lang="en-US" dirty="0"/>
          </a:p>
          <a:p>
            <a:pPr algn="l" rtl="0"/>
            <a:endParaRPr lang="en-US" dirty="0"/>
          </a:p>
        </p:txBody>
      </p:sp>
      <p:sp>
        <p:nvSpPr>
          <p:cNvPr id="41" name="Text Placeholder 17">
            <a:extLst>
              <a:ext uri="{FF2B5EF4-FFF2-40B4-BE49-F238E27FC236}">
                <a16:creationId xmlns:a16="http://schemas.microsoft.com/office/drawing/2014/main" id="{DFC299D5-2F22-C69E-2CD7-F25A35D46F09}"/>
              </a:ext>
            </a:extLst>
          </p:cNvPr>
          <p:cNvSpPr txBox="1">
            <a:spLocks/>
          </p:cNvSpPr>
          <p:nvPr/>
        </p:nvSpPr>
        <p:spPr>
          <a:xfrm>
            <a:off x="8000146" y="4048552"/>
            <a:ext cx="2640970" cy="120208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b="1" dirty="0">
                <a:solidFill>
                  <a:schemeClr val="tx2"/>
                </a:solidFill>
                <a:ea typeface="League Spartan" charset="0"/>
                <a:cs typeface="Poppins" pitchFamily="2" charset="77"/>
              </a:rPr>
              <a:t>APRENDIZAJE</a:t>
            </a:r>
          </a:p>
        </p:txBody>
      </p:sp>
      <p:sp>
        <p:nvSpPr>
          <p:cNvPr id="59" name="Text Placeholder 17">
            <a:extLst>
              <a:ext uri="{FF2B5EF4-FFF2-40B4-BE49-F238E27FC236}">
                <a16:creationId xmlns:a16="http://schemas.microsoft.com/office/drawing/2014/main" id="{2BD6B4DD-B07F-743C-1EA9-255515477600}"/>
              </a:ext>
            </a:extLst>
          </p:cNvPr>
          <p:cNvSpPr txBox="1">
            <a:spLocks/>
          </p:cNvSpPr>
          <p:nvPr/>
        </p:nvSpPr>
        <p:spPr>
          <a:xfrm>
            <a:off x="3324771" y="4462022"/>
            <a:ext cx="2545416" cy="120208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rtl="0">
              <a:lnSpc>
                <a:spcPts val="1960"/>
              </a:lnSpc>
              <a:spcBef>
                <a:spcPts val="0"/>
              </a:spcBef>
              <a:buFont typeface="Arial" panose="020B0604020202020204" pitchFamily="34" charset="0"/>
              <a:buChar char="•"/>
            </a:pPr>
            <a:r>
              <a:rPr lang="en-US" sz="1800" dirty="0"/>
              <a:t>Detector</a:t>
            </a:r>
          </a:p>
          <a:p>
            <a:pPr marL="285750" indent="-285750" algn="l" rtl="0">
              <a:lnSpc>
                <a:spcPts val="1960"/>
              </a:lnSpc>
              <a:spcBef>
                <a:spcPts val="0"/>
              </a:spcBef>
              <a:buFont typeface="Arial" panose="020B0604020202020204" pitchFamily="34" charset="0"/>
              <a:buChar char="•"/>
            </a:pPr>
            <a:r>
              <a:rPr lang="en-US" sz="1800" dirty="0"/>
              <a:t>que contiene</a:t>
            </a:r>
          </a:p>
          <a:p>
            <a:pPr marL="285750" indent="-285750" algn="l" rtl="0">
              <a:lnSpc>
                <a:spcPts val="1960"/>
              </a:lnSpc>
              <a:spcBef>
                <a:spcPts val="0"/>
              </a:spcBef>
              <a:buFont typeface="Arial" panose="020B0604020202020204" pitchFamily="34" charset="0"/>
              <a:buChar char="•"/>
            </a:pPr>
            <a:r>
              <a:rPr lang="en-US" sz="1800" dirty="0"/>
              <a:t>Recuperación</a:t>
            </a:r>
          </a:p>
          <a:p>
            <a:pPr marL="285750" indent="-285750" algn="l" rtl="0">
              <a:lnSpc>
                <a:spcPts val="1960"/>
              </a:lnSpc>
              <a:spcBef>
                <a:spcPts val="0"/>
              </a:spcBef>
              <a:buFont typeface="Arial" panose="020B0604020202020204" pitchFamily="34" charset="0"/>
              <a:buChar char="•"/>
            </a:pPr>
            <a:endParaRPr lang="en-US" sz="1800" dirty="0"/>
          </a:p>
          <a:p>
            <a:pPr marL="285750" indent="-285750" algn="l" rtl="0">
              <a:lnSpc>
                <a:spcPts val="1960"/>
              </a:lnSpc>
              <a:spcBef>
                <a:spcPts val="0"/>
              </a:spcBef>
              <a:buFont typeface="Arial" panose="020B0604020202020204" pitchFamily="34" charset="0"/>
              <a:buChar char="•"/>
            </a:pPr>
            <a:endParaRPr lang="en-GB" sz="1800" b="1" dirty="0">
              <a:solidFill>
                <a:schemeClr val="tx2"/>
              </a:solidFill>
              <a:ea typeface="League Spartan" charset="0"/>
              <a:cs typeface="Poppins" pitchFamily="2" charset="77"/>
            </a:endParaRPr>
          </a:p>
        </p:txBody>
      </p:sp>
      <p:sp>
        <p:nvSpPr>
          <p:cNvPr id="60" name="Text Placeholder 17">
            <a:extLst>
              <a:ext uri="{FF2B5EF4-FFF2-40B4-BE49-F238E27FC236}">
                <a16:creationId xmlns:a16="http://schemas.microsoft.com/office/drawing/2014/main" id="{5C72DA89-19EC-93D9-CA6D-12CE7BEB03F9}"/>
              </a:ext>
            </a:extLst>
          </p:cNvPr>
          <p:cNvSpPr txBox="1">
            <a:spLocks/>
          </p:cNvSpPr>
          <p:nvPr/>
        </p:nvSpPr>
        <p:spPr>
          <a:xfrm>
            <a:off x="5673579" y="4462022"/>
            <a:ext cx="2334776" cy="1202080"/>
          </a:xfrm>
          <a:prstGeom prst="rect">
            <a:avLst/>
          </a:prstGeom>
        </p:spPr>
        <p:txBody>
          <a:bodyPr>
            <a:no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rtl="0">
              <a:lnSpc>
                <a:spcPts val="1960"/>
              </a:lnSpc>
              <a:spcBef>
                <a:spcPts val="0"/>
              </a:spcBef>
              <a:buFont typeface="Arial" panose="020B0604020202020204" pitchFamily="34" charset="0"/>
              <a:buChar char="•"/>
            </a:pPr>
            <a:r>
              <a:rPr lang="en-US" sz="1800" dirty="0"/>
              <a:t>Siguiendo</a:t>
            </a:r>
          </a:p>
          <a:p>
            <a:pPr marL="285750" indent="-285750" algn="l" rtl="0">
              <a:lnSpc>
                <a:spcPts val="1960"/>
              </a:lnSpc>
              <a:spcBef>
                <a:spcPts val="0"/>
              </a:spcBef>
              <a:buFont typeface="Arial" panose="020B0604020202020204" pitchFamily="34" charset="0"/>
              <a:buChar char="•"/>
            </a:pPr>
            <a:r>
              <a:rPr lang="en-US" sz="1800" dirty="0"/>
              <a:t>Formando recuerdos</a:t>
            </a:r>
          </a:p>
          <a:p>
            <a:pPr marL="285750" indent="-285750" algn="l" rtl="0">
              <a:lnSpc>
                <a:spcPts val="1960"/>
              </a:lnSpc>
              <a:spcBef>
                <a:spcPts val="0"/>
              </a:spcBef>
              <a:buFont typeface="Arial" panose="020B0604020202020204" pitchFamily="34" charset="0"/>
              <a:buChar char="•"/>
            </a:pPr>
            <a:r>
              <a:rPr lang="en-US" sz="1800" dirty="0"/>
              <a:t>Evaluación de la eficacia</a:t>
            </a:r>
          </a:p>
          <a:p>
            <a:pPr marL="285750" indent="-285750" algn="l" rtl="0">
              <a:lnSpc>
                <a:spcPts val="1960"/>
              </a:lnSpc>
              <a:spcBef>
                <a:spcPts val="0"/>
              </a:spcBef>
              <a:buFont typeface="Arial" panose="020B0604020202020204" pitchFamily="34" charset="0"/>
              <a:buChar char="•"/>
            </a:pPr>
            <a:endParaRPr lang="en-US" sz="1800" dirty="0"/>
          </a:p>
          <a:p>
            <a:pPr marL="285750" indent="-285750" algn="l" rtl="0">
              <a:lnSpc>
                <a:spcPts val="1960"/>
              </a:lnSpc>
              <a:spcBef>
                <a:spcPts val="0"/>
              </a:spcBef>
              <a:buFont typeface="Arial" panose="020B0604020202020204" pitchFamily="34" charset="0"/>
              <a:buChar char="•"/>
            </a:pPr>
            <a:endParaRPr lang="en-US" sz="1800" dirty="0"/>
          </a:p>
        </p:txBody>
      </p:sp>
      <p:sp>
        <p:nvSpPr>
          <p:cNvPr id="61" name="Text Placeholder 17">
            <a:extLst>
              <a:ext uri="{FF2B5EF4-FFF2-40B4-BE49-F238E27FC236}">
                <a16:creationId xmlns:a16="http://schemas.microsoft.com/office/drawing/2014/main" id="{355E1AD0-83D7-DD24-37E8-6F70D6EC1D65}"/>
              </a:ext>
            </a:extLst>
          </p:cNvPr>
          <p:cNvSpPr txBox="1">
            <a:spLocks/>
          </p:cNvSpPr>
          <p:nvPr/>
        </p:nvSpPr>
        <p:spPr>
          <a:xfrm>
            <a:off x="7958508" y="4462022"/>
            <a:ext cx="2624552" cy="1202080"/>
          </a:xfrm>
          <a:prstGeom prst="rect">
            <a:avLst/>
          </a:prstGeom>
        </p:spPr>
        <p:txBody>
          <a:bodyPr>
            <a:no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rtl="0">
              <a:lnSpc>
                <a:spcPts val="1960"/>
              </a:lnSpc>
              <a:spcBef>
                <a:spcPts val="0"/>
              </a:spcBef>
              <a:buFont typeface="Arial" panose="020B0604020202020204" pitchFamily="34" charset="0"/>
              <a:buChar char="•"/>
            </a:pPr>
            <a:r>
              <a:rPr lang="en-US" sz="1800" dirty="0"/>
              <a:t>Aprendiendo de los fracasos</a:t>
            </a:r>
          </a:p>
          <a:p>
            <a:pPr marL="285750" indent="-285750" algn="l" rtl="0">
              <a:lnSpc>
                <a:spcPts val="1960"/>
              </a:lnSpc>
              <a:spcBef>
                <a:spcPts val="0"/>
              </a:spcBef>
              <a:buFont typeface="Arial" panose="020B0604020202020204" pitchFamily="34" charset="0"/>
              <a:buChar char="•"/>
            </a:pPr>
            <a:r>
              <a:rPr lang="en-US" sz="1800" dirty="0"/>
              <a:t>Implementando las medidas correctas</a:t>
            </a:r>
          </a:p>
          <a:p>
            <a:pPr marL="285750" indent="-285750" algn="l" rtl="0">
              <a:lnSpc>
                <a:spcPts val="1960"/>
              </a:lnSpc>
              <a:spcBef>
                <a:spcPts val="0"/>
              </a:spcBef>
              <a:buFont typeface="Arial" panose="020B0604020202020204" pitchFamily="34" charset="0"/>
              <a:buChar char="•"/>
            </a:pPr>
            <a:endParaRPr lang="en-US" sz="1800" dirty="0"/>
          </a:p>
          <a:p>
            <a:pPr marL="285750" indent="-285750" algn="l" rtl="0">
              <a:lnSpc>
                <a:spcPts val="1960"/>
              </a:lnSpc>
              <a:spcBef>
                <a:spcPts val="0"/>
              </a:spcBef>
              <a:buFont typeface="Arial" panose="020B0604020202020204" pitchFamily="34" charset="0"/>
              <a:buChar char="•"/>
            </a:pPr>
            <a:endParaRPr lang="en-GB" sz="1800" b="1" dirty="0">
              <a:solidFill>
                <a:schemeClr val="tx2"/>
              </a:solidFill>
              <a:ea typeface="League Spartan" charset="0"/>
              <a:cs typeface="Poppins" pitchFamily="2" charset="77"/>
            </a:endParaRPr>
          </a:p>
        </p:txBody>
      </p:sp>
      <p:sp>
        <p:nvSpPr>
          <p:cNvPr id="62" name="Text Placeholder 17">
            <a:extLst>
              <a:ext uri="{FF2B5EF4-FFF2-40B4-BE49-F238E27FC236}">
                <a16:creationId xmlns:a16="http://schemas.microsoft.com/office/drawing/2014/main" id="{230F9A50-FB70-9766-CBD6-6D53D4149A55}"/>
              </a:ext>
            </a:extLst>
          </p:cNvPr>
          <p:cNvSpPr txBox="1">
            <a:spLocks/>
          </p:cNvSpPr>
          <p:nvPr/>
        </p:nvSpPr>
        <p:spPr>
          <a:xfrm>
            <a:off x="1046396" y="4462022"/>
            <a:ext cx="2492564" cy="1645907"/>
          </a:xfrm>
          <a:prstGeom prst="rect">
            <a:avLst/>
          </a:prstGeom>
        </p:spPr>
        <p:txBody>
          <a:bodyPr>
            <a:normAutofit fontScale="85000" lnSpcReduction="10000"/>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l" rtl="0">
              <a:lnSpc>
                <a:spcPts val="1960"/>
              </a:lnSpc>
              <a:spcBef>
                <a:spcPts val="0"/>
              </a:spcBef>
              <a:buFont typeface="Arial" panose="020B0604020202020204" pitchFamily="34" charset="0"/>
              <a:buChar char="•"/>
            </a:pPr>
            <a:r>
              <a:rPr lang="en-GB" sz="1800" dirty="0"/>
              <a:t>Exploración</a:t>
            </a:r>
          </a:p>
          <a:p>
            <a:pPr marL="285750" indent="-285750" algn="l" rtl="0">
              <a:lnSpc>
                <a:spcPts val="1960"/>
              </a:lnSpc>
              <a:spcBef>
                <a:spcPts val="0"/>
              </a:spcBef>
              <a:buFont typeface="Arial" panose="020B0604020202020204" pitchFamily="34" charset="0"/>
              <a:buChar char="•"/>
            </a:pPr>
            <a:r>
              <a:rPr lang="en-GB" sz="1800" dirty="0"/>
              <a:t>Evaluación de la situación</a:t>
            </a:r>
          </a:p>
          <a:p>
            <a:pPr marL="285750" indent="-285750" algn="l" rtl="0">
              <a:lnSpc>
                <a:spcPts val="1960"/>
              </a:lnSpc>
              <a:spcBef>
                <a:spcPts val="0"/>
              </a:spcBef>
              <a:buFont typeface="Arial" panose="020B0604020202020204" pitchFamily="34" charset="0"/>
              <a:buChar char="•"/>
            </a:pPr>
            <a:r>
              <a:rPr lang="en-GB" sz="1800" dirty="0"/>
              <a:t>Diseño de herramientas y sistemas</a:t>
            </a:r>
          </a:p>
          <a:p>
            <a:pPr marL="285750" indent="-285750" algn="l" rtl="0">
              <a:lnSpc>
                <a:spcPts val="1960"/>
              </a:lnSpc>
              <a:spcBef>
                <a:spcPts val="0"/>
              </a:spcBef>
              <a:buFont typeface="Arial" panose="020B0604020202020204" pitchFamily="34" charset="0"/>
              <a:buChar char="•"/>
            </a:pPr>
            <a:r>
              <a:rPr lang="en-GB" sz="1800" dirty="0"/>
              <a:t>Vigilancia</a:t>
            </a:r>
          </a:p>
        </p:txBody>
      </p:sp>
    </p:spTree>
    <p:extLst>
      <p:ext uri="{BB962C8B-B14F-4D97-AF65-F5344CB8AC3E}">
        <p14:creationId xmlns:p14="http://schemas.microsoft.com/office/powerpoint/2010/main" val="6426673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076F57E-724D-C146-BDC0-6F27A4E603DE}"/>
              </a:ext>
            </a:extLst>
          </p:cNvPr>
          <p:cNvSpPr>
            <a:spLocks noGrp="1"/>
          </p:cNvSpPr>
          <p:nvPr>
            <p:ph type="body" sz="quarter" idx="16"/>
          </p:nvPr>
        </p:nvSpPr>
        <p:spPr>
          <a:xfrm>
            <a:off x="584791" y="1101961"/>
            <a:ext cx="6587534" cy="4884502"/>
          </a:xfrm>
        </p:spPr>
        <p:txBody>
          <a:bodyPr>
            <a:normAutofit/>
          </a:bodyPr>
          <a:lstStyle/>
          <a:p>
            <a:pPr algn="l" rtl="0"/>
            <a:r>
              <a:rPr lang="en-US" sz="3900" dirty="0"/>
              <a:t>¿Por qué nuestro SECure</a:t>
            </a:r>
            <a:r>
              <a:rPr lang="en-US" sz="3900" b="1" dirty="0">
                <a:effectLst/>
                <a:latin typeface="Calibri" panose="020F0502020204030204" pitchFamily="34" charset="0"/>
                <a:ea typeface="Calibri" panose="020F0502020204030204" pitchFamily="34" charset="0"/>
                <a:cs typeface="Times New Roman" panose="02020603050405020304" pitchFamily="18" charset="0"/>
              </a:rPr>
              <a:t>PLAN DE ESTUDIOS Y PAQUETE DE CAPACITACIÓN VETERINARIA</a:t>
            </a:r>
            <a:r>
              <a:rPr lang="en-US" sz="3900" b="1" dirty="0"/>
              <a:t> </a:t>
            </a:r>
            <a:r>
              <a:rPr lang="en-US" sz="3900" dirty="0"/>
              <a:t>especial ?</a:t>
            </a:r>
            <a:endParaRPr lang="en-US" dirty="0"/>
          </a:p>
        </p:txBody>
      </p:sp>
      <p:sp>
        <p:nvSpPr>
          <p:cNvPr id="4" name="Text Placeholder 1">
            <a:extLst>
              <a:ext uri="{FF2B5EF4-FFF2-40B4-BE49-F238E27FC236}">
                <a16:creationId xmlns:a16="http://schemas.microsoft.com/office/drawing/2014/main" id="{05EF4E2F-12E1-C5BE-1B4A-0D789706B32E}"/>
              </a:ext>
            </a:extLst>
          </p:cNvPr>
          <p:cNvSpPr txBox="1">
            <a:spLocks/>
          </p:cNvSpPr>
          <p:nvPr/>
        </p:nvSpPr>
        <p:spPr>
          <a:xfrm>
            <a:off x="584791" y="3025099"/>
            <a:ext cx="6587534" cy="488450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4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60"/>
              </a:lnSpc>
              <a:spcBef>
                <a:spcPts val="0"/>
              </a:spcBef>
            </a:pPr>
            <a:r>
              <a:rPr lang="en-US" sz="2200" dirty="0" err="1">
                <a:latin typeface="Calibri" panose="020F0502020204030204" pitchFamily="34" charset="0"/>
                <a:ea typeface="Calibri" panose="020F0502020204030204" pitchFamily="34" charset="0"/>
                <a:cs typeface="Times New Roman" panose="02020603050405020304" pitchFamily="18" charset="0"/>
              </a:rPr>
              <a:t>losSECURE</a:t>
            </a:r>
            <a:r>
              <a:rPr lang="en-US" sz="2200" dirty="0">
                <a:latin typeface="Calibri" panose="020F0502020204030204" pitchFamily="34" charset="0"/>
                <a:ea typeface="Calibri" panose="020F0502020204030204" pitchFamily="34" charset="0"/>
                <a:cs typeface="Times New Roman" panose="02020603050405020304" pitchFamily="18" charset="0"/>
              </a:rPr>
              <a:t> El PAQUETE DE FORMACIÓN CURRÍCULO Y VETERINARIO es el primer enfoque holístico de FP para abordar la detección y resolución temprana de crisis basado en un marco desarrollado específicamente para las PYME. Lo hace combinando un enfoque basado en planes de estudio, que puede ser adoptado en la enseñanza y la formación por VET, con un enfoque modular, que es particularmente útil para consultores y para uso directo de PYME y fundadores.</a:t>
            </a:r>
            <a:endParaRPr lang="en-IE" sz="2200" dirty="0">
              <a:latin typeface="Calibri" panose="020F0502020204030204" pitchFamily="34" charset="0"/>
              <a:ea typeface="Calibri" panose="020F0502020204030204" pitchFamily="34" charset="0"/>
              <a:cs typeface="Times New Roman" panose="02020603050405020304" pitchFamily="18" charset="0"/>
            </a:endParaRPr>
          </a:p>
          <a:p>
            <a:pPr algn="l" rtl="0">
              <a:lnSpc>
                <a:spcPts val="2260"/>
              </a:lnSpc>
              <a:spcBef>
                <a:spcPts val="0"/>
              </a:spcBef>
            </a:pPr>
            <a:endParaRPr lang="en-US" dirty="0"/>
          </a:p>
        </p:txBody>
      </p:sp>
      <p:pic>
        <p:nvPicPr>
          <p:cNvPr id="5" name="Picture 4">
            <a:extLst>
              <a:ext uri="{FF2B5EF4-FFF2-40B4-BE49-F238E27FC236}">
                <a16:creationId xmlns:a16="http://schemas.microsoft.com/office/drawing/2014/main" id="{B060C4E8-A54A-1F42-F118-1231E0809344}"/>
              </a:ext>
            </a:extLst>
          </p:cNvPr>
          <p:cNvPicPr>
            <a:picLocks noChangeAspect="1"/>
          </p:cNvPicPr>
          <p:nvPr/>
        </p:nvPicPr>
        <p:blipFill>
          <a:blip r:embed="rId2"/>
          <a:stretch>
            <a:fillRect/>
          </a:stretch>
        </p:blipFill>
        <p:spPr>
          <a:xfrm>
            <a:off x="7955736" y="1796080"/>
            <a:ext cx="4218543" cy="3615892"/>
          </a:xfrm>
          <a:prstGeom prst="rect">
            <a:avLst/>
          </a:prstGeom>
        </p:spPr>
      </p:pic>
    </p:spTree>
    <p:extLst>
      <p:ext uri="{BB962C8B-B14F-4D97-AF65-F5344CB8AC3E}">
        <p14:creationId xmlns:p14="http://schemas.microsoft.com/office/powerpoint/2010/main" val="41775036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pPr algn="l" rtl="0"/>
            <a:r>
              <a:rPr lang="en-GB" dirty="0">
                <a:solidFill>
                  <a:schemeClr val="bg1"/>
                </a:solidFill>
              </a:rPr>
              <a:t>Lluvia de ideas sobre las áreas de riesgo</a:t>
            </a:r>
          </a:p>
        </p:txBody>
      </p:sp>
      <p:sp>
        <p:nvSpPr>
          <p:cNvPr id="43" name="Rectangle 42">
            <a:extLst>
              <a:ext uri="{FF2B5EF4-FFF2-40B4-BE49-F238E27FC236}">
                <a16:creationId xmlns:a16="http://schemas.microsoft.com/office/drawing/2014/main" id="{60484B0F-FF83-0AF3-67BC-3DFBA9DFE2B8}"/>
              </a:ext>
            </a:extLst>
          </p:cNvPr>
          <p:cNvSpPr/>
          <p:nvPr/>
        </p:nvSpPr>
        <p:spPr>
          <a:xfrm>
            <a:off x="0" y="300037"/>
            <a:ext cx="12192000" cy="203828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645290" y="549374"/>
            <a:ext cx="7016949"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r>
              <a:rPr lang="en-US" dirty="0">
                <a:solidFill>
                  <a:schemeClr val="bg1"/>
                </a:solidFill>
              </a:rPr>
              <a:t>Las políticas y los procedimientos para predecir, evaluar y gestionar el riesgo son importantes. Pero si los líderes no hacen las preguntas correctas, si no buscan una diversidad de opiniones y perspectivas, y si no actúan con integridad, estas reglas no harán ninguna diferencia.</a:t>
            </a: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529761" y="507036"/>
            <a:ext cx="3035068"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La actitud de liderazgo es clave</a:t>
            </a: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3251529" y="12592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3" name="Freeform 32">
            <a:extLst>
              <a:ext uri="{FF2B5EF4-FFF2-40B4-BE49-F238E27FC236}">
                <a16:creationId xmlns:a16="http://schemas.microsoft.com/office/drawing/2014/main" id="{7B9B39B9-D037-5EBD-80C8-7B9C00A06C40}"/>
              </a:ext>
            </a:extLst>
          </p:cNvPr>
          <p:cNvSpPr>
            <a:spLocks noChangeArrowheads="1"/>
          </p:cNvSpPr>
          <p:nvPr/>
        </p:nvSpPr>
        <p:spPr bwMode="auto">
          <a:xfrm rot="10800000">
            <a:off x="6097200" y="2650964"/>
            <a:ext cx="1908049" cy="1910800"/>
          </a:xfrm>
          <a:custGeom>
            <a:avLst/>
            <a:gdLst>
              <a:gd name="connsiteX0" fmla="*/ 0 w 4073710"/>
              <a:gd name="connsiteY0" fmla="*/ 0 h 4079582"/>
              <a:gd name="connsiteX1" fmla="*/ 1469080 w 4073710"/>
              <a:gd name="connsiteY1" fmla="*/ 0 h 4079582"/>
              <a:gd name="connsiteX2" fmla="*/ 1617040 w 4073710"/>
              <a:gd name="connsiteY2" fmla="*/ 240306 h 4079582"/>
              <a:gd name="connsiteX3" fmla="*/ 1484852 w 4073710"/>
              <a:gd name="connsiteY3" fmla="*/ 705148 h 4079582"/>
              <a:gd name="connsiteX4" fmla="*/ 2035382 w 4073710"/>
              <a:gd name="connsiteY4" fmla="*/ 1184259 h 4079582"/>
              <a:gd name="connsiteX5" fmla="*/ 2585912 w 4073710"/>
              <a:gd name="connsiteY5" fmla="*/ 705148 h 4079582"/>
              <a:gd name="connsiteX6" fmla="*/ 2446214 w 4073710"/>
              <a:gd name="connsiteY6" fmla="*/ 240306 h 4079582"/>
              <a:gd name="connsiteX7" fmla="*/ 2595676 w 4073710"/>
              <a:gd name="connsiteY7" fmla="*/ 0 h 4079582"/>
              <a:gd name="connsiteX8" fmla="*/ 4073710 w 4073710"/>
              <a:gd name="connsiteY8" fmla="*/ 0 h 4079582"/>
              <a:gd name="connsiteX9" fmla="*/ 4073710 w 4073710"/>
              <a:gd name="connsiteY9" fmla="*/ 4076944 h 4079582"/>
              <a:gd name="connsiteX10" fmla="*/ 2595676 w 4073710"/>
              <a:gd name="connsiteY10" fmla="*/ 4076944 h 4079582"/>
              <a:gd name="connsiteX11" fmla="*/ 2575514 w 4073710"/>
              <a:gd name="connsiteY11" fmla="*/ 4079582 h 4079582"/>
              <a:gd name="connsiteX12" fmla="*/ 1489180 w 4073710"/>
              <a:gd name="connsiteY12" fmla="*/ 4079582 h 4079582"/>
              <a:gd name="connsiteX13" fmla="*/ 1469080 w 4073710"/>
              <a:gd name="connsiteY13" fmla="*/ 4076944 h 4079582"/>
              <a:gd name="connsiteX14" fmla="*/ 0 w 4073710"/>
              <a:gd name="connsiteY14" fmla="*/ 4076944 h 4079582"/>
              <a:gd name="connsiteX15" fmla="*/ 0 w 4073710"/>
              <a:gd name="connsiteY15" fmla="*/ 2596057 h 4079582"/>
              <a:gd name="connsiteX16" fmla="*/ 239588 w 4073710"/>
              <a:gd name="connsiteY16" fmla="*/ 2446617 h 4079582"/>
              <a:gd name="connsiteX17" fmla="*/ 704496 w 4073710"/>
              <a:gd name="connsiteY17" fmla="*/ 2586294 h 4079582"/>
              <a:gd name="connsiteX18" fmla="*/ 1183676 w 4073710"/>
              <a:gd name="connsiteY18" fmla="*/ 2035843 h 4079582"/>
              <a:gd name="connsiteX19" fmla="*/ 704496 w 4073710"/>
              <a:gd name="connsiteY19" fmla="*/ 1486143 h 4079582"/>
              <a:gd name="connsiteX20" fmla="*/ 239588 w 4073710"/>
              <a:gd name="connsiteY20" fmla="*/ 1617560 h 4079582"/>
              <a:gd name="connsiteX21" fmla="*/ 0 w 4073710"/>
              <a:gd name="connsiteY21" fmla="*/ 1469622 h 40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3710" h="4079582">
                <a:moveTo>
                  <a:pt x="0" y="0"/>
                </a:moveTo>
                <a:lnTo>
                  <a:pt x="1469080" y="0"/>
                </a:lnTo>
                <a:cubicBezTo>
                  <a:pt x="1592254" y="0"/>
                  <a:pt x="1671116" y="129165"/>
                  <a:pt x="1617040" y="240306"/>
                </a:cubicBezTo>
                <a:cubicBezTo>
                  <a:pt x="1538178" y="402513"/>
                  <a:pt x="1484852" y="577486"/>
                  <a:pt x="1484852" y="705148"/>
                </a:cubicBezTo>
                <a:cubicBezTo>
                  <a:pt x="1484852" y="1016795"/>
                  <a:pt x="1731202" y="1184259"/>
                  <a:pt x="2035382" y="1184259"/>
                </a:cubicBezTo>
                <a:cubicBezTo>
                  <a:pt x="2338812" y="1184259"/>
                  <a:pt x="2585912" y="1016795"/>
                  <a:pt x="2585912" y="705148"/>
                </a:cubicBezTo>
                <a:cubicBezTo>
                  <a:pt x="2585912" y="577486"/>
                  <a:pt x="2528080" y="402513"/>
                  <a:pt x="2446214" y="240306"/>
                </a:cubicBezTo>
                <a:cubicBezTo>
                  <a:pt x="2389884" y="129916"/>
                  <a:pt x="2471750" y="0"/>
                  <a:pt x="2595676" y="0"/>
                </a:cubicBezTo>
                <a:lnTo>
                  <a:pt x="4073710" y="0"/>
                </a:lnTo>
                <a:lnTo>
                  <a:pt x="4073710" y="4076944"/>
                </a:lnTo>
                <a:lnTo>
                  <a:pt x="2595676" y="4076944"/>
                </a:lnTo>
                <a:lnTo>
                  <a:pt x="2575514" y="4079582"/>
                </a:lnTo>
                <a:lnTo>
                  <a:pt x="1489180" y="4079582"/>
                </a:lnTo>
                <a:lnTo>
                  <a:pt x="1469080" y="4076944"/>
                </a:lnTo>
                <a:lnTo>
                  <a:pt x="0" y="4076944"/>
                </a:lnTo>
                <a:lnTo>
                  <a:pt x="0" y="2596057"/>
                </a:lnTo>
                <a:cubicBezTo>
                  <a:pt x="0" y="2472900"/>
                  <a:pt x="129182" y="2390295"/>
                  <a:pt x="239588" y="2446617"/>
                </a:cubicBezTo>
                <a:cubicBezTo>
                  <a:pt x="401068" y="2528471"/>
                  <a:pt x="576816" y="2586294"/>
                  <a:pt x="704496" y="2586294"/>
                </a:cubicBezTo>
                <a:cubicBezTo>
                  <a:pt x="1016188" y="2586294"/>
                  <a:pt x="1183676" y="2339981"/>
                  <a:pt x="1183676" y="2035843"/>
                </a:cubicBezTo>
                <a:cubicBezTo>
                  <a:pt x="1183676" y="1731706"/>
                  <a:pt x="1016188" y="1486143"/>
                  <a:pt x="704496" y="1486143"/>
                </a:cubicBezTo>
                <a:cubicBezTo>
                  <a:pt x="576816" y="1486143"/>
                  <a:pt x="401068" y="1538710"/>
                  <a:pt x="239588" y="1617560"/>
                </a:cubicBezTo>
                <a:cubicBezTo>
                  <a:pt x="128430" y="1671630"/>
                  <a:pt x="0" y="1592779"/>
                  <a:pt x="0" y="1469622"/>
                </a:cubicBezTo>
                <a:close/>
              </a:path>
            </a:pathLst>
          </a:custGeom>
          <a:solidFill>
            <a:srgbClr val="F16924"/>
          </a:solidFill>
          <a:ln>
            <a:solidFill>
              <a:srgbClr val="FFFFFF"/>
            </a:solidFill>
          </a:ln>
          <a:effectLst/>
        </p:spPr>
        <p:txBody>
          <a:bodyPr wrap="square" anchor="ctr">
            <a:noAutofit/>
          </a:bodyPr>
          <a:lstStyle/>
          <a:p>
            <a:pPr algn="l" rtl="0"/>
            <a:endParaRPr lang="en-GB" dirty="0">
              <a:latin typeface="Calibri" panose="020F0502020204030204" pitchFamily="34" charset="0"/>
              <a:cs typeface="Calibri" panose="020F0502020204030204" pitchFamily="34" charset="0"/>
            </a:endParaRPr>
          </a:p>
        </p:txBody>
      </p:sp>
      <p:sp>
        <p:nvSpPr>
          <p:cNvPr id="5" name="Freeform 31">
            <a:extLst>
              <a:ext uri="{FF2B5EF4-FFF2-40B4-BE49-F238E27FC236}">
                <a16:creationId xmlns:a16="http://schemas.microsoft.com/office/drawing/2014/main" id="{5040983C-4F8C-0465-8907-B223DF002D68}"/>
              </a:ext>
            </a:extLst>
          </p:cNvPr>
          <p:cNvSpPr>
            <a:spLocks noChangeArrowheads="1"/>
          </p:cNvSpPr>
          <p:nvPr/>
        </p:nvSpPr>
        <p:spPr bwMode="auto">
          <a:xfrm>
            <a:off x="8005600" y="4563229"/>
            <a:ext cx="1908049" cy="1910800"/>
          </a:xfrm>
          <a:custGeom>
            <a:avLst/>
            <a:gdLst>
              <a:gd name="connsiteX0" fmla="*/ 0 w 4073710"/>
              <a:gd name="connsiteY0" fmla="*/ 0 h 4079582"/>
              <a:gd name="connsiteX1" fmla="*/ 1469080 w 4073710"/>
              <a:gd name="connsiteY1" fmla="*/ 0 h 4079582"/>
              <a:gd name="connsiteX2" fmla="*/ 1617040 w 4073710"/>
              <a:gd name="connsiteY2" fmla="*/ 240306 h 4079582"/>
              <a:gd name="connsiteX3" fmla="*/ 1484852 w 4073710"/>
              <a:gd name="connsiteY3" fmla="*/ 705148 h 4079582"/>
              <a:gd name="connsiteX4" fmla="*/ 2035382 w 4073710"/>
              <a:gd name="connsiteY4" fmla="*/ 1184259 h 4079582"/>
              <a:gd name="connsiteX5" fmla="*/ 2585912 w 4073710"/>
              <a:gd name="connsiteY5" fmla="*/ 705148 h 4079582"/>
              <a:gd name="connsiteX6" fmla="*/ 2446214 w 4073710"/>
              <a:gd name="connsiteY6" fmla="*/ 240306 h 4079582"/>
              <a:gd name="connsiteX7" fmla="*/ 2595676 w 4073710"/>
              <a:gd name="connsiteY7" fmla="*/ 0 h 4079582"/>
              <a:gd name="connsiteX8" fmla="*/ 4073710 w 4073710"/>
              <a:gd name="connsiteY8" fmla="*/ 0 h 4079582"/>
              <a:gd name="connsiteX9" fmla="*/ 4073710 w 4073710"/>
              <a:gd name="connsiteY9" fmla="*/ 4076944 h 4079582"/>
              <a:gd name="connsiteX10" fmla="*/ 2595676 w 4073710"/>
              <a:gd name="connsiteY10" fmla="*/ 4076944 h 4079582"/>
              <a:gd name="connsiteX11" fmla="*/ 2575514 w 4073710"/>
              <a:gd name="connsiteY11" fmla="*/ 4079582 h 4079582"/>
              <a:gd name="connsiteX12" fmla="*/ 1489180 w 4073710"/>
              <a:gd name="connsiteY12" fmla="*/ 4079582 h 4079582"/>
              <a:gd name="connsiteX13" fmla="*/ 1469080 w 4073710"/>
              <a:gd name="connsiteY13" fmla="*/ 4076944 h 4079582"/>
              <a:gd name="connsiteX14" fmla="*/ 0 w 4073710"/>
              <a:gd name="connsiteY14" fmla="*/ 4076944 h 4079582"/>
              <a:gd name="connsiteX15" fmla="*/ 0 w 4073710"/>
              <a:gd name="connsiteY15" fmla="*/ 2596057 h 4079582"/>
              <a:gd name="connsiteX16" fmla="*/ 239588 w 4073710"/>
              <a:gd name="connsiteY16" fmla="*/ 2446617 h 4079582"/>
              <a:gd name="connsiteX17" fmla="*/ 704496 w 4073710"/>
              <a:gd name="connsiteY17" fmla="*/ 2586294 h 4079582"/>
              <a:gd name="connsiteX18" fmla="*/ 1183676 w 4073710"/>
              <a:gd name="connsiteY18" fmla="*/ 2035843 h 4079582"/>
              <a:gd name="connsiteX19" fmla="*/ 704496 w 4073710"/>
              <a:gd name="connsiteY19" fmla="*/ 1486143 h 4079582"/>
              <a:gd name="connsiteX20" fmla="*/ 239588 w 4073710"/>
              <a:gd name="connsiteY20" fmla="*/ 1617560 h 4079582"/>
              <a:gd name="connsiteX21" fmla="*/ 0 w 4073710"/>
              <a:gd name="connsiteY21" fmla="*/ 1469622 h 40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3710" h="4079582">
                <a:moveTo>
                  <a:pt x="0" y="0"/>
                </a:moveTo>
                <a:lnTo>
                  <a:pt x="1469080" y="0"/>
                </a:lnTo>
                <a:cubicBezTo>
                  <a:pt x="1592254" y="0"/>
                  <a:pt x="1671116" y="129165"/>
                  <a:pt x="1617040" y="240306"/>
                </a:cubicBezTo>
                <a:cubicBezTo>
                  <a:pt x="1538178" y="402513"/>
                  <a:pt x="1484852" y="577486"/>
                  <a:pt x="1484852" y="705148"/>
                </a:cubicBezTo>
                <a:cubicBezTo>
                  <a:pt x="1484852" y="1016795"/>
                  <a:pt x="1731202" y="1184259"/>
                  <a:pt x="2035382" y="1184259"/>
                </a:cubicBezTo>
                <a:cubicBezTo>
                  <a:pt x="2338812" y="1184259"/>
                  <a:pt x="2585912" y="1016795"/>
                  <a:pt x="2585912" y="705148"/>
                </a:cubicBezTo>
                <a:cubicBezTo>
                  <a:pt x="2585912" y="577486"/>
                  <a:pt x="2528080" y="402513"/>
                  <a:pt x="2446214" y="240306"/>
                </a:cubicBezTo>
                <a:cubicBezTo>
                  <a:pt x="2389884" y="129916"/>
                  <a:pt x="2471750" y="0"/>
                  <a:pt x="2595676" y="0"/>
                </a:cubicBezTo>
                <a:lnTo>
                  <a:pt x="4073710" y="0"/>
                </a:lnTo>
                <a:lnTo>
                  <a:pt x="4073710" y="4076944"/>
                </a:lnTo>
                <a:lnTo>
                  <a:pt x="2595676" y="4076944"/>
                </a:lnTo>
                <a:lnTo>
                  <a:pt x="2575514" y="4079582"/>
                </a:lnTo>
                <a:lnTo>
                  <a:pt x="1489180" y="4079582"/>
                </a:lnTo>
                <a:lnTo>
                  <a:pt x="1469080" y="4076944"/>
                </a:lnTo>
                <a:lnTo>
                  <a:pt x="0" y="4076944"/>
                </a:lnTo>
                <a:lnTo>
                  <a:pt x="0" y="2596057"/>
                </a:lnTo>
                <a:cubicBezTo>
                  <a:pt x="0" y="2472900"/>
                  <a:pt x="129182" y="2390295"/>
                  <a:pt x="239588" y="2446617"/>
                </a:cubicBezTo>
                <a:cubicBezTo>
                  <a:pt x="401068" y="2528471"/>
                  <a:pt x="576816" y="2586294"/>
                  <a:pt x="704496" y="2586294"/>
                </a:cubicBezTo>
                <a:cubicBezTo>
                  <a:pt x="1016188" y="2586294"/>
                  <a:pt x="1183676" y="2339981"/>
                  <a:pt x="1183676" y="2035843"/>
                </a:cubicBezTo>
                <a:cubicBezTo>
                  <a:pt x="1183676" y="1731706"/>
                  <a:pt x="1016188" y="1486143"/>
                  <a:pt x="704496" y="1486143"/>
                </a:cubicBezTo>
                <a:cubicBezTo>
                  <a:pt x="576816" y="1486143"/>
                  <a:pt x="401068" y="1538710"/>
                  <a:pt x="239588" y="1617560"/>
                </a:cubicBezTo>
                <a:cubicBezTo>
                  <a:pt x="128430" y="1671630"/>
                  <a:pt x="0" y="1592779"/>
                  <a:pt x="0" y="1469622"/>
                </a:cubicBezTo>
                <a:close/>
              </a:path>
            </a:pathLst>
          </a:custGeom>
          <a:solidFill>
            <a:srgbClr val="EDA13E"/>
          </a:solidFill>
          <a:ln>
            <a:solidFill>
              <a:srgbClr val="FFFFFF"/>
            </a:solidFill>
          </a:ln>
          <a:effectLst/>
        </p:spPr>
        <p:txBody>
          <a:bodyPr wrap="square" anchor="ctr">
            <a:noAutofit/>
          </a:bodyPr>
          <a:lstStyle/>
          <a:p>
            <a:pPr algn="l" rtl="0"/>
            <a:endParaRPr lang="en-GB" dirty="0">
              <a:latin typeface="Calibri" panose="020F0502020204030204" pitchFamily="34" charset="0"/>
              <a:cs typeface="Calibri" panose="020F0502020204030204" pitchFamily="34" charset="0"/>
            </a:endParaRPr>
          </a:p>
        </p:txBody>
      </p:sp>
      <p:sp>
        <p:nvSpPr>
          <p:cNvPr id="6" name="Freeform 5">
            <a:extLst>
              <a:ext uri="{FF2B5EF4-FFF2-40B4-BE49-F238E27FC236}">
                <a16:creationId xmlns:a16="http://schemas.microsoft.com/office/drawing/2014/main" id="{4CB18AD0-330C-4C33-1455-18C489A1981F}"/>
              </a:ext>
            </a:extLst>
          </p:cNvPr>
          <p:cNvSpPr>
            <a:spLocks noChangeArrowheads="1"/>
          </p:cNvSpPr>
          <p:nvPr/>
        </p:nvSpPr>
        <p:spPr bwMode="auto">
          <a:xfrm>
            <a:off x="7448699" y="2652077"/>
            <a:ext cx="2464951" cy="2464952"/>
          </a:xfrm>
          <a:custGeom>
            <a:avLst/>
            <a:gdLst>
              <a:gd name="T0" fmla="*/ 6067 w 7007"/>
              <a:gd name="T1" fmla="*/ 3444 h 7007"/>
              <a:gd name="T2" fmla="*/ 6067 w 7007"/>
              <a:gd name="T3" fmla="*/ 3444 h 7007"/>
              <a:gd name="T4" fmla="*/ 6686 w 7007"/>
              <a:gd name="T5" fmla="*/ 3258 h 7007"/>
              <a:gd name="T6" fmla="*/ 6686 w 7007"/>
              <a:gd name="T7" fmla="*/ 3258 h 7007"/>
              <a:gd name="T8" fmla="*/ 7006 w 7007"/>
              <a:gd name="T9" fmla="*/ 3458 h 7007"/>
              <a:gd name="T10" fmla="*/ 7006 w 7007"/>
              <a:gd name="T11" fmla="*/ 5428 h 7007"/>
              <a:gd name="T12" fmla="*/ 5049 w 7007"/>
              <a:gd name="T13" fmla="*/ 5428 h 7007"/>
              <a:gd name="T14" fmla="*/ 5049 w 7007"/>
              <a:gd name="T15" fmla="*/ 5428 h 7007"/>
              <a:gd name="T16" fmla="*/ 4851 w 7007"/>
              <a:gd name="T17" fmla="*/ 5748 h 7007"/>
              <a:gd name="T18" fmla="*/ 4851 w 7007"/>
              <a:gd name="T19" fmla="*/ 5748 h 7007"/>
              <a:gd name="T20" fmla="*/ 5027 w 7007"/>
              <a:gd name="T21" fmla="*/ 6367 h 7007"/>
              <a:gd name="T22" fmla="*/ 5027 w 7007"/>
              <a:gd name="T23" fmla="*/ 6367 h 7007"/>
              <a:gd name="T24" fmla="*/ 4295 w 7007"/>
              <a:gd name="T25" fmla="*/ 7006 h 7007"/>
              <a:gd name="T26" fmla="*/ 4295 w 7007"/>
              <a:gd name="T27" fmla="*/ 7006 h 7007"/>
              <a:gd name="T28" fmla="*/ 3562 w 7007"/>
              <a:gd name="T29" fmla="*/ 6367 h 7007"/>
              <a:gd name="T30" fmla="*/ 3562 w 7007"/>
              <a:gd name="T31" fmla="*/ 6367 h 7007"/>
              <a:gd name="T32" fmla="*/ 3748 w 7007"/>
              <a:gd name="T33" fmla="*/ 5748 h 7007"/>
              <a:gd name="T34" fmla="*/ 3748 w 7007"/>
              <a:gd name="T35" fmla="*/ 5748 h 7007"/>
              <a:gd name="T36" fmla="*/ 3548 w 7007"/>
              <a:gd name="T37" fmla="*/ 5428 h 7007"/>
              <a:gd name="T38" fmla="*/ 1578 w 7007"/>
              <a:gd name="T39" fmla="*/ 5428 h 7007"/>
              <a:gd name="T40" fmla="*/ 1578 w 7007"/>
              <a:gd name="T41" fmla="*/ 3458 h 7007"/>
              <a:gd name="T42" fmla="*/ 1578 w 7007"/>
              <a:gd name="T43" fmla="*/ 3458 h 7007"/>
              <a:gd name="T44" fmla="*/ 1257 w 7007"/>
              <a:gd name="T45" fmla="*/ 3258 h 7007"/>
              <a:gd name="T46" fmla="*/ 1257 w 7007"/>
              <a:gd name="T47" fmla="*/ 3258 h 7007"/>
              <a:gd name="T48" fmla="*/ 639 w 7007"/>
              <a:gd name="T49" fmla="*/ 3444 h 7007"/>
              <a:gd name="T50" fmla="*/ 639 w 7007"/>
              <a:gd name="T51" fmla="*/ 3444 h 7007"/>
              <a:gd name="T52" fmla="*/ 0 w 7007"/>
              <a:gd name="T53" fmla="*/ 2712 h 7007"/>
              <a:gd name="T54" fmla="*/ 0 w 7007"/>
              <a:gd name="T55" fmla="*/ 2712 h 7007"/>
              <a:gd name="T56" fmla="*/ 639 w 7007"/>
              <a:gd name="T57" fmla="*/ 1979 h 7007"/>
              <a:gd name="T58" fmla="*/ 639 w 7007"/>
              <a:gd name="T59" fmla="*/ 1979 h 7007"/>
              <a:gd name="T60" fmla="*/ 1257 w 7007"/>
              <a:gd name="T61" fmla="*/ 2155 h 7007"/>
              <a:gd name="T62" fmla="*/ 1257 w 7007"/>
              <a:gd name="T63" fmla="*/ 2155 h 7007"/>
              <a:gd name="T64" fmla="*/ 1578 w 7007"/>
              <a:gd name="T65" fmla="*/ 1957 h 7007"/>
              <a:gd name="T66" fmla="*/ 1578 w 7007"/>
              <a:gd name="T67" fmla="*/ 0 h 7007"/>
              <a:gd name="T68" fmla="*/ 1578 w 7007"/>
              <a:gd name="T69" fmla="*/ 376 h 7007"/>
              <a:gd name="T70" fmla="*/ 1578 w 7007"/>
              <a:gd name="T71" fmla="*/ 0 h 7007"/>
              <a:gd name="T72" fmla="*/ 3548 w 7007"/>
              <a:gd name="T73" fmla="*/ 0 h 7007"/>
              <a:gd name="T74" fmla="*/ 3548 w 7007"/>
              <a:gd name="T75" fmla="*/ 0 h 7007"/>
              <a:gd name="T76" fmla="*/ 3748 w 7007"/>
              <a:gd name="T77" fmla="*/ 321 h 7007"/>
              <a:gd name="T78" fmla="*/ 3748 w 7007"/>
              <a:gd name="T79" fmla="*/ 321 h 7007"/>
              <a:gd name="T80" fmla="*/ 3562 w 7007"/>
              <a:gd name="T81" fmla="*/ 939 h 7007"/>
              <a:gd name="T82" fmla="*/ 3562 w 7007"/>
              <a:gd name="T83" fmla="*/ 939 h 7007"/>
              <a:gd name="T84" fmla="*/ 4295 w 7007"/>
              <a:gd name="T85" fmla="*/ 1578 h 7007"/>
              <a:gd name="T86" fmla="*/ 4295 w 7007"/>
              <a:gd name="T87" fmla="*/ 1578 h 7007"/>
              <a:gd name="T88" fmla="*/ 5027 w 7007"/>
              <a:gd name="T89" fmla="*/ 939 h 7007"/>
              <a:gd name="T90" fmla="*/ 5027 w 7007"/>
              <a:gd name="T91" fmla="*/ 939 h 7007"/>
              <a:gd name="T92" fmla="*/ 4851 w 7007"/>
              <a:gd name="T93" fmla="*/ 320 h 7007"/>
              <a:gd name="T94" fmla="*/ 4851 w 7007"/>
              <a:gd name="T95" fmla="*/ 320 h 7007"/>
              <a:gd name="T96" fmla="*/ 5049 w 7007"/>
              <a:gd name="T97" fmla="*/ 0 h 7007"/>
              <a:gd name="T98" fmla="*/ 7006 w 7007"/>
              <a:gd name="T99" fmla="*/ 0 h 7007"/>
              <a:gd name="T100" fmla="*/ 7006 w 7007"/>
              <a:gd name="T101" fmla="*/ 1957 h 7007"/>
              <a:gd name="T102" fmla="*/ 7006 w 7007"/>
              <a:gd name="T103" fmla="*/ 1957 h 7007"/>
              <a:gd name="T104" fmla="*/ 6686 w 7007"/>
              <a:gd name="T105" fmla="*/ 2155 h 7007"/>
              <a:gd name="T106" fmla="*/ 6686 w 7007"/>
              <a:gd name="T107" fmla="*/ 2155 h 7007"/>
              <a:gd name="T108" fmla="*/ 6067 w 7007"/>
              <a:gd name="T109" fmla="*/ 1979 h 7007"/>
              <a:gd name="T110" fmla="*/ 6067 w 7007"/>
              <a:gd name="T111" fmla="*/ 1979 h 7007"/>
              <a:gd name="T112" fmla="*/ 5428 w 7007"/>
              <a:gd name="T113" fmla="*/ 2712 h 7007"/>
              <a:gd name="T114" fmla="*/ 5428 w 7007"/>
              <a:gd name="T115" fmla="*/ 2712 h 7007"/>
              <a:gd name="T116" fmla="*/ 6067 w 7007"/>
              <a:gd name="T117" fmla="*/ 3444 h 7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07" h="7007">
                <a:moveTo>
                  <a:pt x="6067" y="3444"/>
                </a:moveTo>
                <a:lnTo>
                  <a:pt x="6067" y="3444"/>
                </a:lnTo>
                <a:cubicBezTo>
                  <a:pt x="6237" y="3444"/>
                  <a:pt x="6470" y="3368"/>
                  <a:pt x="6686" y="3258"/>
                </a:cubicBezTo>
                <a:lnTo>
                  <a:pt x="6686" y="3258"/>
                </a:lnTo>
                <a:cubicBezTo>
                  <a:pt x="6832" y="3184"/>
                  <a:pt x="7006" y="3293"/>
                  <a:pt x="7006" y="3458"/>
                </a:cubicBezTo>
                <a:lnTo>
                  <a:pt x="7006" y="5428"/>
                </a:lnTo>
                <a:lnTo>
                  <a:pt x="5049" y="5428"/>
                </a:lnTo>
                <a:lnTo>
                  <a:pt x="5049" y="5428"/>
                </a:lnTo>
                <a:cubicBezTo>
                  <a:pt x="4884" y="5428"/>
                  <a:pt x="4779" y="5600"/>
                  <a:pt x="4851" y="5748"/>
                </a:cubicBezTo>
                <a:lnTo>
                  <a:pt x="4851" y="5748"/>
                </a:lnTo>
                <a:cubicBezTo>
                  <a:pt x="4957" y="5964"/>
                  <a:pt x="5027" y="6197"/>
                  <a:pt x="5027" y="6367"/>
                </a:cubicBezTo>
                <a:lnTo>
                  <a:pt x="5027" y="6367"/>
                </a:lnTo>
                <a:cubicBezTo>
                  <a:pt x="5027" y="6782"/>
                  <a:pt x="4699" y="7006"/>
                  <a:pt x="4295" y="7006"/>
                </a:cubicBezTo>
                <a:lnTo>
                  <a:pt x="4295" y="7006"/>
                </a:lnTo>
                <a:cubicBezTo>
                  <a:pt x="3890" y="7006"/>
                  <a:pt x="3562" y="6782"/>
                  <a:pt x="3562" y="6367"/>
                </a:cubicBezTo>
                <a:lnTo>
                  <a:pt x="3562" y="6367"/>
                </a:lnTo>
                <a:cubicBezTo>
                  <a:pt x="3562" y="6197"/>
                  <a:pt x="3638" y="5964"/>
                  <a:pt x="3748" y="5748"/>
                </a:cubicBezTo>
                <a:lnTo>
                  <a:pt x="3748" y="5748"/>
                </a:lnTo>
                <a:cubicBezTo>
                  <a:pt x="3822" y="5601"/>
                  <a:pt x="3713" y="5428"/>
                  <a:pt x="3548" y="5428"/>
                </a:cubicBezTo>
                <a:lnTo>
                  <a:pt x="1578" y="5428"/>
                </a:lnTo>
                <a:lnTo>
                  <a:pt x="1578" y="3458"/>
                </a:lnTo>
                <a:lnTo>
                  <a:pt x="1578" y="3458"/>
                </a:lnTo>
                <a:cubicBezTo>
                  <a:pt x="1578" y="3293"/>
                  <a:pt x="1404" y="3184"/>
                  <a:pt x="1257" y="3258"/>
                </a:cubicBezTo>
                <a:lnTo>
                  <a:pt x="1257" y="3258"/>
                </a:lnTo>
                <a:cubicBezTo>
                  <a:pt x="1042" y="3368"/>
                  <a:pt x="809" y="3444"/>
                  <a:pt x="639" y="3444"/>
                </a:cubicBezTo>
                <a:lnTo>
                  <a:pt x="639" y="3444"/>
                </a:lnTo>
                <a:cubicBezTo>
                  <a:pt x="224" y="3444"/>
                  <a:pt x="0" y="3116"/>
                  <a:pt x="0" y="2712"/>
                </a:cubicBezTo>
                <a:lnTo>
                  <a:pt x="0" y="2712"/>
                </a:lnTo>
                <a:cubicBezTo>
                  <a:pt x="0" y="2307"/>
                  <a:pt x="224" y="1979"/>
                  <a:pt x="639" y="1979"/>
                </a:cubicBezTo>
                <a:lnTo>
                  <a:pt x="639" y="1979"/>
                </a:lnTo>
                <a:cubicBezTo>
                  <a:pt x="809" y="1979"/>
                  <a:pt x="1042" y="2050"/>
                  <a:pt x="1257" y="2155"/>
                </a:cubicBezTo>
                <a:lnTo>
                  <a:pt x="1257" y="2155"/>
                </a:lnTo>
                <a:cubicBezTo>
                  <a:pt x="1405" y="2226"/>
                  <a:pt x="1578" y="2121"/>
                  <a:pt x="1578" y="1957"/>
                </a:cubicBezTo>
                <a:lnTo>
                  <a:pt x="1578" y="0"/>
                </a:lnTo>
                <a:lnTo>
                  <a:pt x="1578" y="376"/>
                </a:lnTo>
                <a:lnTo>
                  <a:pt x="1578" y="0"/>
                </a:lnTo>
                <a:lnTo>
                  <a:pt x="3548" y="0"/>
                </a:lnTo>
                <a:lnTo>
                  <a:pt x="3548" y="0"/>
                </a:lnTo>
                <a:cubicBezTo>
                  <a:pt x="3713" y="0"/>
                  <a:pt x="3822" y="174"/>
                  <a:pt x="3748" y="321"/>
                </a:cubicBezTo>
                <a:lnTo>
                  <a:pt x="3748" y="321"/>
                </a:lnTo>
                <a:cubicBezTo>
                  <a:pt x="3638" y="536"/>
                  <a:pt x="3562" y="769"/>
                  <a:pt x="3562" y="939"/>
                </a:cubicBezTo>
                <a:lnTo>
                  <a:pt x="3562" y="939"/>
                </a:lnTo>
                <a:cubicBezTo>
                  <a:pt x="3562" y="1354"/>
                  <a:pt x="3890" y="1578"/>
                  <a:pt x="4295" y="1578"/>
                </a:cubicBezTo>
                <a:lnTo>
                  <a:pt x="4295" y="1578"/>
                </a:lnTo>
                <a:cubicBezTo>
                  <a:pt x="4699" y="1578"/>
                  <a:pt x="5027" y="1354"/>
                  <a:pt x="5027" y="939"/>
                </a:cubicBezTo>
                <a:lnTo>
                  <a:pt x="5027" y="939"/>
                </a:lnTo>
                <a:cubicBezTo>
                  <a:pt x="5027" y="769"/>
                  <a:pt x="4957" y="535"/>
                  <a:pt x="4851" y="320"/>
                </a:cubicBezTo>
                <a:lnTo>
                  <a:pt x="4851" y="320"/>
                </a:lnTo>
                <a:cubicBezTo>
                  <a:pt x="4779" y="172"/>
                  <a:pt x="4884" y="0"/>
                  <a:pt x="5049" y="0"/>
                </a:cubicBezTo>
                <a:lnTo>
                  <a:pt x="7006" y="0"/>
                </a:lnTo>
                <a:lnTo>
                  <a:pt x="7006" y="1957"/>
                </a:lnTo>
                <a:lnTo>
                  <a:pt x="7006" y="1957"/>
                </a:lnTo>
                <a:cubicBezTo>
                  <a:pt x="7006" y="2121"/>
                  <a:pt x="6833" y="2226"/>
                  <a:pt x="6686" y="2155"/>
                </a:cubicBezTo>
                <a:lnTo>
                  <a:pt x="6686" y="2155"/>
                </a:lnTo>
                <a:cubicBezTo>
                  <a:pt x="6470" y="2050"/>
                  <a:pt x="6237" y="1979"/>
                  <a:pt x="6067" y="1979"/>
                </a:cubicBezTo>
                <a:lnTo>
                  <a:pt x="6067" y="1979"/>
                </a:lnTo>
                <a:cubicBezTo>
                  <a:pt x="5651" y="1979"/>
                  <a:pt x="5428" y="2307"/>
                  <a:pt x="5428" y="2712"/>
                </a:cubicBezTo>
                <a:lnTo>
                  <a:pt x="5428" y="2712"/>
                </a:lnTo>
                <a:cubicBezTo>
                  <a:pt x="5428" y="3116"/>
                  <a:pt x="5651" y="3444"/>
                  <a:pt x="6067" y="3444"/>
                </a:cubicBezTo>
              </a:path>
            </a:pathLst>
          </a:custGeom>
          <a:solidFill>
            <a:srgbClr val="7F1C58"/>
          </a:solidFill>
          <a:ln>
            <a:solidFill>
              <a:srgbClr val="FFFFFF"/>
            </a:solidFill>
          </a:ln>
          <a:effectLst/>
        </p:spPr>
        <p:txBody>
          <a:bodyPr wrap="none" anchor="ctr"/>
          <a:lstStyle/>
          <a:p>
            <a:pPr algn="l" rtl="0"/>
            <a:endParaRPr lang="en-GB" dirty="0">
              <a:latin typeface="Calibri" panose="020F0502020204030204" pitchFamily="34" charset="0"/>
              <a:cs typeface="Calibri" panose="020F0502020204030204" pitchFamily="34" charset="0"/>
            </a:endParaRPr>
          </a:p>
        </p:txBody>
      </p:sp>
      <p:sp>
        <p:nvSpPr>
          <p:cNvPr id="7" name="Freeform 7">
            <a:extLst>
              <a:ext uri="{FF2B5EF4-FFF2-40B4-BE49-F238E27FC236}">
                <a16:creationId xmlns:a16="http://schemas.microsoft.com/office/drawing/2014/main" id="{9D467A88-3548-BC19-B6D8-626E76B8BA22}"/>
              </a:ext>
            </a:extLst>
          </p:cNvPr>
          <p:cNvSpPr>
            <a:spLocks noChangeArrowheads="1"/>
          </p:cNvSpPr>
          <p:nvPr/>
        </p:nvSpPr>
        <p:spPr bwMode="auto">
          <a:xfrm>
            <a:off x="6096000" y="4010981"/>
            <a:ext cx="2464951" cy="2464952"/>
          </a:xfrm>
          <a:custGeom>
            <a:avLst/>
            <a:gdLst>
              <a:gd name="T0" fmla="*/ 939 w 7006"/>
              <a:gd name="T1" fmla="*/ 3562 h 7008"/>
              <a:gd name="T2" fmla="*/ 939 w 7006"/>
              <a:gd name="T3" fmla="*/ 3562 h 7008"/>
              <a:gd name="T4" fmla="*/ 320 w 7006"/>
              <a:gd name="T5" fmla="*/ 3748 h 7008"/>
              <a:gd name="T6" fmla="*/ 320 w 7006"/>
              <a:gd name="T7" fmla="*/ 3748 h 7008"/>
              <a:gd name="T8" fmla="*/ 0 w 7006"/>
              <a:gd name="T9" fmla="*/ 3549 h 7008"/>
              <a:gd name="T10" fmla="*/ 0 w 7006"/>
              <a:gd name="T11" fmla="*/ 1578 h 7008"/>
              <a:gd name="T12" fmla="*/ 1957 w 7006"/>
              <a:gd name="T13" fmla="*/ 1578 h 7008"/>
              <a:gd name="T14" fmla="*/ 1957 w 7006"/>
              <a:gd name="T15" fmla="*/ 1578 h 7008"/>
              <a:gd name="T16" fmla="*/ 2154 w 7006"/>
              <a:gd name="T17" fmla="*/ 1258 h 7008"/>
              <a:gd name="T18" fmla="*/ 2154 w 7006"/>
              <a:gd name="T19" fmla="*/ 1258 h 7008"/>
              <a:gd name="T20" fmla="*/ 1978 w 7006"/>
              <a:gd name="T21" fmla="*/ 639 h 7008"/>
              <a:gd name="T22" fmla="*/ 1978 w 7006"/>
              <a:gd name="T23" fmla="*/ 639 h 7008"/>
              <a:gd name="T24" fmla="*/ 2711 w 7006"/>
              <a:gd name="T25" fmla="*/ 0 h 7008"/>
              <a:gd name="T26" fmla="*/ 2711 w 7006"/>
              <a:gd name="T27" fmla="*/ 0 h 7008"/>
              <a:gd name="T28" fmla="*/ 3444 w 7006"/>
              <a:gd name="T29" fmla="*/ 639 h 7008"/>
              <a:gd name="T30" fmla="*/ 3444 w 7006"/>
              <a:gd name="T31" fmla="*/ 639 h 7008"/>
              <a:gd name="T32" fmla="*/ 3258 w 7006"/>
              <a:gd name="T33" fmla="*/ 1257 h 7008"/>
              <a:gd name="T34" fmla="*/ 3258 w 7006"/>
              <a:gd name="T35" fmla="*/ 1257 h 7008"/>
              <a:gd name="T36" fmla="*/ 3457 w 7006"/>
              <a:gd name="T37" fmla="*/ 1578 h 7008"/>
              <a:gd name="T38" fmla="*/ 5429 w 7006"/>
              <a:gd name="T39" fmla="*/ 1578 h 7008"/>
              <a:gd name="T40" fmla="*/ 5429 w 7006"/>
              <a:gd name="T41" fmla="*/ 1578 h 7008"/>
              <a:gd name="T42" fmla="*/ 5429 w 7006"/>
              <a:gd name="T43" fmla="*/ 3549 h 7008"/>
              <a:gd name="T44" fmla="*/ 5429 w 7006"/>
              <a:gd name="T45" fmla="*/ 3549 h 7008"/>
              <a:gd name="T46" fmla="*/ 5748 w 7006"/>
              <a:gd name="T47" fmla="*/ 3748 h 7008"/>
              <a:gd name="T48" fmla="*/ 5748 w 7006"/>
              <a:gd name="T49" fmla="*/ 3748 h 7008"/>
              <a:gd name="T50" fmla="*/ 6367 w 7006"/>
              <a:gd name="T51" fmla="*/ 3562 h 7008"/>
              <a:gd name="T52" fmla="*/ 6367 w 7006"/>
              <a:gd name="T53" fmla="*/ 3562 h 7008"/>
              <a:gd name="T54" fmla="*/ 7005 w 7006"/>
              <a:gd name="T55" fmla="*/ 4295 h 7008"/>
              <a:gd name="T56" fmla="*/ 7005 w 7006"/>
              <a:gd name="T57" fmla="*/ 4295 h 7008"/>
              <a:gd name="T58" fmla="*/ 6367 w 7006"/>
              <a:gd name="T59" fmla="*/ 5028 h 7008"/>
              <a:gd name="T60" fmla="*/ 6367 w 7006"/>
              <a:gd name="T61" fmla="*/ 5028 h 7008"/>
              <a:gd name="T62" fmla="*/ 5748 w 7006"/>
              <a:gd name="T63" fmla="*/ 4852 h 7008"/>
              <a:gd name="T64" fmla="*/ 5748 w 7006"/>
              <a:gd name="T65" fmla="*/ 4852 h 7008"/>
              <a:gd name="T66" fmla="*/ 5429 w 7006"/>
              <a:gd name="T67" fmla="*/ 5049 h 7008"/>
              <a:gd name="T68" fmla="*/ 5429 w 7006"/>
              <a:gd name="T69" fmla="*/ 7007 h 7008"/>
              <a:gd name="T70" fmla="*/ 5429 w 7006"/>
              <a:gd name="T71" fmla="*/ 6631 h 7008"/>
              <a:gd name="T72" fmla="*/ 5429 w 7006"/>
              <a:gd name="T73" fmla="*/ 7007 h 7008"/>
              <a:gd name="T74" fmla="*/ 3457 w 7006"/>
              <a:gd name="T75" fmla="*/ 7007 h 7008"/>
              <a:gd name="T76" fmla="*/ 3457 w 7006"/>
              <a:gd name="T77" fmla="*/ 7007 h 7008"/>
              <a:gd name="T78" fmla="*/ 3258 w 7006"/>
              <a:gd name="T79" fmla="*/ 6686 h 7008"/>
              <a:gd name="T80" fmla="*/ 3258 w 7006"/>
              <a:gd name="T81" fmla="*/ 6686 h 7008"/>
              <a:gd name="T82" fmla="*/ 3444 w 7006"/>
              <a:gd name="T83" fmla="*/ 6067 h 7008"/>
              <a:gd name="T84" fmla="*/ 3444 w 7006"/>
              <a:gd name="T85" fmla="*/ 6067 h 7008"/>
              <a:gd name="T86" fmla="*/ 2711 w 7006"/>
              <a:gd name="T87" fmla="*/ 5429 h 7008"/>
              <a:gd name="T88" fmla="*/ 2711 w 7006"/>
              <a:gd name="T89" fmla="*/ 5429 h 7008"/>
              <a:gd name="T90" fmla="*/ 1978 w 7006"/>
              <a:gd name="T91" fmla="*/ 6067 h 7008"/>
              <a:gd name="T92" fmla="*/ 1978 w 7006"/>
              <a:gd name="T93" fmla="*/ 6067 h 7008"/>
              <a:gd name="T94" fmla="*/ 2154 w 7006"/>
              <a:gd name="T95" fmla="*/ 6686 h 7008"/>
              <a:gd name="T96" fmla="*/ 2154 w 7006"/>
              <a:gd name="T97" fmla="*/ 6686 h 7008"/>
              <a:gd name="T98" fmla="*/ 1957 w 7006"/>
              <a:gd name="T99" fmla="*/ 7007 h 7008"/>
              <a:gd name="T100" fmla="*/ 0 w 7006"/>
              <a:gd name="T101" fmla="*/ 7007 h 7008"/>
              <a:gd name="T102" fmla="*/ 0 w 7006"/>
              <a:gd name="T103" fmla="*/ 5050 h 7008"/>
              <a:gd name="T104" fmla="*/ 0 w 7006"/>
              <a:gd name="T105" fmla="*/ 5050 h 7008"/>
              <a:gd name="T106" fmla="*/ 320 w 7006"/>
              <a:gd name="T107" fmla="*/ 4852 h 7008"/>
              <a:gd name="T108" fmla="*/ 320 w 7006"/>
              <a:gd name="T109" fmla="*/ 4852 h 7008"/>
              <a:gd name="T110" fmla="*/ 939 w 7006"/>
              <a:gd name="T111" fmla="*/ 5028 h 7008"/>
              <a:gd name="T112" fmla="*/ 939 w 7006"/>
              <a:gd name="T113" fmla="*/ 5028 h 7008"/>
              <a:gd name="T114" fmla="*/ 1578 w 7006"/>
              <a:gd name="T115" fmla="*/ 4295 h 7008"/>
              <a:gd name="T116" fmla="*/ 1578 w 7006"/>
              <a:gd name="T117" fmla="*/ 4295 h 7008"/>
              <a:gd name="T118" fmla="*/ 939 w 7006"/>
              <a:gd name="T119" fmla="*/ 3562 h 7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06" h="7008">
                <a:moveTo>
                  <a:pt x="939" y="3562"/>
                </a:moveTo>
                <a:lnTo>
                  <a:pt x="939" y="3562"/>
                </a:lnTo>
                <a:cubicBezTo>
                  <a:pt x="768" y="3562"/>
                  <a:pt x="536" y="3639"/>
                  <a:pt x="320" y="3748"/>
                </a:cubicBezTo>
                <a:lnTo>
                  <a:pt x="320" y="3748"/>
                </a:lnTo>
                <a:cubicBezTo>
                  <a:pt x="173" y="3823"/>
                  <a:pt x="0" y="3714"/>
                  <a:pt x="0" y="3549"/>
                </a:cubicBezTo>
                <a:lnTo>
                  <a:pt x="0" y="1578"/>
                </a:lnTo>
                <a:lnTo>
                  <a:pt x="1957" y="1578"/>
                </a:lnTo>
                <a:lnTo>
                  <a:pt x="1957" y="1578"/>
                </a:lnTo>
                <a:cubicBezTo>
                  <a:pt x="2121" y="1578"/>
                  <a:pt x="2226" y="1406"/>
                  <a:pt x="2154" y="1258"/>
                </a:cubicBezTo>
                <a:lnTo>
                  <a:pt x="2154" y="1258"/>
                </a:lnTo>
                <a:cubicBezTo>
                  <a:pt x="2050" y="1042"/>
                  <a:pt x="1978" y="809"/>
                  <a:pt x="1978" y="639"/>
                </a:cubicBezTo>
                <a:lnTo>
                  <a:pt x="1978" y="639"/>
                </a:lnTo>
                <a:cubicBezTo>
                  <a:pt x="1978" y="223"/>
                  <a:pt x="2307" y="0"/>
                  <a:pt x="2711" y="0"/>
                </a:cubicBezTo>
                <a:lnTo>
                  <a:pt x="2711" y="0"/>
                </a:lnTo>
                <a:cubicBezTo>
                  <a:pt x="3116" y="0"/>
                  <a:pt x="3444" y="223"/>
                  <a:pt x="3444" y="639"/>
                </a:cubicBezTo>
                <a:lnTo>
                  <a:pt x="3444" y="639"/>
                </a:lnTo>
                <a:cubicBezTo>
                  <a:pt x="3444" y="809"/>
                  <a:pt x="3367" y="1042"/>
                  <a:pt x="3258" y="1257"/>
                </a:cubicBezTo>
                <a:lnTo>
                  <a:pt x="3258" y="1257"/>
                </a:lnTo>
                <a:cubicBezTo>
                  <a:pt x="3184" y="1404"/>
                  <a:pt x="3293" y="1578"/>
                  <a:pt x="3457" y="1578"/>
                </a:cubicBezTo>
                <a:lnTo>
                  <a:pt x="5429" y="1578"/>
                </a:lnTo>
                <a:lnTo>
                  <a:pt x="5429" y="1578"/>
                </a:lnTo>
                <a:lnTo>
                  <a:pt x="5429" y="3549"/>
                </a:lnTo>
                <a:lnTo>
                  <a:pt x="5429" y="3549"/>
                </a:lnTo>
                <a:cubicBezTo>
                  <a:pt x="5429" y="3714"/>
                  <a:pt x="5601" y="3823"/>
                  <a:pt x="5748" y="3748"/>
                </a:cubicBezTo>
                <a:lnTo>
                  <a:pt x="5748" y="3748"/>
                </a:lnTo>
                <a:cubicBezTo>
                  <a:pt x="5963" y="3639"/>
                  <a:pt x="6197" y="3562"/>
                  <a:pt x="6367" y="3562"/>
                </a:cubicBezTo>
                <a:lnTo>
                  <a:pt x="6367" y="3562"/>
                </a:lnTo>
                <a:cubicBezTo>
                  <a:pt x="6782" y="3562"/>
                  <a:pt x="7005" y="3891"/>
                  <a:pt x="7005" y="4295"/>
                </a:cubicBezTo>
                <a:lnTo>
                  <a:pt x="7005" y="4295"/>
                </a:lnTo>
                <a:cubicBezTo>
                  <a:pt x="7005" y="4700"/>
                  <a:pt x="6782" y="5028"/>
                  <a:pt x="6367" y="5028"/>
                </a:cubicBezTo>
                <a:lnTo>
                  <a:pt x="6367" y="5028"/>
                </a:lnTo>
                <a:cubicBezTo>
                  <a:pt x="6197" y="5028"/>
                  <a:pt x="5963" y="4957"/>
                  <a:pt x="5748" y="4852"/>
                </a:cubicBezTo>
                <a:lnTo>
                  <a:pt x="5748" y="4852"/>
                </a:lnTo>
                <a:cubicBezTo>
                  <a:pt x="5600" y="4780"/>
                  <a:pt x="5429" y="4885"/>
                  <a:pt x="5429" y="5049"/>
                </a:cubicBezTo>
                <a:lnTo>
                  <a:pt x="5429" y="7007"/>
                </a:lnTo>
                <a:lnTo>
                  <a:pt x="5429" y="6631"/>
                </a:lnTo>
                <a:lnTo>
                  <a:pt x="5429" y="7007"/>
                </a:lnTo>
                <a:lnTo>
                  <a:pt x="3457" y="7007"/>
                </a:lnTo>
                <a:lnTo>
                  <a:pt x="3457" y="7007"/>
                </a:lnTo>
                <a:cubicBezTo>
                  <a:pt x="3293" y="7007"/>
                  <a:pt x="3184" y="6833"/>
                  <a:pt x="3258" y="6686"/>
                </a:cubicBezTo>
                <a:lnTo>
                  <a:pt x="3258" y="6686"/>
                </a:lnTo>
                <a:cubicBezTo>
                  <a:pt x="3367" y="6471"/>
                  <a:pt x="3444" y="6238"/>
                  <a:pt x="3444" y="6067"/>
                </a:cubicBezTo>
                <a:lnTo>
                  <a:pt x="3444" y="6067"/>
                </a:lnTo>
                <a:cubicBezTo>
                  <a:pt x="3444" y="5653"/>
                  <a:pt x="3116" y="5429"/>
                  <a:pt x="2711" y="5429"/>
                </a:cubicBezTo>
                <a:lnTo>
                  <a:pt x="2711" y="5429"/>
                </a:lnTo>
                <a:cubicBezTo>
                  <a:pt x="2307" y="5429"/>
                  <a:pt x="1978" y="5653"/>
                  <a:pt x="1978" y="6067"/>
                </a:cubicBezTo>
                <a:lnTo>
                  <a:pt x="1978" y="6067"/>
                </a:lnTo>
                <a:cubicBezTo>
                  <a:pt x="1978" y="6238"/>
                  <a:pt x="2050" y="6471"/>
                  <a:pt x="2154" y="6686"/>
                </a:cubicBezTo>
                <a:lnTo>
                  <a:pt x="2154" y="6686"/>
                </a:lnTo>
                <a:cubicBezTo>
                  <a:pt x="2226" y="6834"/>
                  <a:pt x="2121" y="7007"/>
                  <a:pt x="1957" y="7007"/>
                </a:cubicBezTo>
                <a:lnTo>
                  <a:pt x="0" y="7007"/>
                </a:lnTo>
                <a:lnTo>
                  <a:pt x="0" y="5050"/>
                </a:lnTo>
                <a:lnTo>
                  <a:pt x="0" y="5050"/>
                </a:lnTo>
                <a:cubicBezTo>
                  <a:pt x="0" y="4885"/>
                  <a:pt x="172" y="4780"/>
                  <a:pt x="320" y="4852"/>
                </a:cubicBezTo>
                <a:lnTo>
                  <a:pt x="320" y="4852"/>
                </a:lnTo>
                <a:cubicBezTo>
                  <a:pt x="536" y="4957"/>
                  <a:pt x="768" y="5028"/>
                  <a:pt x="939" y="5028"/>
                </a:cubicBezTo>
                <a:lnTo>
                  <a:pt x="939" y="5028"/>
                </a:lnTo>
                <a:cubicBezTo>
                  <a:pt x="1354" y="5028"/>
                  <a:pt x="1578" y="4700"/>
                  <a:pt x="1578" y="4295"/>
                </a:cubicBezTo>
                <a:lnTo>
                  <a:pt x="1578" y="4295"/>
                </a:lnTo>
                <a:cubicBezTo>
                  <a:pt x="1578" y="3891"/>
                  <a:pt x="1354" y="3562"/>
                  <a:pt x="939" y="3562"/>
                </a:cubicBezTo>
              </a:path>
            </a:pathLst>
          </a:custGeom>
          <a:solidFill>
            <a:srgbClr val="B41F7A"/>
          </a:solidFill>
          <a:ln>
            <a:solidFill>
              <a:srgbClr val="FFFFFF"/>
            </a:solidFill>
          </a:ln>
          <a:effectLst/>
        </p:spPr>
        <p:txBody>
          <a:bodyPr wrap="none" anchor="ctr"/>
          <a:lstStyle/>
          <a:p>
            <a:pPr algn="l" rtl="0"/>
            <a:endParaRPr lang="en-GB" dirty="0">
              <a:latin typeface="Calibri" panose="020F0502020204030204" pitchFamily="34" charset="0"/>
              <a:cs typeface="Calibri" panose="020F0502020204030204" pitchFamily="34" charset="0"/>
            </a:endParaRPr>
          </a:p>
        </p:txBody>
      </p:sp>
      <p:sp>
        <p:nvSpPr>
          <p:cNvPr id="42" name="Subtitle 2">
            <a:extLst>
              <a:ext uri="{FF2B5EF4-FFF2-40B4-BE49-F238E27FC236}">
                <a16:creationId xmlns:a16="http://schemas.microsoft.com/office/drawing/2014/main" id="{3071D00A-EBAD-E16A-FE43-DF5407AF24CD}"/>
              </a:ext>
            </a:extLst>
          </p:cNvPr>
          <p:cNvSpPr txBox="1">
            <a:spLocks/>
          </p:cNvSpPr>
          <p:nvPr/>
        </p:nvSpPr>
        <p:spPr>
          <a:xfrm>
            <a:off x="6433244" y="2917667"/>
            <a:ext cx="1154950" cy="278289"/>
          </a:xfrm>
          <a:prstGeom prst="rect">
            <a:avLst/>
          </a:prstGeom>
          <a:noFill/>
          <a:ln>
            <a:noFill/>
          </a:ln>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ser reflexivo</a:t>
            </a:r>
          </a:p>
        </p:txBody>
      </p:sp>
      <p:sp>
        <p:nvSpPr>
          <p:cNvPr id="47" name="Subtitle 2">
            <a:extLst>
              <a:ext uri="{FF2B5EF4-FFF2-40B4-BE49-F238E27FC236}">
                <a16:creationId xmlns:a16="http://schemas.microsoft.com/office/drawing/2014/main" id="{1690EA68-88F6-6972-ADAA-873CBC213124}"/>
              </a:ext>
            </a:extLst>
          </p:cNvPr>
          <p:cNvSpPr txBox="1">
            <a:spLocks/>
          </p:cNvSpPr>
          <p:nvPr/>
        </p:nvSpPr>
        <p:spPr>
          <a:xfrm>
            <a:off x="8086609" y="3944708"/>
            <a:ext cx="1785291" cy="499504"/>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comprometerse con la complejidad</a:t>
            </a:r>
          </a:p>
        </p:txBody>
      </p:sp>
      <p:sp>
        <p:nvSpPr>
          <p:cNvPr id="48" name="Subtitle 2">
            <a:extLst>
              <a:ext uri="{FF2B5EF4-FFF2-40B4-BE49-F238E27FC236}">
                <a16:creationId xmlns:a16="http://schemas.microsoft.com/office/drawing/2014/main" id="{427D96A1-B3DC-6F1E-5565-8809305F3A51}"/>
              </a:ext>
            </a:extLst>
          </p:cNvPr>
          <p:cNvSpPr txBox="1">
            <a:spLocks/>
          </p:cNvSpPr>
          <p:nvPr/>
        </p:nvSpPr>
        <p:spPr>
          <a:xfrm>
            <a:off x="6357705" y="4732144"/>
            <a:ext cx="1545717" cy="957963"/>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760"/>
              </a:lnSpc>
              <a:spcBef>
                <a:spcPts val="0"/>
              </a:spcBef>
            </a:pPr>
            <a: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t>evitar el reflejo de la rodilla</a:t>
            </a:r>
            <a:b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t>reacciones -</a:t>
            </a:r>
            <a:b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t>'efecto péndulo'</a:t>
            </a:r>
          </a:p>
        </p:txBody>
      </p:sp>
      <p:sp>
        <p:nvSpPr>
          <p:cNvPr id="49" name="Subtitle 2">
            <a:extLst>
              <a:ext uri="{FF2B5EF4-FFF2-40B4-BE49-F238E27FC236}">
                <a16:creationId xmlns:a16="http://schemas.microsoft.com/office/drawing/2014/main" id="{31115E1B-01AB-8073-85F3-190E00565ABA}"/>
              </a:ext>
            </a:extLst>
          </p:cNvPr>
          <p:cNvSpPr txBox="1">
            <a:spLocks/>
          </p:cNvSpPr>
          <p:nvPr/>
        </p:nvSpPr>
        <p:spPr>
          <a:xfrm>
            <a:off x="8415482" y="5427356"/>
            <a:ext cx="1643636" cy="961169"/>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estar dispuesto a desafiar</a:t>
            </a:r>
            <a:b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y ser desafiado</a:t>
            </a:r>
          </a:p>
        </p:txBody>
      </p:sp>
      <p:sp>
        <p:nvSpPr>
          <p:cNvPr id="50" name="Freeform 8">
            <a:extLst>
              <a:ext uri="{FF2B5EF4-FFF2-40B4-BE49-F238E27FC236}">
                <a16:creationId xmlns:a16="http://schemas.microsoft.com/office/drawing/2014/main" id="{B6CE872D-0D74-2D51-D5C1-603331D5FB84}"/>
              </a:ext>
            </a:extLst>
          </p:cNvPr>
          <p:cNvSpPr>
            <a:spLocks/>
          </p:cNvSpPr>
          <p:nvPr/>
        </p:nvSpPr>
        <p:spPr bwMode="auto">
          <a:xfrm>
            <a:off x="4797706" y="2758330"/>
            <a:ext cx="1218133" cy="3823064"/>
          </a:xfrm>
          <a:custGeom>
            <a:avLst/>
            <a:gdLst>
              <a:gd name="T0" fmla="*/ 458758 w 1718"/>
              <a:gd name="T1" fmla="*/ 899723 h 5397"/>
              <a:gd name="T2" fmla="*/ 108833 w 1718"/>
              <a:gd name="T3" fmla="*/ 679383 h 5397"/>
              <a:gd name="T4" fmla="*/ 101265 w 1718"/>
              <a:gd name="T5" fmla="*/ 736268 h 5397"/>
              <a:gd name="T6" fmla="*/ 98022 w 1718"/>
              <a:gd name="T7" fmla="*/ 680463 h 5397"/>
              <a:gd name="T8" fmla="*/ 101986 w 1718"/>
              <a:gd name="T9" fmla="*/ 621418 h 5397"/>
              <a:gd name="T10" fmla="*/ 203612 w 1718"/>
              <a:gd name="T11" fmla="*/ 253824 h 5397"/>
              <a:gd name="T12" fmla="*/ 464524 w 1718"/>
              <a:gd name="T13" fmla="*/ 923126 h 5397"/>
              <a:gd name="T14" fmla="*/ 464524 w 1718"/>
              <a:gd name="T15" fmla="*/ 923126 h 5397"/>
              <a:gd name="T16" fmla="*/ 442181 w 1718"/>
              <a:gd name="T17" fmla="*/ 693064 h 5397"/>
              <a:gd name="T18" fmla="*/ 445064 w 1718"/>
              <a:gd name="T19" fmla="*/ 610977 h 5397"/>
              <a:gd name="T20" fmla="*/ 454433 w 1718"/>
              <a:gd name="T21" fmla="*/ 650580 h 5397"/>
              <a:gd name="T22" fmla="*/ 562186 w 1718"/>
              <a:gd name="T23" fmla="*/ 1795126 h 5397"/>
              <a:gd name="T24" fmla="*/ 557140 w 1718"/>
              <a:gd name="T25" fmla="*/ 1774964 h 5397"/>
              <a:gd name="T26" fmla="*/ 560384 w 1718"/>
              <a:gd name="T27" fmla="*/ 1749402 h 5397"/>
              <a:gd name="T28" fmla="*/ 554978 w 1718"/>
              <a:gd name="T29" fmla="*/ 1728160 h 5397"/>
              <a:gd name="T30" fmla="*/ 473894 w 1718"/>
              <a:gd name="T31" fmla="*/ 1051657 h 5397"/>
              <a:gd name="T32" fmla="*/ 469569 w 1718"/>
              <a:gd name="T33" fmla="*/ 951208 h 5397"/>
              <a:gd name="T34" fmla="*/ 501282 w 1718"/>
              <a:gd name="T35" fmla="*/ 897923 h 5397"/>
              <a:gd name="T36" fmla="*/ 504886 w 1718"/>
              <a:gd name="T37" fmla="*/ 896483 h 5397"/>
              <a:gd name="T38" fmla="*/ 558582 w 1718"/>
              <a:gd name="T39" fmla="*/ 611697 h 5397"/>
              <a:gd name="T40" fmla="*/ 482543 w 1718"/>
              <a:gd name="T41" fmla="*/ 300988 h 5397"/>
              <a:gd name="T42" fmla="*/ 329383 w 1718"/>
              <a:gd name="T43" fmla="*/ 248063 h 5397"/>
              <a:gd name="T44" fmla="*/ 323257 w 1718"/>
              <a:gd name="T45" fmla="*/ 212060 h 5397"/>
              <a:gd name="T46" fmla="*/ 339834 w 1718"/>
              <a:gd name="T47" fmla="*/ 162375 h 5397"/>
              <a:gd name="T48" fmla="*/ 329383 w 1718"/>
              <a:gd name="T49" fmla="*/ 119171 h 5397"/>
              <a:gd name="T50" fmla="*/ 216946 w 1718"/>
              <a:gd name="T51" fmla="*/ 7201 h 5397"/>
              <a:gd name="T52" fmla="*/ 172259 w 1718"/>
              <a:gd name="T53" fmla="*/ 124212 h 5397"/>
              <a:gd name="T54" fmla="*/ 169376 w 1718"/>
              <a:gd name="T55" fmla="*/ 168856 h 5397"/>
              <a:gd name="T56" fmla="*/ 201089 w 1718"/>
              <a:gd name="T57" fmla="*/ 219620 h 5397"/>
              <a:gd name="T58" fmla="*/ 188837 w 1718"/>
              <a:gd name="T59" fmla="*/ 270385 h 5397"/>
              <a:gd name="T60" fmla="*/ 68111 w 1718"/>
              <a:gd name="T61" fmla="*/ 314309 h 5397"/>
              <a:gd name="T62" fmla="*/ 38200 w 1718"/>
              <a:gd name="T63" fmla="*/ 900083 h 5397"/>
              <a:gd name="T64" fmla="*/ 54777 w 1718"/>
              <a:gd name="T65" fmla="*/ 902244 h 5397"/>
              <a:gd name="T66" fmla="*/ 77841 w 1718"/>
              <a:gd name="T67" fmla="*/ 973890 h 5397"/>
              <a:gd name="T68" fmla="*/ 135501 w 1718"/>
              <a:gd name="T69" fmla="*/ 1522221 h 5397"/>
              <a:gd name="T70" fmla="*/ 154601 w 1718"/>
              <a:gd name="T71" fmla="*/ 1753362 h 5397"/>
              <a:gd name="T72" fmla="*/ 158205 w 1718"/>
              <a:gd name="T73" fmla="*/ 1770284 h 5397"/>
              <a:gd name="T74" fmla="*/ 159646 w 1718"/>
              <a:gd name="T75" fmla="*/ 1809168 h 5397"/>
              <a:gd name="T76" fmla="*/ 131897 w 1718"/>
              <a:gd name="T77" fmla="*/ 1873974 h 5397"/>
              <a:gd name="T78" fmla="*/ 233884 w 1718"/>
              <a:gd name="T79" fmla="*/ 1890895 h 5397"/>
              <a:gd name="T80" fmla="*/ 272804 w 1718"/>
              <a:gd name="T81" fmla="*/ 1848771 h 5397"/>
              <a:gd name="T82" fmla="*/ 270282 w 1718"/>
              <a:gd name="T83" fmla="*/ 1810608 h 5397"/>
              <a:gd name="T84" fmla="*/ 274246 w 1718"/>
              <a:gd name="T85" fmla="*/ 1732120 h 5397"/>
              <a:gd name="T86" fmla="*/ 274246 w 1718"/>
              <a:gd name="T87" fmla="*/ 1577306 h 5397"/>
              <a:gd name="T88" fmla="*/ 255146 w 1718"/>
              <a:gd name="T89" fmla="*/ 1289639 h 5397"/>
              <a:gd name="T90" fmla="*/ 264155 w 1718"/>
              <a:gd name="T91" fmla="*/ 1208272 h 5397"/>
              <a:gd name="T92" fmla="*/ 267759 w 1718"/>
              <a:gd name="T93" fmla="*/ 1148866 h 5397"/>
              <a:gd name="T94" fmla="*/ 280372 w 1718"/>
              <a:gd name="T95" fmla="*/ 1051657 h 5397"/>
              <a:gd name="T96" fmla="*/ 397854 w 1718"/>
              <a:gd name="T97" fmla="*/ 1494498 h 5397"/>
              <a:gd name="T98" fmla="*/ 442901 w 1718"/>
              <a:gd name="T99" fmla="*/ 1776765 h 5397"/>
              <a:gd name="T100" fmla="*/ 459839 w 1718"/>
              <a:gd name="T101" fmla="*/ 1825729 h 5397"/>
              <a:gd name="T102" fmla="*/ 467767 w 1718"/>
              <a:gd name="T103" fmla="*/ 1852372 h 5397"/>
              <a:gd name="T104" fmla="*/ 489750 w 1718"/>
              <a:gd name="T105" fmla="*/ 1895576 h 5397"/>
              <a:gd name="T106" fmla="*/ 592097 w 1718"/>
              <a:gd name="T107" fmla="*/ 1941660 h 5397"/>
              <a:gd name="T108" fmla="*/ 563627 w 1718"/>
              <a:gd name="T109" fmla="*/ 1844091 h 539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18" h="5397">
                <a:moveTo>
                  <a:pt x="1273" y="2499"/>
                </a:moveTo>
                <a:lnTo>
                  <a:pt x="1273" y="2499"/>
                </a:lnTo>
                <a:cubicBezTo>
                  <a:pt x="1273" y="2499"/>
                  <a:pt x="1273" y="2499"/>
                  <a:pt x="1273" y="2498"/>
                </a:cubicBezTo>
                <a:cubicBezTo>
                  <a:pt x="1273" y="2499"/>
                  <a:pt x="1273" y="2499"/>
                  <a:pt x="1273" y="2499"/>
                </a:cubicBezTo>
                <a:cubicBezTo>
                  <a:pt x="1273" y="2499"/>
                  <a:pt x="1275" y="2507"/>
                  <a:pt x="1277" y="2517"/>
                </a:cubicBezTo>
                <a:cubicBezTo>
                  <a:pt x="1276" y="2511"/>
                  <a:pt x="1274" y="2505"/>
                  <a:pt x="1273" y="2499"/>
                </a:cubicBezTo>
                <a:close/>
                <a:moveTo>
                  <a:pt x="302" y="1887"/>
                </a:moveTo>
                <a:lnTo>
                  <a:pt x="302" y="1887"/>
                </a:lnTo>
                <a:cubicBezTo>
                  <a:pt x="300" y="1905"/>
                  <a:pt x="293" y="1922"/>
                  <a:pt x="290" y="1941"/>
                </a:cubicBezTo>
                <a:cubicBezTo>
                  <a:pt x="283" y="1975"/>
                  <a:pt x="288" y="2011"/>
                  <a:pt x="281" y="2045"/>
                </a:cubicBezTo>
                <a:cubicBezTo>
                  <a:pt x="280" y="2049"/>
                  <a:pt x="277" y="2054"/>
                  <a:pt x="274" y="2052"/>
                </a:cubicBezTo>
                <a:cubicBezTo>
                  <a:pt x="273" y="2016"/>
                  <a:pt x="272" y="1981"/>
                  <a:pt x="272" y="1945"/>
                </a:cubicBezTo>
                <a:cubicBezTo>
                  <a:pt x="271" y="1926"/>
                  <a:pt x="271" y="1908"/>
                  <a:pt x="272" y="1890"/>
                </a:cubicBezTo>
                <a:cubicBezTo>
                  <a:pt x="274" y="1864"/>
                  <a:pt x="281" y="1840"/>
                  <a:pt x="281" y="1814"/>
                </a:cubicBezTo>
                <a:cubicBezTo>
                  <a:pt x="281" y="1784"/>
                  <a:pt x="272" y="1753"/>
                  <a:pt x="283" y="1726"/>
                </a:cubicBezTo>
                <a:cubicBezTo>
                  <a:pt x="291" y="1766"/>
                  <a:pt x="297" y="1806"/>
                  <a:pt x="300" y="1846"/>
                </a:cubicBezTo>
                <a:cubicBezTo>
                  <a:pt x="302" y="1860"/>
                  <a:pt x="303" y="1873"/>
                  <a:pt x="302" y="1887"/>
                </a:cubicBezTo>
                <a:close/>
                <a:moveTo>
                  <a:pt x="565" y="705"/>
                </a:moveTo>
                <a:lnTo>
                  <a:pt x="565" y="705"/>
                </a:lnTo>
                <a:cubicBezTo>
                  <a:pt x="565" y="714"/>
                  <a:pt x="565" y="722"/>
                  <a:pt x="565" y="730"/>
                </a:cubicBezTo>
                <a:cubicBezTo>
                  <a:pt x="563" y="719"/>
                  <a:pt x="564" y="711"/>
                  <a:pt x="565" y="705"/>
                </a:cubicBezTo>
                <a:close/>
                <a:moveTo>
                  <a:pt x="1289" y="2564"/>
                </a:moveTo>
                <a:lnTo>
                  <a:pt x="1289" y="2564"/>
                </a:lnTo>
                <a:cubicBezTo>
                  <a:pt x="1286" y="2554"/>
                  <a:pt x="1284" y="2544"/>
                  <a:pt x="1282" y="2534"/>
                </a:cubicBezTo>
                <a:cubicBezTo>
                  <a:pt x="1283" y="2539"/>
                  <a:pt x="1284" y="2544"/>
                  <a:pt x="1285" y="2548"/>
                </a:cubicBezTo>
                <a:cubicBezTo>
                  <a:pt x="1286" y="2552"/>
                  <a:pt x="1288" y="2558"/>
                  <a:pt x="1289" y="2564"/>
                </a:cubicBezTo>
                <a:close/>
                <a:moveTo>
                  <a:pt x="1261" y="1807"/>
                </a:moveTo>
                <a:lnTo>
                  <a:pt x="1261" y="1807"/>
                </a:lnTo>
                <a:cubicBezTo>
                  <a:pt x="1254" y="1838"/>
                  <a:pt x="1248" y="1868"/>
                  <a:pt x="1241" y="1898"/>
                </a:cubicBezTo>
                <a:cubicBezTo>
                  <a:pt x="1239" y="1908"/>
                  <a:pt x="1236" y="1920"/>
                  <a:pt x="1227" y="1925"/>
                </a:cubicBezTo>
                <a:cubicBezTo>
                  <a:pt x="1228" y="1846"/>
                  <a:pt x="1225" y="1767"/>
                  <a:pt x="1220" y="1688"/>
                </a:cubicBezTo>
                <a:cubicBezTo>
                  <a:pt x="1224" y="1683"/>
                  <a:pt x="1232" y="1690"/>
                  <a:pt x="1235" y="1697"/>
                </a:cubicBezTo>
                <a:cubicBezTo>
                  <a:pt x="1242" y="1712"/>
                  <a:pt x="1249" y="1727"/>
                  <a:pt x="1256" y="1743"/>
                </a:cubicBezTo>
                <a:cubicBezTo>
                  <a:pt x="1259" y="1749"/>
                  <a:pt x="1262" y="1756"/>
                  <a:pt x="1264" y="1762"/>
                </a:cubicBezTo>
                <a:cubicBezTo>
                  <a:pt x="1267" y="1777"/>
                  <a:pt x="1264" y="1792"/>
                  <a:pt x="1261" y="1807"/>
                </a:cubicBezTo>
                <a:close/>
                <a:moveTo>
                  <a:pt x="1529" y="5040"/>
                </a:moveTo>
                <a:lnTo>
                  <a:pt x="1529" y="5040"/>
                </a:lnTo>
                <a:cubicBezTo>
                  <a:pt x="1544" y="5034"/>
                  <a:pt x="1555" y="5029"/>
                  <a:pt x="1558" y="5029"/>
                </a:cubicBezTo>
                <a:cubicBezTo>
                  <a:pt x="1569" y="5029"/>
                  <a:pt x="1560" y="4991"/>
                  <a:pt x="1560" y="4986"/>
                </a:cubicBezTo>
                <a:cubicBezTo>
                  <a:pt x="1560" y="4977"/>
                  <a:pt x="1562" y="4969"/>
                  <a:pt x="1560" y="4960"/>
                </a:cubicBezTo>
                <a:cubicBezTo>
                  <a:pt x="1557" y="4950"/>
                  <a:pt x="1548" y="4942"/>
                  <a:pt x="1546" y="4930"/>
                </a:cubicBezTo>
                <a:cubicBezTo>
                  <a:pt x="1546" y="4924"/>
                  <a:pt x="1547" y="4918"/>
                  <a:pt x="1548" y="4911"/>
                </a:cubicBezTo>
                <a:cubicBezTo>
                  <a:pt x="1550" y="4902"/>
                  <a:pt x="1551" y="4892"/>
                  <a:pt x="1553" y="4882"/>
                </a:cubicBezTo>
                <a:cubicBezTo>
                  <a:pt x="1555" y="4875"/>
                  <a:pt x="1556" y="4866"/>
                  <a:pt x="1555" y="4859"/>
                </a:cubicBezTo>
                <a:cubicBezTo>
                  <a:pt x="1553" y="4849"/>
                  <a:pt x="1545" y="4844"/>
                  <a:pt x="1542" y="4835"/>
                </a:cubicBezTo>
                <a:cubicBezTo>
                  <a:pt x="1538" y="4826"/>
                  <a:pt x="1540" y="4810"/>
                  <a:pt x="1540" y="4800"/>
                </a:cubicBezTo>
                <a:cubicBezTo>
                  <a:pt x="1538" y="4776"/>
                  <a:pt x="1538" y="4750"/>
                  <a:pt x="1537" y="4725"/>
                </a:cubicBezTo>
                <a:cubicBezTo>
                  <a:pt x="1534" y="4504"/>
                  <a:pt x="1417" y="3746"/>
                  <a:pt x="1393" y="3625"/>
                </a:cubicBezTo>
                <a:cubicBezTo>
                  <a:pt x="1368" y="3504"/>
                  <a:pt x="1336" y="3218"/>
                  <a:pt x="1315" y="2921"/>
                </a:cubicBezTo>
                <a:cubicBezTo>
                  <a:pt x="1310" y="2838"/>
                  <a:pt x="1317" y="2738"/>
                  <a:pt x="1302" y="2635"/>
                </a:cubicBezTo>
                <a:cubicBezTo>
                  <a:pt x="1303" y="2640"/>
                  <a:pt x="1303" y="2642"/>
                  <a:pt x="1303" y="2642"/>
                </a:cubicBezTo>
                <a:cubicBezTo>
                  <a:pt x="1303" y="2642"/>
                  <a:pt x="1311" y="2622"/>
                  <a:pt x="1319" y="2596"/>
                </a:cubicBezTo>
                <a:cubicBezTo>
                  <a:pt x="1325" y="2577"/>
                  <a:pt x="1333" y="2513"/>
                  <a:pt x="1336" y="2483"/>
                </a:cubicBezTo>
                <a:cubicBezTo>
                  <a:pt x="1359" y="2491"/>
                  <a:pt x="1380" y="2493"/>
                  <a:pt x="1391" y="2494"/>
                </a:cubicBezTo>
                <a:cubicBezTo>
                  <a:pt x="1395" y="2494"/>
                  <a:pt x="1398" y="2493"/>
                  <a:pt x="1400" y="2490"/>
                </a:cubicBezTo>
                <a:cubicBezTo>
                  <a:pt x="1400" y="2490"/>
                  <a:pt x="1400" y="2490"/>
                  <a:pt x="1401" y="2490"/>
                </a:cubicBezTo>
                <a:cubicBezTo>
                  <a:pt x="1400" y="2490"/>
                  <a:pt x="1400" y="2490"/>
                  <a:pt x="1400" y="2490"/>
                </a:cubicBezTo>
                <a:cubicBezTo>
                  <a:pt x="1401" y="2489"/>
                  <a:pt x="1402" y="2488"/>
                  <a:pt x="1402" y="2486"/>
                </a:cubicBezTo>
                <a:cubicBezTo>
                  <a:pt x="1437" y="2376"/>
                  <a:pt x="1556" y="1719"/>
                  <a:pt x="1550" y="1699"/>
                </a:cubicBezTo>
                <a:cubicBezTo>
                  <a:pt x="1541" y="1634"/>
                  <a:pt x="1381" y="915"/>
                  <a:pt x="1369" y="870"/>
                </a:cubicBezTo>
                <a:cubicBezTo>
                  <a:pt x="1357" y="826"/>
                  <a:pt x="1339" y="836"/>
                  <a:pt x="1339" y="836"/>
                </a:cubicBezTo>
                <a:cubicBezTo>
                  <a:pt x="1306" y="814"/>
                  <a:pt x="1074" y="760"/>
                  <a:pt x="1041" y="754"/>
                </a:cubicBezTo>
                <a:cubicBezTo>
                  <a:pt x="1008" y="748"/>
                  <a:pt x="973" y="718"/>
                  <a:pt x="948" y="699"/>
                </a:cubicBezTo>
                <a:cubicBezTo>
                  <a:pt x="924" y="681"/>
                  <a:pt x="914" y="689"/>
                  <a:pt x="914" y="689"/>
                </a:cubicBezTo>
                <a:cubicBezTo>
                  <a:pt x="906" y="681"/>
                  <a:pt x="905" y="679"/>
                  <a:pt x="901" y="685"/>
                </a:cubicBezTo>
                <a:cubicBezTo>
                  <a:pt x="898" y="664"/>
                  <a:pt x="895" y="592"/>
                  <a:pt x="897" y="589"/>
                </a:cubicBezTo>
                <a:cubicBezTo>
                  <a:pt x="897" y="589"/>
                  <a:pt x="906" y="568"/>
                  <a:pt x="909" y="557"/>
                </a:cubicBezTo>
                <a:cubicBezTo>
                  <a:pt x="912" y="546"/>
                  <a:pt x="914" y="485"/>
                  <a:pt x="914" y="485"/>
                </a:cubicBezTo>
                <a:cubicBezTo>
                  <a:pt x="914" y="485"/>
                  <a:pt x="933" y="486"/>
                  <a:pt x="943" y="451"/>
                </a:cubicBezTo>
                <a:cubicBezTo>
                  <a:pt x="953" y="416"/>
                  <a:pt x="947" y="422"/>
                  <a:pt x="952" y="383"/>
                </a:cubicBezTo>
                <a:cubicBezTo>
                  <a:pt x="957" y="345"/>
                  <a:pt x="950" y="295"/>
                  <a:pt x="914" y="331"/>
                </a:cubicBezTo>
                <a:cubicBezTo>
                  <a:pt x="915" y="320"/>
                  <a:pt x="917" y="301"/>
                  <a:pt x="922" y="250"/>
                </a:cubicBezTo>
                <a:cubicBezTo>
                  <a:pt x="930" y="161"/>
                  <a:pt x="903" y="126"/>
                  <a:pt x="847" y="71"/>
                </a:cubicBezTo>
                <a:cubicBezTo>
                  <a:pt x="789" y="16"/>
                  <a:pt x="670" y="0"/>
                  <a:pt x="602" y="20"/>
                </a:cubicBezTo>
                <a:cubicBezTo>
                  <a:pt x="534" y="41"/>
                  <a:pt x="445" y="135"/>
                  <a:pt x="440" y="186"/>
                </a:cubicBezTo>
                <a:cubicBezTo>
                  <a:pt x="434" y="238"/>
                  <a:pt x="470" y="330"/>
                  <a:pt x="478" y="345"/>
                </a:cubicBezTo>
                <a:cubicBezTo>
                  <a:pt x="479" y="349"/>
                  <a:pt x="483" y="355"/>
                  <a:pt x="487" y="361"/>
                </a:cubicBezTo>
                <a:cubicBezTo>
                  <a:pt x="475" y="353"/>
                  <a:pt x="461" y="351"/>
                  <a:pt x="451" y="366"/>
                </a:cubicBezTo>
                <a:cubicBezTo>
                  <a:pt x="432" y="398"/>
                  <a:pt x="461" y="432"/>
                  <a:pt x="470" y="469"/>
                </a:cubicBezTo>
                <a:cubicBezTo>
                  <a:pt x="479" y="506"/>
                  <a:pt x="508" y="526"/>
                  <a:pt x="531" y="513"/>
                </a:cubicBezTo>
                <a:cubicBezTo>
                  <a:pt x="531" y="513"/>
                  <a:pt x="532" y="583"/>
                  <a:pt x="558" y="610"/>
                </a:cubicBezTo>
                <a:cubicBezTo>
                  <a:pt x="558" y="610"/>
                  <a:pt x="564" y="653"/>
                  <a:pt x="565" y="699"/>
                </a:cubicBezTo>
                <a:cubicBezTo>
                  <a:pt x="565" y="699"/>
                  <a:pt x="549" y="711"/>
                  <a:pt x="536" y="738"/>
                </a:cubicBezTo>
                <a:cubicBezTo>
                  <a:pt x="536" y="735"/>
                  <a:pt x="532" y="738"/>
                  <a:pt x="524" y="751"/>
                </a:cubicBezTo>
                <a:cubicBezTo>
                  <a:pt x="524" y="751"/>
                  <a:pt x="514" y="756"/>
                  <a:pt x="493" y="763"/>
                </a:cubicBezTo>
                <a:cubicBezTo>
                  <a:pt x="472" y="769"/>
                  <a:pt x="210" y="859"/>
                  <a:pt x="189" y="873"/>
                </a:cubicBezTo>
                <a:cubicBezTo>
                  <a:pt x="189" y="873"/>
                  <a:pt x="165" y="865"/>
                  <a:pt x="157" y="903"/>
                </a:cubicBezTo>
                <a:cubicBezTo>
                  <a:pt x="148" y="941"/>
                  <a:pt x="9" y="1665"/>
                  <a:pt x="0" y="1743"/>
                </a:cubicBezTo>
                <a:cubicBezTo>
                  <a:pt x="0" y="1743"/>
                  <a:pt x="62" y="2433"/>
                  <a:pt x="106" y="2500"/>
                </a:cubicBezTo>
                <a:cubicBezTo>
                  <a:pt x="111" y="2513"/>
                  <a:pt x="137" y="2513"/>
                  <a:pt x="151" y="2507"/>
                </a:cubicBezTo>
                <a:cubicBezTo>
                  <a:pt x="151" y="2507"/>
                  <a:pt x="151" y="2506"/>
                  <a:pt x="152" y="2506"/>
                </a:cubicBezTo>
                <a:cubicBezTo>
                  <a:pt x="164" y="2535"/>
                  <a:pt x="188" y="2588"/>
                  <a:pt x="199" y="2601"/>
                </a:cubicBezTo>
                <a:cubicBezTo>
                  <a:pt x="207" y="2609"/>
                  <a:pt x="211" y="2613"/>
                  <a:pt x="213" y="2615"/>
                </a:cubicBezTo>
                <a:cubicBezTo>
                  <a:pt x="214" y="2652"/>
                  <a:pt x="216" y="2686"/>
                  <a:pt x="216" y="2705"/>
                </a:cubicBezTo>
                <a:cubicBezTo>
                  <a:pt x="212" y="2839"/>
                  <a:pt x="309" y="3370"/>
                  <a:pt x="323" y="3518"/>
                </a:cubicBezTo>
                <a:cubicBezTo>
                  <a:pt x="337" y="3666"/>
                  <a:pt x="365" y="4073"/>
                  <a:pt x="376" y="4228"/>
                </a:cubicBezTo>
                <a:cubicBezTo>
                  <a:pt x="388" y="4404"/>
                  <a:pt x="417" y="4580"/>
                  <a:pt x="434" y="4755"/>
                </a:cubicBezTo>
                <a:cubicBezTo>
                  <a:pt x="435" y="4778"/>
                  <a:pt x="446" y="4812"/>
                  <a:pt x="441" y="4834"/>
                </a:cubicBezTo>
                <a:cubicBezTo>
                  <a:pt x="437" y="4849"/>
                  <a:pt x="423" y="4853"/>
                  <a:pt x="429" y="4870"/>
                </a:cubicBezTo>
                <a:cubicBezTo>
                  <a:pt x="433" y="4881"/>
                  <a:pt x="448" y="4887"/>
                  <a:pt x="446" y="4901"/>
                </a:cubicBezTo>
                <a:cubicBezTo>
                  <a:pt x="446" y="4907"/>
                  <a:pt x="442" y="4912"/>
                  <a:pt x="439" y="4917"/>
                </a:cubicBezTo>
                <a:cubicBezTo>
                  <a:pt x="436" y="4923"/>
                  <a:pt x="434" y="4929"/>
                  <a:pt x="437" y="4934"/>
                </a:cubicBezTo>
                <a:cubicBezTo>
                  <a:pt x="438" y="4937"/>
                  <a:pt x="443" y="4937"/>
                  <a:pt x="443" y="4940"/>
                </a:cubicBezTo>
                <a:cubicBezTo>
                  <a:pt x="438" y="4976"/>
                  <a:pt x="441" y="5000"/>
                  <a:pt x="443" y="5025"/>
                </a:cubicBezTo>
                <a:cubicBezTo>
                  <a:pt x="452" y="5031"/>
                  <a:pt x="472" y="5035"/>
                  <a:pt x="498" y="5037"/>
                </a:cubicBezTo>
                <a:cubicBezTo>
                  <a:pt x="485" y="5084"/>
                  <a:pt x="433" y="5143"/>
                  <a:pt x="366" y="5205"/>
                </a:cubicBezTo>
                <a:cubicBezTo>
                  <a:pt x="333" y="5236"/>
                  <a:pt x="272" y="5333"/>
                  <a:pt x="350" y="5367"/>
                </a:cubicBezTo>
                <a:cubicBezTo>
                  <a:pt x="419" y="5382"/>
                  <a:pt x="548" y="5365"/>
                  <a:pt x="599" y="5332"/>
                </a:cubicBezTo>
                <a:cubicBezTo>
                  <a:pt x="649" y="5299"/>
                  <a:pt x="635" y="5260"/>
                  <a:pt x="649" y="5252"/>
                </a:cubicBezTo>
                <a:cubicBezTo>
                  <a:pt x="661" y="5244"/>
                  <a:pt x="757" y="5226"/>
                  <a:pt x="757" y="5202"/>
                </a:cubicBezTo>
                <a:cubicBezTo>
                  <a:pt x="757" y="5179"/>
                  <a:pt x="765" y="5148"/>
                  <a:pt x="757" y="5135"/>
                </a:cubicBezTo>
                <a:cubicBezTo>
                  <a:pt x="749" y="5122"/>
                  <a:pt x="758" y="5107"/>
                  <a:pt x="760" y="5082"/>
                </a:cubicBezTo>
                <a:cubicBezTo>
                  <a:pt x="761" y="5070"/>
                  <a:pt x="756" y="5050"/>
                  <a:pt x="748" y="5031"/>
                </a:cubicBezTo>
                <a:cubicBezTo>
                  <a:pt x="748" y="5030"/>
                  <a:pt x="749" y="5030"/>
                  <a:pt x="750" y="5029"/>
                </a:cubicBezTo>
                <a:cubicBezTo>
                  <a:pt x="762" y="4977"/>
                  <a:pt x="752" y="4923"/>
                  <a:pt x="767" y="4870"/>
                </a:cubicBezTo>
                <a:cubicBezTo>
                  <a:pt x="773" y="4846"/>
                  <a:pt x="764" y="4833"/>
                  <a:pt x="761" y="4811"/>
                </a:cubicBezTo>
                <a:cubicBezTo>
                  <a:pt x="758" y="4791"/>
                  <a:pt x="763" y="4766"/>
                  <a:pt x="764" y="4746"/>
                </a:cubicBezTo>
                <a:cubicBezTo>
                  <a:pt x="766" y="4700"/>
                  <a:pt x="767" y="4653"/>
                  <a:pt x="768" y="4607"/>
                </a:cubicBezTo>
                <a:cubicBezTo>
                  <a:pt x="770" y="4532"/>
                  <a:pt x="766" y="4456"/>
                  <a:pt x="761" y="4381"/>
                </a:cubicBezTo>
                <a:cubicBezTo>
                  <a:pt x="751" y="4226"/>
                  <a:pt x="705" y="3956"/>
                  <a:pt x="708" y="3870"/>
                </a:cubicBezTo>
                <a:cubicBezTo>
                  <a:pt x="712" y="3784"/>
                  <a:pt x="698" y="3694"/>
                  <a:pt x="708" y="3582"/>
                </a:cubicBezTo>
                <a:cubicBezTo>
                  <a:pt x="711" y="3554"/>
                  <a:pt x="716" y="3500"/>
                  <a:pt x="721" y="3434"/>
                </a:cubicBezTo>
                <a:cubicBezTo>
                  <a:pt x="721" y="3434"/>
                  <a:pt x="721" y="3435"/>
                  <a:pt x="722" y="3436"/>
                </a:cubicBezTo>
                <a:cubicBezTo>
                  <a:pt x="735" y="3431"/>
                  <a:pt x="732" y="3370"/>
                  <a:pt x="733" y="3356"/>
                </a:cubicBezTo>
                <a:cubicBezTo>
                  <a:pt x="736" y="3323"/>
                  <a:pt x="738" y="3290"/>
                  <a:pt x="741" y="3258"/>
                </a:cubicBezTo>
                <a:cubicBezTo>
                  <a:pt x="741" y="3235"/>
                  <a:pt x="742" y="3214"/>
                  <a:pt x="743" y="3191"/>
                </a:cubicBezTo>
                <a:cubicBezTo>
                  <a:pt x="755" y="3073"/>
                  <a:pt x="766" y="2966"/>
                  <a:pt x="774" y="2931"/>
                </a:cubicBezTo>
                <a:cubicBezTo>
                  <a:pt x="775" y="2930"/>
                  <a:pt x="776" y="2929"/>
                  <a:pt x="776" y="2927"/>
                </a:cubicBezTo>
                <a:cubicBezTo>
                  <a:pt x="777" y="2925"/>
                  <a:pt x="778" y="2923"/>
                  <a:pt x="778" y="2921"/>
                </a:cubicBezTo>
                <a:cubicBezTo>
                  <a:pt x="800" y="2902"/>
                  <a:pt x="927" y="3359"/>
                  <a:pt x="958" y="3521"/>
                </a:cubicBezTo>
                <a:cubicBezTo>
                  <a:pt x="989" y="3687"/>
                  <a:pt x="1076" y="3944"/>
                  <a:pt x="1104" y="4151"/>
                </a:cubicBezTo>
                <a:cubicBezTo>
                  <a:pt x="1132" y="4358"/>
                  <a:pt x="1192" y="4732"/>
                  <a:pt x="1220" y="4867"/>
                </a:cubicBezTo>
                <a:cubicBezTo>
                  <a:pt x="1223" y="4879"/>
                  <a:pt x="1227" y="4892"/>
                  <a:pt x="1228" y="4904"/>
                </a:cubicBezTo>
                <a:cubicBezTo>
                  <a:pt x="1230" y="4914"/>
                  <a:pt x="1227" y="4925"/>
                  <a:pt x="1229" y="4935"/>
                </a:cubicBezTo>
                <a:cubicBezTo>
                  <a:pt x="1231" y="4943"/>
                  <a:pt x="1238" y="4949"/>
                  <a:pt x="1240" y="4957"/>
                </a:cubicBezTo>
                <a:cubicBezTo>
                  <a:pt x="1245" y="4993"/>
                  <a:pt x="1262" y="5034"/>
                  <a:pt x="1276" y="5071"/>
                </a:cubicBezTo>
                <a:cubicBezTo>
                  <a:pt x="1282" y="5072"/>
                  <a:pt x="1288" y="5073"/>
                  <a:pt x="1293" y="5075"/>
                </a:cubicBezTo>
                <a:cubicBezTo>
                  <a:pt x="1288" y="5096"/>
                  <a:pt x="1291" y="5118"/>
                  <a:pt x="1292" y="5129"/>
                </a:cubicBezTo>
                <a:cubicBezTo>
                  <a:pt x="1293" y="5145"/>
                  <a:pt x="1306" y="5138"/>
                  <a:pt x="1298" y="5145"/>
                </a:cubicBezTo>
                <a:cubicBezTo>
                  <a:pt x="1289" y="5152"/>
                  <a:pt x="1291" y="5219"/>
                  <a:pt x="1298" y="5229"/>
                </a:cubicBezTo>
                <a:cubicBezTo>
                  <a:pt x="1305" y="5239"/>
                  <a:pt x="1336" y="5257"/>
                  <a:pt x="1359" y="5265"/>
                </a:cubicBezTo>
                <a:cubicBezTo>
                  <a:pt x="1382" y="5274"/>
                  <a:pt x="1388" y="5288"/>
                  <a:pt x="1389" y="5309"/>
                </a:cubicBezTo>
                <a:cubicBezTo>
                  <a:pt x="1391" y="5329"/>
                  <a:pt x="1396" y="5334"/>
                  <a:pt x="1447" y="5365"/>
                </a:cubicBezTo>
                <a:cubicBezTo>
                  <a:pt x="1499" y="5396"/>
                  <a:pt x="1624" y="5396"/>
                  <a:pt x="1643" y="5393"/>
                </a:cubicBezTo>
                <a:cubicBezTo>
                  <a:pt x="1662" y="5390"/>
                  <a:pt x="1696" y="5394"/>
                  <a:pt x="1705" y="5340"/>
                </a:cubicBezTo>
                <a:cubicBezTo>
                  <a:pt x="1717" y="5269"/>
                  <a:pt x="1599" y="5161"/>
                  <a:pt x="1564" y="5122"/>
                </a:cubicBezTo>
                <a:cubicBezTo>
                  <a:pt x="1543" y="5101"/>
                  <a:pt x="1533" y="5065"/>
                  <a:pt x="1529" y="5040"/>
                </a:cubicBezTo>
                <a:close/>
              </a:path>
            </a:pathLst>
          </a:custGeom>
          <a:solidFill>
            <a:srgbClr val="086D6E"/>
          </a:solidFill>
          <a:ln>
            <a:noFill/>
          </a:ln>
        </p:spPr>
        <p:txBody>
          <a:bodyPr wrap="none" anchor="ctr"/>
          <a:lstStyle/>
          <a:p>
            <a:pPr algn="l" rtl="0"/>
            <a:endParaRPr lang="en-GB" dirty="0">
              <a:latin typeface="Calibri" panose="020F0502020204030204" pitchFamily="34" charset="0"/>
              <a:cs typeface="Calibri" panose="020F0502020204030204" pitchFamily="34" charset="0"/>
            </a:endParaRPr>
          </a:p>
        </p:txBody>
      </p:sp>
      <p:sp>
        <p:nvSpPr>
          <p:cNvPr id="51" name="Subtitle 2">
            <a:extLst>
              <a:ext uri="{FF2B5EF4-FFF2-40B4-BE49-F238E27FC236}">
                <a16:creationId xmlns:a16="http://schemas.microsoft.com/office/drawing/2014/main" id="{A0327549-CD06-21FD-737B-50A6759EF62C}"/>
              </a:ext>
            </a:extLst>
          </p:cNvPr>
          <p:cNvSpPr txBox="1">
            <a:spLocks/>
          </p:cNvSpPr>
          <p:nvPr/>
        </p:nvSpPr>
        <p:spPr>
          <a:xfrm>
            <a:off x="529758" y="2650964"/>
            <a:ext cx="3549771" cy="355232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55600" indent="-355600" algn="l" rtl="0">
              <a:lnSpc>
                <a:spcPts val="2240"/>
              </a:lnSpc>
              <a:spcBef>
                <a:spcPts val="225"/>
              </a:spcBef>
              <a:buClr>
                <a:srgbClr val="F16924"/>
              </a:buClr>
              <a:buFont typeface="Arial" panose="020B0604020202020204" pitchFamily="34" charset="0"/>
              <a:buChar char="•"/>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Autoconciencia y buen liderazgo como modelo a seguir</a:t>
            </a:r>
          </a:p>
          <a:p>
            <a:pPr marL="355600" indent="-355600" algn="l" rtl="0">
              <a:lnSpc>
                <a:spcPts val="2240"/>
              </a:lnSpc>
              <a:spcBef>
                <a:spcPts val="225"/>
              </a:spcBef>
              <a:buClr>
                <a:srgbClr val="F16924"/>
              </a:buClr>
              <a:buFont typeface="Arial" panose="020B0604020202020204" pitchFamily="34" charset="0"/>
              <a:buChar char="•"/>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Enfrentar y aprender de los errores</a:t>
            </a:r>
          </a:p>
          <a:p>
            <a:pPr marL="355600" indent="-355600" algn="l" rtl="0">
              <a:lnSpc>
                <a:spcPts val="2240"/>
              </a:lnSpc>
              <a:spcBef>
                <a:spcPts val="225"/>
              </a:spcBef>
              <a:buClr>
                <a:srgbClr val="F16924"/>
              </a:buClr>
              <a:buFont typeface="Arial" panose="020B0604020202020204" pitchFamily="34" charset="0"/>
              <a:buChar char="•"/>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Quién sostiene el espejo?</a:t>
            </a:r>
          </a:p>
          <a:p>
            <a:pPr marL="571500" indent="-355600" algn="l" rtl="0">
              <a:lnSpc>
                <a:spcPts val="2240"/>
              </a:lnSpc>
              <a:spcBef>
                <a:spcPts val="225"/>
              </a:spcBef>
              <a:buClr>
                <a:srgbClr val="F16924"/>
              </a:buClr>
              <a:buFont typeface="Wingdings" panose="05000000000000000000" pitchFamily="2" charset="2"/>
              <a:buChar char="à"/>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Riesgo, RRHH, todas las funciones?</a:t>
            </a:r>
            <a:b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b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Eso funciona actualmente?</a:t>
            </a:r>
          </a:p>
          <a:p>
            <a:pPr marL="355600" indent="-355600" algn="l" rtl="0">
              <a:lnSpc>
                <a:spcPts val="2240"/>
              </a:lnSpc>
              <a:spcBef>
                <a:spcPts val="225"/>
              </a:spcBef>
              <a:buClr>
                <a:srgbClr val="F16924"/>
              </a:buClr>
              <a:buFont typeface="Arial" panose="020B0604020202020204" pitchFamily="34" charset="0"/>
              <a:buChar char="•"/>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Garantizar una buena supervisión de la estrategia y el riesgo de las personas</a:t>
            </a:r>
          </a:p>
          <a:p>
            <a:pPr marL="355600" indent="-355600" algn="l" rtl="0">
              <a:lnSpc>
                <a:spcPts val="2240"/>
              </a:lnSpc>
              <a:spcBef>
                <a:spcPts val="225"/>
              </a:spcBef>
              <a:buClr>
                <a:srgbClr val="F16924"/>
              </a:buClr>
              <a:buFont typeface="Arial" panose="020B0604020202020204" pitchFamily="34" charset="0"/>
              <a:buChar char="•"/>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Información y capacidades de las personas en la junta?</a:t>
            </a:r>
          </a:p>
        </p:txBody>
      </p:sp>
    </p:spTree>
    <p:extLst>
      <p:ext uri="{BB962C8B-B14F-4D97-AF65-F5344CB8AC3E}">
        <p14:creationId xmlns:p14="http://schemas.microsoft.com/office/powerpoint/2010/main" val="31581312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409"/>
            <a:ext cx="12192000" cy="296004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3577548" y="386515"/>
            <a:ext cx="8296646" cy="3697221"/>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lnSpc>
                <a:spcPts val="1880"/>
              </a:lnSpc>
            </a:pPr>
            <a:r>
              <a:rPr lang="en-US" dirty="0">
                <a:solidFill>
                  <a:schemeClr val="bg1"/>
                </a:solidFill>
              </a:rPr>
              <a:t>Los líderes necesitan habilidades y competencia para liderar durante las crisis. Proporcionar estabilidad, tranquilidad, confianza y una sensación de control.</a:t>
            </a:r>
            <a:br>
              <a:rPr lang="en-US" dirty="0">
                <a:solidFill>
                  <a:schemeClr val="bg1"/>
                </a:solidFill>
              </a:rPr>
            </a:br>
            <a:endParaRPr lang="en-US" sz="800" dirty="0">
              <a:solidFill>
                <a:schemeClr val="bg1"/>
              </a:solidFill>
            </a:endParaRPr>
          </a:p>
          <a:p>
            <a:pPr marL="12700" indent="-12700" algn="l" rtl="0"/>
            <a:r>
              <a:rPr lang="en-US" i="1" dirty="0">
                <a:solidFill>
                  <a:schemeClr val="bg1"/>
                </a:solidFill>
              </a:rPr>
              <a:t>“…los tiempos difíciles no crearán líderes… te muestran qué tipo de líderes ya tienes”.</a:t>
            </a:r>
            <a:r>
              <a:rPr lang="en-US" b="1" dirty="0">
                <a:solidFill>
                  <a:schemeClr val="bg1"/>
                </a:solidFill>
              </a:rPr>
              <a:t>larry barton</a:t>
            </a:r>
          </a:p>
          <a:p>
            <a:pPr marL="12700" indent="-12700" algn="l" rtl="0">
              <a:lnSpc>
                <a:spcPts val="1880"/>
              </a:lnSpc>
            </a:pPr>
            <a:endParaRPr lang="en-US" sz="2400" dirty="0">
              <a:solidFill>
                <a:schemeClr val="bg1"/>
              </a:solidFill>
            </a:endParaRPr>
          </a:p>
          <a:p>
            <a:pPr marL="12700" indent="-12700" algn="l" rtl="0"/>
            <a:r>
              <a:rPr lang="en-US" dirty="0">
                <a:solidFill>
                  <a:schemeClr val="bg1"/>
                </a:solidFill>
              </a:rPr>
              <a:t>Desarrollar tanto sus habilidades de liderazgo como sus habilidades de gestión es fundamental para su éxito en una crisis.</a:t>
            </a:r>
          </a:p>
          <a:p>
            <a:pPr marL="12700" indent="-12700" algn="l" rtl="0"/>
            <a:endParaRPr lang="en-US" dirty="0">
              <a:solidFill>
                <a:schemeClr val="bg1"/>
              </a:solidFill>
            </a:endParaRPr>
          </a:p>
          <a:p>
            <a:pPr marL="12700" indent="-12700" algn="l" rtl="0"/>
            <a:endParaRPr lang="en-US" dirty="0">
              <a:solidFill>
                <a:schemeClr val="bg1"/>
              </a:solidFill>
            </a:endParaRPr>
          </a:p>
          <a:p>
            <a:pPr marL="12700" indent="-12700" algn="l" rtl="0"/>
            <a:endParaRPr lang="en-US" dirty="0">
              <a:solidFill>
                <a:schemeClr val="bg1"/>
              </a:solidFill>
            </a:endParaRPr>
          </a:p>
          <a:p>
            <a:pPr marL="12700" indent="-12700" algn="l" rtl="0"/>
            <a:endParaRPr lang="en-US" dirty="0">
              <a:solidFill>
                <a:schemeClr val="bg1"/>
              </a:solidFill>
            </a:endParaRP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28209" y="344177"/>
            <a:ext cx="2773241" cy="353402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Principios rectores para el liderazgo en crisis</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2131450" y="1514177"/>
            <a:ext cx="2376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39" name="TextBox 32">
            <a:extLst>
              <a:ext uri="{FF2B5EF4-FFF2-40B4-BE49-F238E27FC236}">
                <a16:creationId xmlns:a16="http://schemas.microsoft.com/office/drawing/2014/main" id="{341ADAB7-2377-352A-EA89-E3D9C21F2E0A}"/>
              </a:ext>
            </a:extLst>
          </p:cNvPr>
          <p:cNvSpPr txBox="1"/>
          <p:nvPr/>
        </p:nvSpPr>
        <p:spPr>
          <a:xfrm>
            <a:off x="450994" y="3242185"/>
            <a:ext cx="3686622" cy="3174010"/>
          </a:xfrm>
          <a:prstGeom prst="rect">
            <a:avLst/>
          </a:prstGeom>
          <a:noFill/>
        </p:spPr>
        <p:txBody>
          <a:bodyPr wrap="square" rtlCol="0" anchor="b" anchorCtr="0">
            <a:spAutoFit/>
          </a:bodyPr>
          <a:lstStyle/>
          <a:p>
            <a:pPr marL="363538" indent="-363538" algn="l" rtl="0">
              <a:lnSpc>
                <a:spcPts val="2240"/>
              </a:lnSpc>
            </a:pPr>
            <a:r>
              <a:rPr lang="en-GB" sz="2200" b="1" dirty="0">
                <a:solidFill>
                  <a:srgbClr val="EDA13E"/>
                </a:solidFill>
                <a:ea typeface="League Spartan" charset="0"/>
                <a:cs typeface="Poppins" pitchFamily="2" charset="77"/>
              </a:rPr>
              <a:t>01 Comunicación transparente</a:t>
            </a:r>
          </a:p>
          <a:p>
            <a:pPr marL="363538" indent="-363538" algn="l" rtl="0">
              <a:lnSpc>
                <a:spcPts val="2140"/>
              </a:lnSpc>
            </a:pPr>
            <a:r>
              <a:rPr lang="en-GB" sz="2200" dirty="0">
                <a:solidFill>
                  <a:srgbClr val="595959"/>
                </a:solidFill>
                <a:ea typeface="Lato Light" panose="020F0502020204030203" pitchFamily="34" charset="0"/>
                <a:cs typeface="Mukta ExtraLight" panose="020B0000000000000000" pitchFamily="34" charset="77"/>
              </a:rPr>
              <a:t> </a:t>
            </a:r>
            <a:r>
              <a:rPr lang="en-GB" sz="2000" dirty="0">
                <a:solidFill>
                  <a:srgbClr val="595959"/>
                </a:solidFill>
                <a:ea typeface="Lato Light" panose="020F0502020204030203" pitchFamily="34" charset="0"/>
                <a:cs typeface="Mukta ExtraLight" panose="020B0000000000000000" pitchFamily="34" charset="77"/>
              </a:rPr>
              <a:t>Comprometerse con una comunicación interna y externa transparente y coherente</a:t>
            </a:r>
          </a:p>
          <a:p>
            <a:pPr marL="363538" indent="-363538" algn="l" rtl="0">
              <a:lnSpc>
                <a:spcPts val="2240"/>
              </a:lnSpc>
            </a:pPr>
            <a:endParaRPr lang="en-GB" sz="2200" dirty="0">
              <a:solidFill>
                <a:srgbClr val="595959"/>
              </a:solidFill>
              <a:ea typeface="Lato Light" panose="020F0502020204030203" pitchFamily="34" charset="0"/>
              <a:cs typeface="Mukta ExtraLight" panose="020B0000000000000000" pitchFamily="34" charset="77"/>
            </a:endParaRPr>
          </a:p>
          <a:p>
            <a:pPr marL="363538" indent="-363538" algn="l" rtl="0">
              <a:lnSpc>
                <a:spcPts val="2240"/>
              </a:lnSpc>
            </a:pPr>
            <a:r>
              <a:rPr lang="en-GB" sz="2200" b="1" dirty="0">
                <a:solidFill>
                  <a:srgbClr val="B41F7A"/>
                </a:solidFill>
                <a:ea typeface="League Spartan" charset="0"/>
                <a:cs typeface="Poppins" pitchFamily="2" charset="77"/>
              </a:rPr>
              <a:t>02 Comunicación rápida</a:t>
            </a:r>
          </a:p>
          <a:p>
            <a:pPr marL="363538" indent="-363538" algn="l" rtl="0">
              <a:lnSpc>
                <a:spcPts val="2140"/>
              </a:lnSpc>
            </a:pPr>
            <a:r>
              <a:rPr lang="en-GB" sz="2200" dirty="0">
                <a:solidFill>
                  <a:srgbClr val="595959"/>
                </a:solidFill>
                <a:ea typeface="Lato Light" panose="020F0502020204030203" pitchFamily="34" charset="0"/>
                <a:cs typeface="Mukta ExtraLight" panose="020B0000000000000000" pitchFamily="34" charset="77"/>
              </a:rPr>
              <a:t> </a:t>
            </a:r>
            <a:r>
              <a:rPr lang="en-GB" sz="2000" dirty="0">
                <a:solidFill>
                  <a:srgbClr val="595959"/>
                </a:solidFill>
                <a:ea typeface="Lato Light" panose="020F0502020204030203" pitchFamily="34" charset="0"/>
                <a:cs typeface="Mukta ExtraLight" panose="020B0000000000000000" pitchFamily="34" charset="77"/>
              </a:rPr>
              <a:t>Proporcionar una comunicación rápida y proactiva.</a:t>
            </a:r>
            <a:endParaRPr lang="en-GB" sz="2000" b="1" dirty="0">
              <a:solidFill>
                <a:srgbClr val="B41F7A"/>
              </a:solidFill>
              <a:ea typeface="League Spartan" charset="0"/>
              <a:cs typeface="Poppins" pitchFamily="2" charset="77"/>
            </a:endParaRPr>
          </a:p>
          <a:p>
            <a:pPr marL="363538" indent="-363538" algn="l" rtl="0">
              <a:lnSpc>
                <a:spcPts val="2240"/>
              </a:lnSpc>
            </a:pPr>
            <a:endParaRPr lang="en-GB" sz="2200" dirty="0">
              <a:solidFill>
                <a:srgbClr val="595959"/>
              </a:solidFill>
              <a:ea typeface="Lato Light" panose="020F0502020204030203" pitchFamily="34" charset="0"/>
              <a:cs typeface="Mukta ExtraLight" panose="020B0000000000000000" pitchFamily="34" charset="77"/>
            </a:endParaRPr>
          </a:p>
          <a:p>
            <a:pPr marL="363538" indent="-363538" algn="l" rtl="0">
              <a:lnSpc>
                <a:spcPts val="2240"/>
              </a:lnSpc>
            </a:pPr>
            <a:endParaRPr lang="en-GB" sz="2200" b="1" dirty="0">
              <a:solidFill>
                <a:srgbClr val="EDA13E"/>
              </a:solidFill>
              <a:ea typeface="League Spartan" charset="0"/>
              <a:cs typeface="Poppins" pitchFamily="2" charset="77"/>
            </a:endParaRPr>
          </a:p>
        </p:txBody>
      </p:sp>
      <p:grpSp>
        <p:nvGrpSpPr>
          <p:cNvPr id="59" name="Group 58">
            <a:extLst>
              <a:ext uri="{FF2B5EF4-FFF2-40B4-BE49-F238E27FC236}">
                <a16:creationId xmlns:a16="http://schemas.microsoft.com/office/drawing/2014/main" id="{2DCEBB92-F1BD-4549-C3B7-DDA25C778E5C}"/>
              </a:ext>
            </a:extLst>
          </p:cNvPr>
          <p:cNvGrpSpPr/>
          <p:nvPr/>
        </p:nvGrpSpPr>
        <p:grpSpPr>
          <a:xfrm>
            <a:off x="4014974" y="3377184"/>
            <a:ext cx="3749639" cy="3150624"/>
            <a:chOff x="3803271" y="3341058"/>
            <a:chExt cx="3749639" cy="3150624"/>
          </a:xfrm>
        </p:grpSpPr>
        <p:grpSp>
          <p:nvGrpSpPr>
            <p:cNvPr id="15" name="Group 7">
              <a:extLst>
                <a:ext uri="{FF2B5EF4-FFF2-40B4-BE49-F238E27FC236}">
                  <a16:creationId xmlns:a16="http://schemas.microsoft.com/office/drawing/2014/main" id="{98C825ED-6E38-D1AF-BB6A-B3492AD02365}"/>
                </a:ext>
              </a:extLst>
            </p:cNvPr>
            <p:cNvGrpSpPr/>
            <p:nvPr/>
          </p:nvGrpSpPr>
          <p:grpSpPr>
            <a:xfrm>
              <a:off x="3803271" y="3341058"/>
              <a:ext cx="3749639" cy="3150624"/>
              <a:chOff x="5328980" y="1762088"/>
              <a:chExt cx="10943202" cy="9194996"/>
            </a:xfrm>
          </p:grpSpPr>
          <p:grpSp>
            <p:nvGrpSpPr>
              <p:cNvPr id="16" name="Group 5">
                <a:extLst>
                  <a:ext uri="{FF2B5EF4-FFF2-40B4-BE49-F238E27FC236}">
                    <a16:creationId xmlns:a16="http://schemas.microsoft.com/office/drawing/2014/main" id="{35DF0946-400A-A4EE-7E22-8F35662CB36B}"/>
                  </a:ext>
                </a:extLst>
              </p:cNvPr>
              <p:cNvGrpSpPr/>
              <p:nvPr/>
            </p:nvGrpSpPr>
            <p:grpSpPr>
              <a:xfrm>
                <a:off x="7521484" y="5751094"/>
                <a:ext cx="4377764" cy="3211487"/>
                <a:chOff x="12193146" y="2562030"/>
                <a:chExt cx="5221988" cy="3830802"/>
              </a:xfrm>
            </p:grpSpPr>
            <p:sp>
              <p:nvSpPr>
                <p:cNvPr id="36" name="Freeform 1">
                  <a:extLst>
                    <a:ext uri="{FF2B5EF4-FFF2-40B4-BE49-F238E27FC236}">
                      <a16:creationId xmlns:a16="http://schemas.microsoft.com/office/drawing/2014/main" id="{CA340AD7-F76D-A2FE-87E0-19E7783E4442}"/>
                    </a:ext>
                  </a:extLst>
                </p:cNvPr>
                <p:cNvSpPr>
                  <a:spLocks noChangeArrowheads="1"/>
                </p:cNvSpPr>
                <p:nvPr/>
              </p:nvSpPr>
              <p:spPr bwMode="auto">
                <a:xfrm>
                  <a:off x="12193146" y="2562030"/>
                  <a:ext cx="5216227" cy="2906224"/>
                </a:xfrm>
                <a:custGeom>
                  <a:avLst/>
                  <a:gdLst>
                    <a:gd name="T0" fmla="*/ 4014 w 7985"/>
                    <a:gd name="T1" fmla="*/ 0 h 4451"/>
                    <a:gd name="T2" fmla="*/ 7984 w 7985"/>
                    <a:gd name="T3" fmla="*/ 2220 h 4451"/>
                    <a:gd name="T4" fmla="*/ 3971 w 7985"/>
                    <a:gd name="T5" fmla="*/ 4450 h 4451"/>
                    <a:gd name="T6" fmla="*/ 0 w 7985"/>
                    <a:gd name="T7" fmla="*/ 2229 h 4451"/>
                    <a:gd name="T8" fmla="*/ 4014 w 7985"/>
                    <a:gd name="T9" fmla="*/ 0 h 4451"/>
                  </a:gdLst>
                  <a:ahLst/>
                  <a:cxnLst>
                    <a:cxn ang="0">
                      <a:pos x="T0" y="T1"/>
                    </a:cxn>
                    <a:cxn ang="0">
                      <a:pos x="T2" y="T3"/>
                    </a:cxn>
                    <a:cxn ang="0">
                      <a:pos x="T4" y="T5"/>
                    </a:cxn>
                    <a:cxn ang="0">
                      <a:pos x="T6" y="T7"/>
                    </a:cxn>
                    <a:cxn ang="0">
                      <a:pos x="T8" y="T9"/>
                    </a:cxn>
                  </a:cxnLst>
                  <a:rect l="0" t="0" r="r" b="b"/>
                  <a:pathLst>
                    <a:path w="7985" h="4451">
                      <a:moveTo>
                        <a:pt x="4014" y="0"/>
                      </a:moveTo>
                      <a:lnTo>
                        <a:pt x="7984" y="2220"/>
                      </a:lnTo>
                      <a:lnTo>
                        <a:pt x="3971" y="4450"/>
                      </a:lnTo>
                      <a:lnTo>
                        <a:pt x="0" y="2229"/>
                      </a:lnTo>
                      <a:lnTo>
                        <a:pt x="4014" y="0"/>
                      </a:lnTo>
                    </a:path>
                  </a:pathLst>
                </a:custGeom>
                <a:solidFill>
                  <a:srgbClr val="F16924"/>
                </a:solidFill>
                <a:ln>
                  <a:noFill/>
                </a:ln>
                <a:effectLst/>
              </p:spPr>
              <p:txBody>
                <a:bodyPr wrap="none" anchor="ctr"/>
                <a:lstStyle/>
                <a:p>
                  <a:pPr algn="l" rtl="0"/>
                  <a:endParaRPr lang="en-GB" sz="1400" dirty="0">
                    <a:solidFill>
                      <a:srgbClr val="595959"/>
                    </a:solidFill>
                    <a:latin typeface="+mj-lt"/>
                  </a:endParaRPr>
                </a:p>
              </p:txBody>
            </p:sp>
            <p:sp>
              <p:nvSpPr>
                <p:cNvPr id="37" name="Freeform 2">
                  <a:extLst>
                    <a:ext uri="{FF2B5EF4-FFF2-40B4-BE49-F238E27FC236}">
                      <a16:creationId xmlns:a16="http://schemas.microsoft.com/office/drawing/2014/main" id="{E303FD76-0ADE-517E-08A4-9587C56C42D8}"/>
                    </a:ext>
                  </a:extLst>
                </p:cNvPr>
                <p:cNvSpPr>
                  <a:spLocks noChangeArrowheads="1"/>
                </p:cNvSpPr>
                <p:nvPr/>
              </p:nvSpPr>
              <p:spPr bwMode="auto">
                <a:xfrm>
                  <a:off x="14788298" y="4013702"/>
                  <a:ext cx="2626836" cy="2379130"/>
                </a:xfrm>
                <a:custGeom>
                  <a:avLst/>
                  <a:gdLst>
                    <a:gd name="T0" fmla="*/ 4013 w 4023"/>
                    <a:gd name="T1" fmla="*/ 0 h 3644"/>
                    <a:gd name="T2" fmla="*/ 4022 w 4023"/>
                    <a:gd name="T3" fmla="*/ 1414 h 3644"/>
                    <a:gd name="T4" fmla="*/ 9 w 4023"/>
                    <a:gd name="T5" fmla="*/ 3643 h 3644"/>
                    <a:gd name="T6" fmla="*/ 0 w 4023"/>
                    <a:gd name="T7" fmla="*/ 2230 h 3644"/>
                    <a:gd name="T8" fmla="*/ 4013 w 4023"/>
                    <a:gd name="T9" fmla="*/ 0 h 3644"/>
                  </a:gdLst>
                  <a:ahLst/>
                  <a:cxnLst>
                    <a:cxn ang="0">
                      <a:pos x="T0" y="T1"/>
                    </a:cxn>
                    <a:cxn ang="0">
                      <a:pos x="T2" y="T3"/>
                    </a:cxn>
                    <a:cxn ang="0">
                      <a:pos x="T4" y="T5"/>
                    </a:cxn>
                    <a:cxn ang="0">
                      <a:pos x="T6" y="T7"/>
                    </a:cxn>
                    <a:cxn ang="0">
                      <a:pos x="T8" y="T9"/>
                    </a:cxn>
                  </a:cxnLst>
                  <a:rect l="0" t="0" r="r" b="b"/>
                  <a:pathLst>
                    <a:path w="4023" h="3644">
                      <a:moveTo>
                        <a:pt x="4013" y="0"/>
                      </a:moveTo>
                      <a:lnTo>
                        <a:pt x="4022" y="1414"/>
                      </a:lnTo>
                      <a:lnTo>
                        <a:pt x="9" y="3643"/>
                      </a:lnTo>
                      <a:lnTo>
                        <a:pt x="0" y="2230"/>
                      </a:lnTo>
                      <a:lnTo>
                        <a:pt x="4013" y="0"/>
                      </a:lnTo>
                    </a:path>
                  </a:pathLst>
                </a:custGeom>
                <a:solidFill>
                  <a:srgbClr val="C44F00"/>
                </a:solidFill>
                <a:ln>
                  <a:noFill/>
                </a:ln>
                <a:effectLst/>
              </p:spPr>
              <p:txBody>
                <a:bodyPr wrap="none" anchor="ctr"/>
                <a:lstStyle/>
                <a:p>
                  <a:pPr algn="l" rtl="0"/>
                  <a:endParaRPr lang="en-GB" sz="1400" dirty="0">
                    <a:solidFill>
                      <a:srgbClr val="595959"/>
                    </a:solidFill>
                    <a:latin typeface="+mj-lt"/>
                  </a:endParaRPr>
                </a:p>
              </p:txBody>
            </p:sp>
            <p:sp>
              <p:nvSpPr>
                <p:cNvPr id="38" name="Freeform 3">
                  <a:extLst>
                    <a:ext uri="{FF2B5EF4-FFF2-40B4-BE49-F238E27FC236}">
                      <a16:creationId xmlns:a16="http://schemas.microsoft.com/office/drawing/2014/main" id="{E2E228E6-B6F4-91FE-CFBB-735E2638374D}"/>
                    </a:ext>
                  </a:extLst>
                </p:cNvPr>
                <p:cNvSpPr>
                  <a:spLocks noChangeArrowheads="1"/>
                </p:cNvSpPr>
                <p:nvPr/>
              </p:nvSpPr>
              <p:spPr bwMode="auto">
                <a:xfrm>
                  <a:off x="12193146" y="4019462"/>
                  <a:ext cx="2600912" cy="2373369"/>
                </a:xfrm>
                <a:custGeom>
                  <a:avLst/>
                  <a:gdLst>
                    <a:gd name="T0" fmla="*/ 3971 w 3981"/>
                    <a:gd name="T1" fmla="*/ 2221 h 3635"/>
                    <a:gd name="T2" fmla="*/ 3980 w 3981"/>
                    <a:gd name="T3" fmla="*/ 3634 h 3635"/>
                    <a:gd name="T4" fmla="*/ 8 w 3981"/>
                    <a:gd name="T5" fmla="*/ 1414 h 3635"/>
                    <a:gd name="T6" fmla="*/ 0 w 3981"/>
                    <a:gd name="T7" fmla="*/ 0 h 3635"/>
                    <a:gd name="T8" fmla="*/ 3971 w 3981"/>
                    <a:gd name="T9" fmla="*/ 2221 h 3635"/>
                  </a:gdLst>
                  <a:ahLst/>
                  <a:cxnLst>
                    <a:cxn ang="0">
                      <a:pos x="T0" y="T1"/>
                    </a:cxn>
                    <a:cxn ang="0">
                      <a:pos x="T2" y="T3"/>
                    </a:cxn>
                    <a:cxn ang="0">
                      <a:pos x="T4" y="T5"/>
                    </a:cxn>
                    <a:cxn ang="0">
                      <a:pos x="T6" y="T7"/>
                    </a:cxn>
                    <a:cxn ang="0">
                      <a:pos x="T8" y="T9"/>
                    </a:cxn>
                  </a:cxnLst>
                  <a:rect l="0" t="0" r="r" b="b"/>
                  <a:pathLst>
                    <a:path w="3981" h="3635">
                      <a:moveTo>
                        <a:pt x="3971" y="2221"/>
                      </a:moveTo>
                      <a:lnTo>
                        <a:pt x="3980" y="3634"/>
                      </a:lnTo>
                      <a:lnTo>
                        <a:pt x="8" y="1414"/>
                      </a:lnTo>
                      <a:lnTo>
                        <a:pt x="0" y="0"/>
                      </a:lnTo>
                      <a:lnTo>
                        <a:pt x="3971" y="2221"/>
                      </a:lnTo>
                    </a:path>
                  </a:pathLst>
                </a:custGeom>
                <a:solidFill>
                  <a:srgbClr val="C44F00"/>
                </a:solidFill>
                <a:ln>
                  <a:noFill/>
                </a:ln>
                <a:effectLst/>
              </p:spPr>
              <p:txBody>
                <a:bodyPr wrap="none" anchor="ctr"/>
                <a:lstStyle/>
                <a:p>
                  <a:pPr algn="l" rtl="0"/>
                  <a:endParaRPr lang="en-GB" sz="1400" dirty="0">
                    <a:solidFill>
                      <a:srgbClr val="595959"/>
                    </a:solidFill>
                    <a:latin typeface="+mj-lt"/>
                  </a:endParaRPr>
                </a:p>
              </p:txBody>
            </p:sp>
          </p:grpSp>
          <p:grpSp>
            <p:nvGrpSpPr>
              <p:cNvPr id="17" name="Group 4">
                <a:extLst>
                  <a:ext uri="{FF2B5EF4-FFF2-40B4-BE49-F238E27FC236}">
                    <a16:creationId xmlns:a16="http://schemas.microsoft.com/office/drawing/2014/main" id="{36F204DE-C484-9AA2-5B09-A2870E3837D9}"/>
                  </a:ext>
                </a:extLst>
              </p:cNvPr>
              <p:cNvGrpSpPr/>
              <p:nvPr/>
            </p:nvGrpSpPr>
            <p:grpSpPr>
              <a:xfrm>
                <a:off x="5328980" y="7745597"/>
                <a:ext cx="4377764" cy="3211487"/>
                <a:chOff x="9577832" y="4941160"/>
                <a:chExt cx="5221988" cy="3830802"/>
              </a:xfrm>
            </p:grpSpPr>
            <p:sp>
              <p:nvSpPr>
                <p:cNvPr id="33" name="Freeform 4">
                  <a:extLst>
                    <a:ext uri="{FF2B5EF4-FFF2-40B4-BE49-F238E27FC236}">
                      <a16:creationId xmlns:a16="http://schemas.microsoft.com/office/drawing/2014/main" id="{722A5040-0161-869E-D5D7-CB04F6D83078}"/>
                    </a:ext>
                  </a:extLst>
                </p:cNvPr>
                <p:cNvSpPr>
                  <a:spLocks noChangeArrowheads="1"/>
                </p:cNvSpPr>
                <p:nvPr/>
              </p:nvSpPr>
              <p:spPr bwMode="auto">
                <a:xfrm>
                  <a:off x="9577832" y="4941160"/>
                  <a:ext cx="5216227" cy="2906224"/>
                </a:xfrm>
                <a:custGeom>
                  <a:avLst/>
                  <a:gdLst>
                    <a:gd name="T0" fmla="*/ 4013 w 7986"/>
                    <a:gd name="T1" fmla="*/ 0 h 4450"/>
                    <a:gd name="T2" fmla="*/ 7985 w 7986"/>
                    <a:gd name="T3" fmla="*/ 2221 h 4450"/>
                    <a:gd name="T4" fmla="*/ 3970 w 7986"/>
                    <a:gd name="T5" fmla="*/ 4449 h 4450"/>
                    <a:gd name="T6" fmla="*/ 0 w 7986"/>
                    <a:gd name="T7" fmla="*/ 2229 h 4450"/>
                    <a:gd name="T8" fmla="*/ 4013 w 7986"/>
                    <a:gd name="T9" fmla="*/ 0 h 4450"/>
                  </a:gdLst>
                  <a:ahLst/>
                  <a:cxnLst>
                    <a:cxn ang="0">
                      <a:pos x="T0" y="T1"/>
                    </a:cxn>
                    <a:cxn ang="0">
                      <a:pos x="T2" y="T3"/>
                    </a:cxn>
                    <a:cxn ang="0">
                      <a:pos x="T4" y="T5"/>
                    </a:cxn>
                    <a:cxn ang="0">
                      <a:pos x="T6" y="T7"/>
                    </a:cxn>
                    <a:cxn ang="0">
                      <a:pos x="T8" y="T9"/>
                    </a:cxn>
                  </a:cxnLst>
                  <a:rect l="0" t="0" r="r" b="b"/>
                  <a:pathLst>
                    <a:path w="7986" h="4450">
                      <a:moveTo>
                        <a:pt x="4013" y="0"/>
                      </a:moveTo>
                      <a:lnTo>
                        <a:pt x="7985" y="2221"/>
                      </a:lnTo>
                      <a:lnTo>
                        <a:pt x="3970" y="4449"/>
                      </a:lnTo>
                      <a:lnTo>
                        <a:pt x="0" y="2229"/>
                      </a:lnTo>
                      <a:lnTo>
                        <a:pt x="4013" y="0"/>
                      </a:lnTo>
                    </a:path>
                  </a:pathLst>
                </a:custGeom>
                <a:solidFill>
                  <a:srgbClr val="7F1C58"/>
                </a:solidFill>
                <a:ln>
                  <a:noFill/>
                </a:ln>
                <a:effectLst/>
              </p:spPr>
              <p:txBody>
                <a:bodyPr wrap="none" anchor="ctr"/>
                <a:lstStyle/>
                <a:p>
                  <a:pPr algn="l" rtl="0"/>
                  <a:endParaRPr lang="en-GB" sz="1400" dirty="0">
                    <a:solidFill>
                      <a:srgbClr val="595959"/>
                    </a:solidFill>
                    <a:latin typeface="+mj-lt"/>
                  </a:endParaRPr>
                </a:p>
              </p:txBody>
            </p:sp>
            <p:sp>
              <p:nvSpPr>
                <p:cNvPr id="34" name="Freeform 5">
                  <a:extLst>
                    <a:ext uri="{FF2B5EF4-FFF2-40B4-BE49-F238E27FC236}">
                      <a16:creationId xmlns:a16="http://schemas.microsoft.com/office/drawing/2014/main" id="{ACBEFBF7-6B9E-05D0-4A78-9F6C164A368D}"/>
                    </a:ext>
                  </a:extLst>
                </p:cNvPr>
                <p:cNvSpPr>
                  <a:spLocks noChangeArrowheads="1"/>
                </p:cNvSpPr>
                <p:nvPr/>
              </p:nvSpPr>
              <p:spPr bwMode="auto">
                <a:xfrm>
                  <a:off x="12170105" y="6392832"/>
                  <a:ext cx="2629715" cy="2379130"/>
                </a:xfrm>
                <a:custGeom>
                  <a:avLst/>
                  <a:gdLst>
                    <a:gd name="T0" fmla="*/ 4015 w 4024"/>
                    <a:gd name="T1" fmla="*/ 0 h 3643"/>
                    <a:gd name="T2" fmla="*/ 4023 w 4024"/>
                    <a:gd name="T3" fmla="*/ 1412 h 3643"/>
                    <a:gd name="T4" fmla="*/ 9 w 4024"/>
                    <a:gd name="T5" fmla="*/ 3642 h 3643"/>
                    <a:gd name="T6" fmla="*/ 0 w 4024"/>
                    <a:gd name="T7" fmla="*/ 2228 h 3643"/>
                    <a:gd name="T8" fmla="*/ 4015 w 4024"/>
                    <a:gd name="T9" fmla="*/ 0 h 3643"/>
                  </a:gdLst>
                  <a:ahLst/>
                  <a:cxnLst>
                    <a:cxn ang="0">
                      <a:pos x="T0" y="T1"/>
                    </a:cxn>
                    <a:cxn ang="0">
                      <a:pos x="T2" y="T3"/>
                    </a:cxn>
                    <a:cxn ang="0">
                      <a:pos x="T4" y="T5"/>
                    </a:cxn>
                    <a:cxn ang="0">
                      <a:pos x="T6" y="T7"/>
                    </a:cxn>
                    <a:cxn ang="0">
                      <a:pos x="T8" y="T9"/>
                    </a:cxn>
                  </a:cxnLst>
                  <a:rect l="0" t="0" r="r" b="b"/>
                  <a:pathLst>
                    <a:path w="4024" h="3643">
                      <a:moveTo>
                        <a:pt x="4015" y="0"/>
                      </a:moveTo>
                      <a:lnTo>
                        <a:pt x="4023" y="1412"/>
                      </a:lnTo>
                      <a:lnTo>
                        <a:pt x="9" y="3642"/>
                      </a:lnTo>
                      <a:lnTo>
                        <a:pt x="0" y="2228"/>
                      </a:lnTo>
                      <a:lnTo>
                        <a:pt x="4015" y="0"/>
                      </a:lnTo>
                    </a:path>
                  </a:pathLst>
                </a:custGeom>
                <a:solidFill>
                  <a:srgbClr val="571D58"/>
                </a:solidFill>
                <a:ln>
                  <a:noFill/>
                </a:ln>
                <a:effectLst/>
              </p:spPr>
              <p:txBody>
                <a:bodyPr wrap="none" anchor="ctr"/>
                <a:lstStyle/>
                <a:p>
                  <a:pPr algn="l" rtl="0"/>
                  <a:endParaRPr lang="en-GB" sz="1400" dirty="0">
                    <a:solidFill>
                      <a:srgbClr val="595959"/>
                    </a:solidFill>
                    <a:latin typeface="+mj-lt"/>
                  </a:endParaRPr>
                </a:p>
              </p:txBody>
            </p:sp>
            <p:sp>
              <p:nvSpPr>
                <p:cNvPr id="35" name="Freeform 6">
                  <a:extLst>
                    <a:ext uri="{FF2B5EF4-FFF2-40B4-BE49-F238E27FC236}">
                      <a16:creationId xmlns:a16="http://schemas.microsoft.com/office/drawing/2014/main" id="{29889CA0-B02E-F38A-BBF0-1B7F6854E0F8}"/>
                    </a:ext>
                  </a:extLst>
                </p:cNvPr>
                <p:cNvSpPr>
                  <a:spLocks noChangeArrowheads="1"/>
                </p:cNvSpPr>
                <p:nvPr/>
              </p:nvSpPr>
              <p:spPr bwMode="auto">
                <a:xfrm>
                  <a:off x="9577832" y="6398592"/>
                  <a:ext cx="2600912" cy="2373369"/>
                </a:xfrm>
                <a:custGeom>
                  <a:avLst/>
                  <a:gdLst>
                    <a:gd name="T0" fmla="*/ 3970 w 3980"/>
                    <a:gd name="T1" fmla="*/ 2220 h 3635"/>
                    <a:gd name="T2" fmla="*/ 3979 w 3980"/>
                    <a:gd name="T3" fmla="*/ 3634 h 3635"/>
                    <a:gd name="T4" fmla="*/ 9 w 3980"/>
                    <a:gd name="T5" fmla="*/ 1414 h 3635"/>
                    <a:gd name="T6" fmla="*/ 0 w 3980"/>
                    <a:gd name="T7" fmla="*/ 0 h 3635"/>
                    <a:gd name="T8" fmla="*/ 3970 w 3980"/>
                    <a:gd name="T9" fmla="*/ 2220 h 3635"/>
                  </a:gdLst>
                  <a:ahLst/>
                  <a:cxnLst>
                    <a:cxn ang="0">
                      <a:pos x="T0" y="T1"/>
                    </a:cxn>
                    <a:cxn ang="0">
                      <a:pos x="T2" y="T3"/>
                    </a:cxn>
                    <a:cxn ang="0">
                      <a:pos x="T4" y="T5"/>
                    </a:cxn>
                    <a:cxn ang="0">
                      <a:pos x="T6" y="T7"/>
                    </a:cxn>
                    <a:cxn ang="0">
                      <a:pos x="T8" y="T9"/>
                    </a:cxn>
                  </a:cxnLst>
                  <a:rect l="0" t="0" r="r" b="b"/>
                  <a:pathLst>
                    <a:path w="3980" h="3635">
                      <a:moveTo>
                        <a:pt x="3970" y="2220"/>
                      </a:moveTo>
                      <a:lnTo>
                        <a:pt x="3979" y="3634"/>
                      </a:lnTo>
                      <a:lnTo>
                        <a:pt x="9" y="1414"/>
                      </a:lnTo>
                      <a:lnTo>
                        <a:pt x="0" y="0"/>
                      </a:lnTo>
                      <a:lnTo>
                        <a:pt x="3970" y="2220"/>
                      </a:lnTo>
                    </a:path>
                  </a:pathLst>
                </a:custGeom>
                <a:solidFill>
                  <a:srgbClr val="571D58"/>
                </a:solidFill>
                <a:ln>
                  <a:noFill/>
                </a:ln>
                <a:effectLst/>
              </p:spPr>
              <p:txBody>
                <a:bodyPr wrap="none" anchor="ctr"/>
                <a:lstStyle/>
                <a:p>
                  <a:pPr algn="l" rtl="0"/>
                  <a:endParaRPr lang="en-GB" sz="1400" dirty="0">
                    <a:solidFill>
                      <a:srgbClr val="595959"/>
                    </a:solidFill>
                    <a:latin typeface="+mj-lt"/>
                  </a:endParaRPr>
                </a:p>
              </p:txBody>
            </p:sp>
          </p:grpSp>
          <p:grpSp>
            <p:nvGrpSpPr>
              <p:cNvPr id="18" name="Group 16">
                <a:extLst>
                  <a:ext uri="{FF2B5EF4-FFF2-40B4-BE49-F238E27FC236}">
                    <a16:creationId xmlns:a16="http://schemas.microsoft.com/office/drawing/2014/main" id="{48254E74-CAD6-1757-F193-4858FA979629}"/>
                  </a:ext>
                </a:extLst>
              </p:cNvPr>
              <p:cNvGrpSpPr/>
              <p:nvPr/>
            </p:nvGrpSpPr>
            <p:grpSpPr>
              <a:xfrm>
                <a:off x="9701914" y="3754179"/>
                <a:ext cx="4377764" cy="3211487"/>
                <a:chOff x="12193146" y="2562030"/>
                <a:chExt cx="5221988" cy="3830802"/>
              </a:xfrm>
            </p:grpSpPr>
            <p:sp>
              <p:nvSpPr>
                <p:cNvPr id="29" name="Freeform 1">
                  <a:extLst>
                    <a:ext uri="{FF2B5EF4-FFF2-40B4-BE49-F238E27FC236}">
                      <a16:creationId xmlns:a16="http://schemas.microsoft.com/office/drawing/2014/main" id="{A8CEE1E0-3625-21F8-D1BA-B7F0B5DAFC91}"/>
                    </a:ext>
                  </a:extLst>
                </p:cNvPr>
                <p:cNvSpPr>
                  <a:spLocks noChangeArrowheads="1"/>
                </p:cNvSpPr>
                <p:nvPr/>
              </p:nvSpPr>
              <p:spPr bwMode="auto">
                <a:xfrm>
                  <a:off x="12193146" y="2562030"/>
                  <a:ext cx="5216227" cy="2906224"/>
                </a:xfrm>
                <a:custGeom>
                  <a:avLst/>
                  <a:gdLst>
                    <a:gd name="T0" fmla="*/ 4014 w 7985"/>
                    <a:gd name="T1" fmla="*/ 0 h 4451"/>
                    <a:gd name="T2" fmla="*/ 7984 w 7985"/>
                    <a:gd name="T3" fmla="*/ 2220 h 4451"/>
                    <a:gd name="T4" fmla="*/ 3971 w 7985"/>
                    <a:gd name="T5" fmla="*/ 4450 h 4451"/>
                    <a:gd name="T6" fmla="*/ 0 w 7985"/>
                    <a:gd name="T7" fmla="*/ 2229 h 4451"/>
                    <a:gd name="T8" fmla="*/ 4014 w 7985"/>
                    <a:gd name="T9" fmla="*/ 0 h 4451"/>
                  </a:gdLst>
                  <a:ahLst/>
                  <a:cxnLst>
                    <a:cxn ang="0">
                      <a:pos x="T0" y="T1"/>
                    </a:cxn>
                    <a:cxn ang="0">
                      <a:pos x="T2" y="T3"/>
                    </a:cxn>
                    <a:cxn ang="0">
                      <a:pos x="T4" y="T5"/>
                    </a:cxn>
                    <a:cxn ang="0">
                      <a:pos x="T6" y="T7"/>
                    </a:cxn>
                    <a:cxn ang="0">
                      <a:pos x="T8" y="T9"/>
                    </a:cxn>
                  </a:cxnLst>
                  <a:rect l="0" t="0" r="r" b="b"/>
                  <a:pathLst>
                    <a:path w="7985" h="4451">
                      <a:moveTo>
                        <a:pt x="4014" y="0"/>
                      </a:moveTo>
                      <a:lnTo>
                        <a:pt x="7984" y="2220"/>
                      </a:lnTo>
                      <a:lnTo>
                        <a:pt x="3971" y="4450"/>
                      </a:lnTo>
                      <a:lnTo>
                        <a:pt x="0" y="2229"/>
                      </a:lnTo>
                      <a:lnTo>
                        <a:pt x="4014" y="0"/>
                      </a:lnTo>
                    </a:path>
                  </a:pathLst>
                </a:custGeom>
                <a:solidFill>
                  <a:srgbClr val="B41F7A"/>
                </a:solidFill>
                <a:ln>
                  <a:noFill/>
                </a:ln>
                <a:effectLst/>
              </p:spPr>
              <p:txBody>
                <a:bodyPr wrap="none" anchor="ctr"/>
                <a:lstStyle/>
                <a:p>
                  <a:pPr algn="l" rtl="0"/>
                  <a:endParaRPr lang="en-GB" sz="1400" dirty="0">
                    <a:solidFill>
                      <a:srgbClr val="595959"/>
                    </a:solidFill>
                    <a:latin typeface="+mj-lt"/>
                  </a:endParaRPr>
                </a:p>
              </p:txBody>
            </p:sp>
            <p:sp>
              <p:nvSpPr>
                <p:cNvPr id="31" name="Freeform 2">
                  <a:extLst>
                    <a:ext uri="{FF2B5EF4-FFF2-40B4-BE49-F238E27FC236}">
                      <a16:creationId xmlns:a16="http://schemas.microsoft.com/office/drawing/2014/main" id="{0B272C14-DEB0-74AC-4870-304AADF59AFA}"/>
                    </a:ext>
                  </a:extLst>
                </p:cNvPr>
                <p:cNvSpPr>
                  <a:spLocks noChangeArrowheads="1"/>
                </p:cNvSpPr>
                <p:nvPr/>
              </p:nvSpPr>
              <p:spPr bwMode="auto">
                <a:xfrm>
                  <a:off x="14788298" y="4013702"/>
                  <a:ext cx="2626836" cy="2379130"/>
                </a:xfrm>
                <a:custGeom>
                  <a:avLst/>
                  <a:gdLst>
                    <a:gd name="T0" fmla="*/ 4013 w 4023"/>
                    <a:gd name="T1" fmla="*/ 0 h 3644"/>
                    <a:gd name="T2" fmla="*/ 4022 w 4023"/>
                    <a:gd name="T3" fmla="*/ 1414 h 3644"/>
                    <a:gd name="T4" fmla="*/ 9 w 4023"/>
                    <a:gd name="T5" fmla="*/ 3643 h 3644"/>
                    <a:gd name="T6" fmla="*/ 0 w 4023"/>
                    <a:gd name="T7" fmla="*/ 2230 h 3644"/>
                    <a:gd name="T8" fmla="*/ 4013 w 4023"/>
                    <a:gd name="T9" fmla="*/ 0 h 3644"/>
                  </a:gdLst>
                  <a:ahLst/>
                  <a:cxnLst>
                    <a:cxn ang="0">
                      <a:pos x="T0" y="T1"/>
                    </a:cxn>
                    <a:cxn ang="0">
                      <a:pos x="T2" y="T3"/>
                    </a:cxn>
                    <a:cxn ang="0">
                      <a:pos x="T4" y="T5"/>
                    </a:cxn>
                    <a:cxn ang="0">
                      <a:pos x="T6" y="T7"/>
                    </a:cxn>
                    <a:cxn ang="0">
                      <a:pos x="T8" y="T9"/>
                    </a:cxn>
                  </a:cxnLst>
                  <a:rect l="0" t="0" r="r" b="b"/>
                  <a:pathLst>
                    <a:path w="4023" h="3644">
                      <a:moveTo>
                        <a:pt x="4013" y="0"/>
                      </a:moveTo>
                      <a:lnTo>
                        <a:pt x="4022" y="1414"/>
                      </a:lnTo>
                      <a:lnTo>
                        <a:pt x="9" y="3643"/>
                      </a:lnTo>
                      <a:lnTo>
                        <a:pt x="0" y="2230"/>
                      </a:lnTo>
                      <a:lnTo>
                        <a:pt x="4013" y="0"/>
                      </a:lnTo>
                    </a:path>
                  </a:pathLst>
                </a:custGeom>
                <a:solidFill>
                  <a:srgbClr val="7F1C58"/>
                </a:solidFill>
                <a:ln>
                  <a:noFill/>
                </a:ln>
                <a:effectLst/>
              </p:spPr>
              <p:txBody>
                <a:bodyPr wrap="none" anchor="ctr"/>
                <a:lstStyle/>
                <a:p>
                  <a:pPr algn="l" rtl="0"/>
                  <a:endParaRPr lang="en-GB" sz="1400" dirty="0">
                    <a:solidFill>
                      <a:srgbClr val="595959"/>
                    </a:solidFill>
                    <a:latin typeface="+mj-lt"/>
                  </a:endParaRPr>
                </a:p>
              </p:txBody>
            </p:sp>
            <p:sp>
              <p:nvSpPr>
                <p:cNvPr id="32" name="Freeform 3">
                  <a:extLst>
                    <a:ext uri="{FF2B5EF4-FFF2-40B4-BE49-F238E27FC236}">
                      <a16:creationId xmlns:a16="http://schemas.microsoft.com/office/drawing/2014/main" id="{F406C8BE-12EC-0E55-EBB8-7BB2C80B1F42}"/>
                    </a:ext>
                  </a:extLst>
                </p:cNvPr>
                <p:cNvSpPr>
                  <a:spLocks noChangeArrowheads="1"/>
                </p:cNvSpPr>
                <p:nvPr/>
              </p:nvSpPr>
              <p:spPr bwMode="auto">
                <a:xfrm>
                  <a:off x="12193146" y="4019462"/>
                  <a:ext cx="2600912" cy="2373369"/>
                </a:xfrm>
                <a:custGeom>
                  <a:avLst/>
                  <a:gdLst>
                    <a:gd name="T0" fmla="*/ 3971 w 3981"/>
                    <a:gd name="T1" fmla="*/ 2221 h 3635"/>
                    <a:gd name="T2" fmla="*/ 3980 w 3981"/>
                    <a:gd name="T3" fmla="*/ 3634 h 3635"/>
                    <a:gd name="T4" fmla="*/ 8 w 3981"/>
                    <a:gd name="T5" fmla="*/ 1414 h 3635"/>
                    <a:gd name="T6" fmla="*/ 0 w 3981"/>
                    <a:gd name="T7" fmla="*/ 0 h 3635"/>
                    <a:gd name="T8" fmla="*/ 3971 w 3981"/>
                    <a:gd name="T9" fmla="*/ 2221 h 3635"/>
                  </a:gdLst>
                  <a:ahLst/>
                  <a:cxnLst>
                    <a:cxn ang="0">
                      <a:pos x="T0" y="T1"/>
                    </a:cxn>
                    <a:cxn ang="0">
                      <a:pos x="T2" y="T3"/>
                    </a:cxn>
                    <a:cxn ang="0">
                      <a:pos x="T4" y="T5"/>
                    </a:cxn>
                    <a:cxn ang="0">
                      <a:pos x="T6" y="T7"/>
                    </a:cxn>
                    <a:cxn ang="0">
                      <a:pos x="T8" y="T9"/>
                    </a:cxn>
                  </a:cxnLst>
                  <a:rect l="0" t="0" r="r" b="b"/>
                  <a:pathLst>
                    <a:path w="3981" h="3635">
                      <a:moveTo>
                        <a:pt x="3971" y="2221"/>
                      </a:moveTo>
                      <a:lnTo>
                        <a:pt x="3980" y="3634"/>
                      </a:lnTo>
                      <a:lnTo>
                        <a:pt x="8" y="1414"/>
                      </a:lnTo>
                      <a:lnTo>
                        <a:pt x="0" y="0"/>
                      </a:lnTo>
                      <a:lnTo>
                        <a:pt x="3971" y="2221"/>
                      </a:lnTo>
                    </a:path>
                  </a:pathLst>
                </a:custGeom>
                <a:solidFill>
                  <a:srgbClr val="7F1C58"/>
                </a:solidFill>
                <a:ln>
                  <a:noFill/>
                </a:ln>
                <a:effectLst/>
              </p:spPr>
              <p:txBody>
                <a:bodyPr wrap="none" anchor="ctr"/>
                <a:lstStyle/>
                <a:p>
                  <a:pPr algn="l" rtl="0"/>
                  <a:endParaRPr lang="en-GB" sz="1400" dirty="0">
                    <a:solidFill>
                      <a:srgbClr val="595959"/>
                    </a:solidFill>
                    <a:latin typeface="+mj-lt"/>
                  </a:endParaRPr>
                </a:p>
              </p:txBody>
            </p:sp>
          </p:grpSp>
          <p:grpSp>
            <p:nvGrpSpPr>
              <p:cNvPr id="19" name="Group 20">
                <a:extLst>
                  <a:ext uri="{FF2B5EF4-FFF2-40B4-BE49-F238E27FC236}">
                    <a16:creationId xmlns:a16="http://schemas.microsoft.com/office/drawing/2014/main" id="{B562B114-251C-2BBE-4F01-B33D5AA51C88}"/>
                  </a:ext>
                </a:extLst>
              </p:cNvPr>
              <p:cNvGrpSpPr/>
              <p:nvPr/>
            </p:nvGrpSpPr>
            <p:grpSpPr>
              <a:xfrm>
                <a:off x="11894418" y="1762088"/>
                <a:ext cx="4377764" cy="3211487"/>
                <a:chOff x="12193146" y="2562030"/>
                <a:chExt cx="5221988" cy="3830802"/>
              </a:xfrm>
            </p:grpSpPr>
            <p:sp>
              <p:nvSpPr>
                <p:cNvPr id="20" name="Freeform 1">
                  <a:extLst>
                    <a:ext uri="{FF2B5EF4-FFF2-40B4-BE49-F238E27FC236}">
                      <a16:creationId xmlns:a16="http://schemas.microsoft.com/office/drawing/2014/main" id="{849B289F-3061-093A-CD11-60B65404D716}"/>
                    </a:ext>
                  </a:extLst>
                </p:cNvPr>
                <p:cNvSpPr>
                  <a:spLocks noChangeArrowheads="1"/>
                </p:cNvSpPr>
                <p:nvPr/>
              </p:nvSpPr>
              <p:spPr bwMode="auto">
                <a:xfrm>
                  <a:off x="12193146" y="2562030"/>
                  <a:ext cx="5216227" cy="2906224"/>
                </a:xfrm>
                <a:custGeom>
                  <a:avLst/>
                  <a:gdLst>
                    <a:gd name="T0" fmla="*/ 4014 w 7985"/>
                    <a:gd name="T1" fmla="*/ 0 h 4451"/>
                    <a:gd name="T2" fmla="*/ 7984 w 7985"/>
                    <a:gd name="T3" fmla="*/ 2220 h 4451"/>
                    <a:gd name="T4" fmla="*/ 3971 w 7985"/>
                    <a:gd name="T5" fmla="*/ 4450 h 4451"/>
                    <a:gd name="T6" fmla="*/ 0 w 7985"/>
                    <a:gd name="T7" fmla="*/ 2229 h 4451"/>
                    <a:gd name="T8" fmla="*/ 4014 w 7985"/>
                    <a:gd name="T9" fmla="*/ 0 h 4451"/>
                  </a:gdLst>
                  <a:ahLst/>
                  <a:cxnLst>
                    <a:cxn ang="0">
                      <a:pos x="T0" y="T1"/>
                    </a:cxn>
                    <a:cxn ang="0">
                      <a:pos x="T2" y="T3"/>
                    </a:cxn>
                    <a:cxn ang="0">
                      <a:pos x="T4" y="T5"/>
                    </a:cxn>
                    <a:cxn ang="0">
                      <a:pos x="T6" y="T7"/>
                    </a:cxn>
                    <a:cxn ang="0">
                      <a:pos x="T8" y="T9"/>
                    </a:cxn>
                  </a:cxnLst>
                  <a:rect l="0" t="0" r="r" b="b"/>
                  <a:pathLst>
                    <a:path w="7985" h="4451">
                      <a:moveTo>
                        <a:pt x="4014" y="0"/>
                      </a:moveTo>
                      <a:lnTo>
                        <a:pt x="7984" y="2220"/>
                      </a:lnTo>
                      <a:lnTo>
                        <a:pt x="3971" y="4450"/>
                      </a:lnTo>
                      <a:lnTo>
                        <a:pt x="0" y="2229"/>
                      </a:lnTo>
                      <a:lnTo>
                        <a:pt x="4014" y="0"/>
                      </a:lnTo>
                    </a:path>
                  </a:pathLst>
                </a:custGeom>
                <a:solidFill>
                  <a:srgbClr val="EDA13E"/>
                </a:solidFill>
                <a:ln>
                  <a:noFill/>
                </a:ln>
                <a:effectLst/>
              </p:spPr>
              <p:txBody>
                <a:bodyPr wrap="none" anchor="ctr"/>
                <a:lstStyle/>
                <a:p>
                  <a:pPr algn="l" rtl="0"/>
                  <a:endParaRPr lang="en-GB" sz="1400" dirty="0">
                    <a:solidFill>
                      <a:srgbClr val="595959"/>
                    </a:solidFill>
                    <a:latin typeface="+mj-lt"/>
                  </a:endParaRPr>
                </a:p>
              </p:txBody>
            </p:sp>
            <p:sp>
              <p:nvSpPr>
                <p:cNvPr id="21" name="Freeform 2">
                  <a:extLst>
                    <a:ext uri="{FF2B5EF4-FFF2-40B4-BE49-F238E27FC236}">
                      <a16:creationId xmlns:a16="http://schemas.microsoft.com/office/drawing/2014/main" id="{BC9EBD4E-54EA-D6D3-EF84-EFE64ACAE446}"/>
                    </a:ext>
                  </a:extLst>
                </p:cNvPr>
                <p:cNvSpPr>
                  <a:spLocks noChangeArrowheads="1"/>
                </p:cNvSpPr>
                <p:nvPr/>
              </p:nvSpPr>
              <p:spPr bwMode="auto">
                <a:xfrm>
                  <a:off x="14788298" y="4013702"/>
                  <a:ext cx="2626836" cy="2379130"/>
                </a:xfrm>
                <a:custGeom>
                  <a:avLst/>
                  <a:gdLst>
                    <a:gd name="T0" fmla="*/ 4013 w 4023"/>
                    <a:gd name="T1" fmla="*/ 0 h 3644"/>
                    <a:gd name="T2" fmla="*/ 4022 w 4023"/>
                    <a:gd name="T3" fmla="*/ 1414 h 3644"/>
                    <a:gd name="T4" fmla="*/ 9 w 4023"/>
                    <a:gd name="T5" fmla="*/ 3643 h 3644"/>
                    <a:gd name="T6" fmla="*/ 0 w 4023"/>
                    <a:gd name="T7" fmla="*/ 2230 h 3644"/>
                    <a:gd name="T8" fmla="*/ 4013 w 4023"/>
                    <a:gd name="T9" fmla="*/ 0 h 3644"/>
                  </a:gdLst>
                  <a:ahLst/>
                  <a:cxnLst>
                    <a:cxn ang="0">
                      <a:pos x="T0" y="T1"/>
                    </a:cxn>
                    <a:cxn ang="0">
                      <a:pos x="T2" y="T3"/>
                    </a:cxn>
                    <a:cxn ang="0">
                      <a:pos x="T4" y="T5"/>
                    </a:cxn>
                    <a:cxn ang="0">
                      <a:pos x="T6" y="T7"/>
                    </a:cxn>
                    <a:cxn ang="0">
                      <a:pos x="T8" y="T9"/>
                    </a:cxn>
                  </a:cxnLst>
                  <a:rect l="0" t="0" r="r" b="b"/>
                  <a:pathLst>
                    <a:path w="4023" h="3644">
                      <a:moveTo>
                        <a:pt x="4013" y="0"/>
                      </a:moveTo>
                      <a:lnTo>
                        <a:pt x="4022" y="1414"/>
                      </a:lnTo>
                      <a:lnTo>
                        <a:pt x="9" y="3643"/>
                      </a:lnTo>
                      <a:lnTo>
                        <a:pt x="0" y="2230"/>
                      </a:lnTo>
                      <a:lnTo>
                        <a:pt x="4013" y="0"/>
                      </a:lnTo>
                    </a:path>
                  </a:pathLst>
                </a:custGeom>
                <a:solidFill>
                  <a:srgbClr val="CD6634"/>
                </a:solidFill>
                <a:ln>
                  <a:noFill/>
                </a:ln>
                <a:effectLst/>
              </p:spPr>
              <p:txBody>
                <a:bodyPr wrap="none" anchor="ctr"/>
                <a:lstStyle/>
                <a:p>
                  <a:pPr algn="l" rtl="0"/>
                  <a:endParaRPr lang="en-GB" sz="1400" dirty="0">
                    <a:solidFill>
                      <a:srgbClr val="595959"/>
                    </a:solidFill>
                    <a:latin typeface="+mj-lt"/>
                  </a:endParaRPr>
                </a:p>
              </p:txBody>
            </p:sp>
            <p:sp>
              <p:nvSpPr>
                <p:cNvPr id="22" name="Freeform 3">
                  <a:extLst>
                    <a:ext uri="{FF2B5EF4-FFF2-40B4-BE49-F238E27FC236}">
                      <a16:creationId xmlns:a16="http://schemas.microsoft.com/office/drawing/2014/main" id="{EBF5C3C8-DB02-AFB6-10FA-008DF3B732E7}"/>
                    </a:ext>
                  </a:extLst>
                </p:cNvPr>
                <p:cNvSpPr>
                  <a:spLocks noChangeArrowheads="1"/>
                </p:cNvSpPr>
                <p:nvPr/>
              </p:nvSpPr>
              <p:spPr bwMode="auto">
                <a:xfrm>
                  <a:off x="12193146" y="4019462"/>
                  <a:ext cx="2600912" cy="2373369"/>
                </a:xfrm>
                <a:custGeom>
                  <a:avLst/>
                  <a:gdLst>
                    <a:gd name="T0" fmla="*/ 3971 w 3981"/>
                    <a:gd name="T1" fmla="*/ 2221 h 3635"/>
                    <a:gd name="T2" fmla="*/ 3980 w 3981"/>
                    <a:gd name="T3" fmla="*/ 3634 h 3635"/>
                    <a:gd name="T4" fmla="*/ 8 w 3981"/>
                    <a:gd name="T5" fmla="*/ 1414 h 3635"/>
                    <a:gd name="T6" fmla="*/ 0 w 3981"/>
                    <a:gd name="T7" fmla="*/ 0 h 3635"/>
                    <a:gd name="T8" fmla="*/ 3971 w 3981"/>
                    <a:gd name="T9" fmla="*/ 2221 h 3635"/>
                  </a:gdLst>
                  <a:ahLst/>
                  <a:cxnLst>
                    <a:cxn ang="0">
                      <a:pos x="T0" y="T1"/>
                    </a:cxn>
                    <a:cxn ang="0">
                      <a:pos x="T2" y="T3"/>
                    </a:cxn>
                    <a:cxn ang="0">
                      <a:pos x="T4" y="T5"/>
                    </a:cxn>
                    <a:cxn ang="0">
                      <a:pos x="T6" y="T7"/>
                    </a:cxn>
                    <a:cxn ang="0">
                      <a:pos x="T8" y="T9"/>
                    </a:cxn>
                  </a:cxnLst>
                  <a:rect l="0" t="0" r="r" b="b"/>
                  <a:pathLst>
                    <a:path w="3981" h="3635">
                      <a:moveTo>
                        <a:pt x="3971" y="2221"/>
                      </a:moveTo>
                      <a:lnTo>
                        <a:pt x="3980" y="3634"/>
                      </a:lnTo>
                      <a:lnTo>
                        <a:pt x="8" y="1414"/>
                      </a:lnTo>
                      <a:lnTo>
                        <a:pt x="0" y="0"/>
                      </a:lnTo>
                      <a:lnTo>
                        <a:pt x="3971" y="2221"/>
                      </a:lnTo>
                    </a:path>
                  </a:pathLst>
                </a:custGeom>
                <a:solidFill>
                  <a:srgbClr val="CD6634"/>
                </a:solidFill>
                <a:ln>
                  <a:noFill/>
                </a:ln>
                <a:effectLst/>
              </p:spPr>
              <p:txBody>
                <a:bodyPr wrap="none" anchor="ctr"/>
                <a:lstStyle/>
                <a:p>
                  <a:pPr algn="l" rtl="0"/>
                  <a:endParaRPr lang="en-GB" sz="1400" dirty="0">
                    <a:solidFill>
                      <a:srgbClr val="595959"/>
                    </a:solidFill>
                    <a:latin typeface="+mj-lt"/>
                  </a:endParaRPr>
                </a:p>
              </p:txBody>
            </p:sp>
          </p:grpSp>
        </p:grpSp>
        <p:sp>
          <p:nvSpPr>
            <p:cNvPr id="53" name="Text Placeholder 17">
              <a:extLst>
                <a:ext uri="{FF2B5EF4-FFF2-40B4-BE49-F238E27FC236}">
                  <a16:creationId xmlns:a16="http://schemas.microsoft.com/office/drawing/2014/main" id="{B18FF71F-37DA-97F2-92BE-D0BB0AEEB907}"/>
                </a:ext>
              </a:extLst>
            </p:cNvPr>
            <p:cNvSpPr txBox="1">
              <a:spLocks/>
            </p:cNvSpPr>
            <p:nvPr/>
          </p:nvSpPr>
          <p:spPr>
            <a:xfrm>
              <a:off x="6363982" y="3473563"/>
              <a:ext cx="868733"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7F1C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sz="4000" b="0" dirty="0">
                  <a:solidFill>
                    <a:schemeClr val="bg1"/>
                  </a:solidFill>
                </a:rPr>
                <a:t>01</a:t>
              </a:r>
              <a:endParaRPr lang="en-US" sz="4000" b="0" dirty="0">
                <a:solidFill>
                  <a:schemeClr val="bg1"/>
                </a:solidFill>
              </a:endParaRPr>
            </a:p>
          </p:txBody>
        </p:sp>
        <p:sp>
          <p:nvSpPr>
            <p:cNvPr id="54" name="Text Placeholder 17">
              <a:extLst>
                <a:ext uri="{FF2B5EF4-FFF2-40B4-BE49-F238E27FC236}">
                  <a16:creationId xmlns:a16="http://schemas.microsoft.com/office/drawing/2014/main" id="{561EF138-1B7E-1262-21A4-29ABD359325A}"/>
                </a:ext>
              </a:extLst>
            </p:cNvPr>
            <p:cNvSpPr txBox="1">
              <a:spLocks/>
            </p:cNvSpPr>
            <p:nvPr/>
          </p:nvSpPr>
          <p:spPr>
            <a:xfrm>
              <a:off x="5594444" y="4137162"/>
              <a:ext cx="868733"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7F1C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sz="4000" b="0" dirty="0">
                  <a:solidFill>
                    <a:schemeClr val="bg1"/>
                  </a:solidFill>
                </a:rPr>
                <a:t>02</a:t>
              </a:r>
              <a:endParaRPr lang="en-US" sz="4000" b="0" dirty="0">
                <a:solidFill>
                  <a:schemeClr val="bg1"/>
                </a:solidFill>
              </a:endParaRPr>
            </a:p>
          </p:txBody>
        </p:sp>
        <p:sp>
          <p:nvSpPr>
            <p:cNvPr id="55" name="Text Placeholder 17">
              <a:extLst>
                <a:ext uri="{FF2B5EF4-FFF2-40B4-BE49-F238E27FC236}">
                  <a16:creationId xmlns:a16="http://schemas.microsoft.com/office/drawing/2014/main" id="{002C0FE1-FEA0-1199-4B6C-4A64BB40AF48}"/>
                </a:ext>
              </a:extLst>
            </p:cNvPr>
            <p:cNvSpPr txBox="1">
              <a:spLocks/>
            </p:cNvSpPr>
            <p:nvPr/>
          </p:nvSpPr>
          <p:spPr>
            <a:xfrm>
              <a:off x="4882199" y="4856343"/>
              <a:ext cx="868733"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7F1C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sz="4000" b="0" dirty="0">
                  <a:solidFill>
                    <a:schemeClr val="bg1"/>
                  </a:solidFill>
                </a:rPr>
                <a:t>03</a:t>
              </a:r>
              <a:endParaRPr lang="en-US" sz="4000" b="0" dirty="0">
                <a:solidFill>
                  <a:schemeClr val="bg1"/>
                </a:solidFill>
              </a:endParaRPr>
            </a:p>
          </p:txBody>
        </p:sp>
        <p:sp>
          <p:nvSpPr>
            <p:cNvPr id="58" name="Text Placeholder 17">
              <a:extLst>
                <a:ext uri="{FF2B5EF4-FFF2-40B4-BE49-F238E27FC236}">
                  <a16:creationId xmlns:a16="http://schemas.microsoft.com/office/drawing/2014/main" id="{E414736B-0C73-197E-0DCF-EFA27C855D22}"/>
                </a:ext>
              </a:extLst>
            </p:cNvPr>
            <p:cNvSpPr txBox="1">
              <a:spLocks/>
            </p:cNvSpPr>
            <p:nvPr/>
          </p:nvSpPr>
          <p:spPr>
            <a:xfrm>
              <a:off x="4112661" y="5519942"/>
              <a:ext cx="868733"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7F1C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sz="4000" b="0" dirty="0">
                  <a:solidFill>
                    <a:schemeClr val="bg1"/>
                  </a:solidFill>
                </a:rPr>
                <a:t>04</a:t>
              </a:r>
              <a:endParaRPr lang="en-US" sz="4000" b="0" dirty="0">
                <a:solidFill>
                  <a:schemeClr val="bg1"/>
                </a:solidFill>
              </a:endParaRPr>
            </a:p>
          </p:txBody>
        </p:sp>
      </p:grpSp>
      <p:sp>
        <p:nvSpPr>
          <p:cNvPr id="60" name="TextBox 32">
            <a:extLst>
              <a:ext uri="{FF2B5EF4-FFF2-40B4-BE49-F238E27FC236}">
                <a16:creationId xmlns:a16="http://schemas.microsoft.com/office/drawing/2014/main" id="{54C71831-770F-C496-4EDA-152B1CD0F1ED}"/>
              </a:ext>
            </a:extLst>
          </p:cNvPr>
          <p:cNvSpPr txBox="1"/>
          <p:nvPr/>
        </p:nvSpPr>
        <p:spPr>
          <a:xfrm>
            <a:off x="7902662" y="3285990"/>
            <a:ext cx="3686622" cy="3392019"/>
          </a:xfrm>
          <a:prstGeom prst="rect">
            <a:avLst/>
          </a:prstGeom>
          <a:noFill/>
        </p:spPr>
        <p:txBody>
          <a:bodyPr wrap="square" rtlCol="0" anchor="t" anchorCtr="0">
            <a:spAutoFit/>
          </a:bodyPr>
          <a:lstStyle/>
          <a:p>
            <a:pPr marL="407988" indent="-407988" algn="l" rtl="0">
              <a:lnSpc>
                <a:spcPts val="2240"/>
              </a:lnSpc>
            </a:pPr>
            <a:r>
              <a:rPr lang="en-GB" sz="2200" b="1" dirty="0">
                <a:solidFill>
                  <a:srgbClr val="F16924"/>
                </a:solidFill>
                <a:ea typeface="League Spartan" charset="0"/>
                <a:cs typeface="Poppins" pitchFamily="2" charset="77"/>
              </a:rPr>
              <a:t>03 Sea un líder</a:t>
            </a:r>
          </a:p>
          <a:p>
            <a:pPr marL="407988" indent="-407988" algn="l" rtl="0">
              <a:lnSpc>
                <a:spcPts val="2140"/>
              </a:lnSpc>
            </a:pPr>
            <a:r>
              <a:rPr lang="en-GB" sz="2000" dirty="0">
                <a:solidFill>
                  <a:srgbClr val="595959"/>
                </a:solidFill>
                <a:ea typeface="Lato Light" panose="020F0502020204030203" pitchFamily="34" charset="0"/>
                <a:cs typeface="Mukta ExtraLight" panose="020B0000000000000000" pitchFamily="34" charset="77"/>
              </a:rPr>
              <a:t>Proporcione una participación visible del director general y de los líderes sénior: sea dueño del problema usted mismo</a:t>
            </a:r>
          </a:p>
          <a:p>
            <a:pPr marL="407988" indent="-407988" algn="l" rtl="0">
              <a:lnSpc>
                <a:spcPts val="2240"/>
              </a:lnSpc>
            </a:pPr>
            <a:endParaRPr lang="en-GB" sz="2200" dirty="0">
              <a:solidFill>
                <a:srgbClr val="595959"/>
              </a:solidFill>
              <a:ea typeface="Lato Light" panose="020F0502020204030203" pitchFamily="34" charset="0"/>
              <a:cs typeface="Mukta ExtraLight" panose="020B0000000000000000" pitchFamily="34" charset="77"/>
            </a:endParaRPr>
          </a:p>
          <a:p>
            <a:pPr marL="407988" indent="-407988" algn="l" rtl="0">
              <a:lnSpc>
                <a:spcPts val="2240"/>
              </a:lnSpc>
            </a:pPr>
            <a:r>
              <a:rPr lang="en-GB" sz="2200" b="1" dirty="0">
                <a:solidFill>
                  <a:srgbClr val="7F1C58"/>
                </a:solidFill>
                <a:ea typeface="League Spartan" charset="0"/>
                <a:cs typeface="Poppins" pitchFamily="2" charset="77"/>
              </a:rPr>
              <a:t>04 Haz lo necesario cuando sea necesario</a:t>
            </a:r>
          </a:p>
          <a:p>
            <a:pPr marL="407988" indent="-407988" algn="l" rtl="0">
              <a:lnSpc>
                <a:spcPts val="2140"/>
              </a:lnSpc>
            </a:pPr>
            <a:r>
              <a:rPr lang="en-GB" sz="2200" dirty="0">
                <a:solidFill>
                  <a:srgbClr val="595959"/>
                </a:solidFill>
                <a:ea typeface="Lato Light" panose="020F0502020204030203" pitchFamily="34" charset="0"/>
                <a:cs typeface="Mukta ExtraLight" panose="020B0000000000000000" pitchFamily="34" charset="77"/>
              </a:rPr>
              <a:t> </a:t>
            </a:r>
            <a:r>
              <a:rPr lang="en-GB" sz="2000" dirty="0">
                <a:solidFill>
                  <a:srgbClr val="595959"/>
                </a:solidFill>
                <a:ea typeface="Lato Light" panose="020F0502020204030203" pitchFamily="34" charset="0"/>
                <a:cs typeface="Mukta ExtraLight" panose="020B0000000000000000" pitchFamily="34" charset="77"/>
              </a:rPr>
              <a:t>Deseche su calendario: involucre a todas las partes interesadas durante todo el día</a:t>
            </a:r>
            <a:endParaRPr lang="en-GB" sz="2200" dirty="0">
              <a:solidFill>
                <a:srgbClr val="595959"/>
              </a:solidFill>
              <a:ea typeface="Lato Light" panose="020F0502020204030203" pitchFamily="34" charset="0"/>
              <a:cs typeface="Mukta ExtraLight" panose="020B0000000000000000" pitchFamily="34" charset="77"/>
            </a:endParaRPr>
          </a:p>
          <a:p>
            <a:pPr marL="407988" indent="-407988" algn="l" rtl="0">
              <a:lnSpc>
                <a:spcPts val="2240"/>
              </a:lnSpc>
            </a:pPr>
            <a:endParaRPr lang="en-GB" sz="2200" b="1" dirty="0">
              <a:solidFill>
                <a:srgbClr val="EDA13E"/>
              </a:solidFill>
              <a:ea typeface="League Spartan" charset="0"/>
              <a:cs typeface="Poppins" pitchFamily="2" charset="77"/>
            </a:endParaRPr>
          </a:p>
        </p:txBody>
      </p:sp>
    </p:spTree>
    <p:extLst>
      <p:ext uri="{BB962C8B-B14F-4D97-AF65-F5344CB8AC3E}">
        <p14:creationId xmlns:p14="http://schemas.microsoft.com/office/powerpoint/2010/main" val="35432472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DBDE40-F0F2-BCA1-1837-07DA205E6A6D}"/>
              </a:ext>
            </a:extLst>
          </p:cNvPr>
          <p:cNvSpPr/>
          <p:nvPr/>
        </p:nvSpPr>
        <p:spPr>
          <a:xfrm>
            <a:off x="103240" y="2495724"/>
            <a:ext cx="6725264" cy="1235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pic>
        <p:nvPicPr>
          <p:cNvPr id="8" name="Picture Placeholder 7">
            <a:extLst>
              <a:ext uri="{FF2B5EF4-FFF2-40B4-BE49-F238E27FC236}">
                <a16:creationId xmlns:a16="http://schemas.microsoft.com/office/drawing/2014/main" id="{495BACFE-4094-EB09-296D-E4845337BA5A}"/>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l="13390" r="13390"/>
          <a:stretch>
            <a:fillRect/>
          </a:stretch>
        </p:blipFill>
        <p:spPr/>
      </p:pic>
      <p:sp>
        <p:nvSpPr>
          <p:cNvPr id="10" name="Textplatzhalter 1">
            <a:extLst>
              <a:ext uri="{FF2B5EF4-FFF2-40B4-BE49-F238E27FC236}">
                <a16:creationId xmlns:a16="http://schemas.microsoft.com/office/drawing/2014/main" id="{327D9D04-AEDD-4ED6-D1E7-2B1ABE4217F1}"/>
              </a:ext>
            </a:extLst>
          </p:cNvPr>
          <p:cNvSpPr txBox="1">
            <a:spLocks/>
          </p:cNvSpPr>
          <p:nvPr/>
        </p:nvSpPr>
        <p:spPr>
          <a:xfrm>
            <a:off x="734714" y="642971"/>
            <a:ext cx="5002409" cy="210347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t>Mindsight e Inteligencia Emocional en el Liderazgo</a:t>
            </a:r>
          </a:p>
        </p:txBody>
      </p:sp>
      <p:sp>
        <p:nvSpPr>
          <p:cNvPr id="12" name="Rechteck 27">
            <a:extLst>
              <a:ext uri="{FF2B5EF4-FFF2-40B4-BE49-F238E27FC236}">
                <a16:creationId xmlns:a16="http://schemas.microsoft.com/office/drawing/2014/main" id="{7054D4B0-F180-A446-A761-08781C2AC881}"/>
              </a:ext>
            </a:extLst>
          </p:cNvPr>
          <p:cNvSpPr/>
          <p:nvPr/>
        </p:nvSpPr>
        <p:spPr>
          <a:xfrm>
            <a:off x="468998" y="5918697"/>
            <a:ext cx="11723002" cy="753522"/>
          </a:xfrm>
          <a:prstGeom prst="rect">
            <a:avLst/>
          </a:prstGeom>
        </p:spPr>
        <p:txBody>
          <a:bodyPr vert="horz" wrap="square" lIns="81580" tIns="40790" rIns="81580" bIns="40790" rtlCol="0">
            <a:spAutoFit/>
          </a:bodyPr>
          <a:lstStyle/>
          <a:p>
            <a:pPr algn="l" defTabSz="1087636" rtl="0">
              <a:lnSpc>
                <a:spcPts val="1500"/>
              </a:lnSpc>
              <a:spcBef>
                <a:spcPct val="20000"/>
              </a:spcBef>
            </a:pPr>
            <a:r>
              <a:rPr lang="en-GB" sz="2200" dirty="0">
                <a:solidFill>
                  <a:srgbClr val="595959"/>
                </a:solidFill>
              </a:rPr>
              <a:t>Fuente:</a:t>
            </a:r>
            <a:r>
              <a:rPr lang="en-GB" sz="2200" dirty="0" err="1">
                <a:solidFill>
                  <a:srgbClr val="595959"/>
                </a:solidFill>
              </a:rPr>
              <a:t>Dr.</a:t>
            </a:r>
            <a:r>
              <a:rPr lang="en-GB" sz="2200" dirty="0">
                <a:solidFill>
                  <a:srgbClr val="595959"/>
                </a:solidFill>
              </a:rPr>
              <a:t>Daniel Goleman| Youtube:</a:t>
            </a:r>
            <a:r>
              <a:rPr lang="en-GB" sz="2200" dirty="0">
                <a:solidFill>
                  <a:srgbClr val="595959"/>
                </a:solidFill>
                <a:hlinkClick r:id="rId3">
                  <a:extLst>
                    <a:ext uri="{A12FA001-AC4F-418D-AE19-62706E023703}">
                      <ahyp:hlinkClr xmlns:ahyp="http://schemas.microsoft.com/office/drawing/2018/hyperlinkcolor" val="tx"/>
                    </a:ext>
                  </a:extLst>
                </a:hlinkClick>
              </a:rPr>
              <a:t>https://www.youtube.com/watch?v=heRCxqQmrGQ</a:t>
            </a:r>
            <a:endParaRPr lang="en-GB" sz="2200" dirty="0">
              <a:solidFill>
                <a:srgbClr val="595959"/>
              </a:solidFill>
            </a:endParaRPr>
          </a:p>
          <a:p>
            <a:pPr algn="l" defTabSz="1087636" rtl="0">
              <a:lnSpc>
                <a:spcPts val="1500"/>
              </a:lnSpc>
              <a:spcBef>
                <a:spcPct val="20000"/>
              </a:spcBef>
            </a:pPr>
            <a:r>
              <a:rPr lang="en-GB" sz="2200" dirty="0">
                <a:solidFill>
                  <a:srgbClr val="595959"/>
                </a:solidFill>
              </a:rPr>
              <a:t> </a:t>
            </a:r>
            <a:br>
              <a:rPr lang="en-GB" sz="2200" dirty="0">
                <a:solidFill>
                  <a:srgbClr val="595959"/>
                </a:solidFill>
              </a:rPr>
            </a:br>
            <a:endParaRPr lang="en-GB" sz="2200" dirty="0">
              <a:solidFill>
                <a:srgbClr val="595959"/>
              </a:solidFill>
            </a:endParaRPr>
          </a:p>
        </p:txBody>
      </p:sp>
      <p:sp>
        <p:nvSpPr>
          <p:cNvPr id="13" name="TextBox 12">
            <a:extLst>
              <a:ext uri="{FF2B5EF4-FFF2-40B4-BE49-F238E27FC236}">
                <a16:creationId xmlns:a16="http://schemas.microsoft.com/office/drawing/2014/main" id="{843543BB-A7F0-35A0-AE58-778FAC8CD0C5}"/>
              </a:ext>
            </a:extLst>
          </p:cNvPr>
          <p:cNvSpPr txBox="1"/>
          <p:nvPr/>
        </p:nvSpPr>
        <p:spPr>
          <a:xfrm>
            <a:off x="504231" y="2291173"/>
            <a:ext cx="5359074" cy="3477875"/>
          </a:xfrm>
          <a:prstGeom prst="rect">
            <a:avLst/>
          </a:prstGeom>
          <a:noFill/>
        </p:spPr>
        <p:txBody>
          <a:bodyPr wrap="square" rtlCol="0">
            <a:spAutoFit/>
          </a:bodyPr>
          <a:lstStyle/>
          <a:p>
            <a:pPr algn="l" rtl="0"/>
            <a:r>
              <a:rPr lang="en-GB" sz="2200" b="0" i="0" dirty="0">
                <a:solidFill>
                  <a:schemeClr val="bg1"/>
                </a:solidFill>
                <a:effectLst/>
                <a:highlight>
                  <a:srgbClr val="F16924"/>
                </a:highlight>
              </a:rPr>
              <a:t>RELOJ</a:t>
            </a:r>
            <a:r>
              <a:rPr lang="en-GB" sz="2200" b="0" i="0" dirty="0">
                <a:solidFill>
                  <a:srgbClr val="F16924"/>
                </a:solidFill>
                <a:effectLst/>
                <a:highlight>
                  <a:srgbClr val="F16924"/>
                </a:highlight>
              </a:rPr>
              <a:t>.</a:t>
            </a:r>
          </a:p>
          <a:p>
            <a:pPr algn="l" rtl="0"/>
            <a:endParaRPr lang="en-GB" sz="2200" b="0" i="0" dirty="0">
              <a:solidFill>
                <a:schemeClr val="bg1"/>
              </a:solidFill>
              <a:effectLst/>
              <a:highlight>
                <a:srgbClr val="E53292"/>
              </a:highlight>
            </a:endParaRPr>
          </a:p>
          <a:p>
            <a:pPr algn="l" rtl="0"/>
            <a:r>
              <a:rPr lang="en-GB" sz="2200" b="1" dirty="0" err="1">
                <a:solidFill>
                  <a:srgbClr val="595959"/>
                </a:solidFill>
              </a:rPr>
              <a:t>Dr.</a:t>
            </a:r>
            <a:r>
              <a:rPr lang="en-GB" sz="2200" b="1" dirty="0">
                <a:solidFill>
                  <a:srgbClr val="595959"/>
                </a:solidFill>
              </a:rPr>
              <a:t>Daniel</a:t>
            </a:r>
            <a:r>
              <a:rPr lang="en-GB" sz="2200" dirty="0">
                <a:solidFill>
                  <a:srgbClr val="595959"/>
                </a:solidFill>
              </a:rPr>
              <a:t>Goleman comparte la fascinante base científica para el desarrollo del liderazgo en la serie de videos Brainpower. En este extracto,</a:t>
            </a:r>
            <a:r>
              <a:rPr lang="en-GB" sz="2200" dirty="0" err="1">
                <a:solidFill>
                  <a:srgbClr val="595959"/>
                </a:solidFill>
              </a:rPr>
              <a:t>Dr.</a:t>
            </a:r>
            <a:r>
              <a:rPr lang="en-GB" sz="2200" dirty="0">
                <a:solidFill>
                  <a:srgbClr val="595959"/>
                </a:solidFill>
              </a:rPr>
              <a:t>Goleman destaca las formas en que los líderes efectivos emplean el pensamiento sistémico en su estrategia comercial, tácticas de motivación y visión organizacional.</a:t>
            </a:r>
          </a:p>
          <a:p>
            <a:pPr algn="l" rtl="0"/>
            <a:endParaRPr lang="en-GB" sz="2200" b="1" dirty="0">
              <a:solidFill>
                <a:srgbClr val="595959"/>
              </a:solidFill>
            </a:endParaRPr>
          </a:p>
        </p:txBody>
      </p:sp>
      <p:sp>
        <p:nvSpPr>
          <p:cNvPr id="14" name="Oval 13">
            <a:extLst>
              <a:ext uri="{FF2B5EF4-FFF2-40B4-BE49-F238E27FC236}">
                <a16:creationId xmlns:a16="http://schemas.microsoft.com/office/drawing/2014/main" id="{22647D80-595B-BF51-CF15-31CAD1C39DC6}"/>
              </a:ext>
            </a:extLst>
          </p:cNvPr>
          <p:cNvSpPr/>
          <p:nvPr/>
        </p:nvSpPr>
        <p:spPr>
          <a:xfrm rot="21231927">
            <a:off x="5824134" y="2222454"/>
            <a:ext cx="1720645" cy="172064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US" sz="2200" b="1" dirty="0">
                <a:solidFill>
                  <a:schemeClr val="bg1"/>
                </a:solidFill>
              </a:rPr>
              <a:t>HAGA CLIC PARA</a:t>
            </a:r>
            <a:r>
              <a:rPr lang="en-US" sz="2200" b="1" dirty="0">
                <a:solidFill>
                  <a:schemeClr val="bg1"/>
                </a:solidFill>
                <a:hlinkClick r:id="rId3">
                  <a:extLst>
                    <a:ext uri="{A12FA001-AC4F-418D-AE19-62706E023703}">
                      <ahyp:hlinkClr xmlns:ahyp="http://schemas.microsoft.com/office/drawing/2018/hyperlinkcolor" val="tx"/>
                    </a:ext>
                  </a:extLst>
                </a:hlinkClick>
              </a:rPr>
              <a:t>RELOJ</a:t>
            </a:r>
            <a:endParaRPr lang="en-US" sz="2200" b="1" dirty="0">
              <a:solidFill>
                <a:schemeClr val="bg1"/>
              </a:solidFill>
            </a:endParaRPr>
          </a:p>
        </p:txBody>
      </p:sp>
      <p:sp>
        <p:nvSpPr>
          <p:cNvPr id="17" name="Rectangle 16">
            <a:extLst>
              <a:ext uri="{FF2B5EF4-FFF2-40B4-BE49-F238E27FC236}">
                <a16:creationId xmlns:a16="http://schemas.microsoft.com/office/drawing/2014/main" id="{63FAF0F0-94FA-7682-892A-7A8BF465F65D}"/>
              </a:ext>
            </a:extLst>
          </p:cNvPr>
          <p:cNvSpPr/>
          <p:nvPr/>
        </p:nvSpPr>
        <p:spPr>
          <a:xfrm>
            <a:off x="734714" y="1829108"/>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Tree>
    <p:extLst>
      <p:ext uri="{BB962C8B-B14F-4D97-AF65-F5344CB8AC3E}">
        <p14:creationId xmlns:p14="http://schemas.microsoft.com/office/powerpoint/2010/main" val="39057987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6096000" y="0"/>
            <a:ext cx="13824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6035109" y="448273"/>
            <a:ext cx="5863554" cy="576000"/>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6138971" y="656175"/>
            <a:ext cx="851887" cy="383375"/>
          </a:xfrm>
          <a:prstGeom prst="rect">
            <a:avLst/>
          </a:prstGeom>
          <a:noFill/>
          <a:ln>
            <a:noFill/>
          </a:ln>
        </p:spPr>
        <p:txBody>
          <a:bodyPr wrap="square" rtlCol="0" anchor="ctr" anchorCtr="0">
            <a:spAutoFit/>
          </a:bodyPr>
          <a:lstStyle/>
          <a:p>
            <a:pPr lvl="0" algn="l" rtl="0">
              <a:lnSpc>
                <a:spcPts val="1860"/>
              </a:lnSpc>
              <a:defRPr/>
            </a:pPr>
            <a:r>
              <a:rPr lang="en-GB" sz="3200" b="1" dirty="0">
                <a:solidFill>
                  <a:schemeClr val="bg1"/>
                </a:solidFill>
                <a:ea typeface="League Spartan" charset="0"/>
                <a:cs typeface="Poppins" pitchFamily="2" charset="77"/>
              </a:rPr>
              <a:t>01</a:t>
            </a: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7120589" y="642708"/>
            <a:ext cx="5156055"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Ofrezca rendimiento, consistentemente</a:t>
            </a:r>
          </a:p>
        </p:txBody>
      </p:sp>
      <p:sp>
        <p:nvSpPr>
          <p:cNvPr id="33" name="Pentagon 32">
            <a:extLst>
              <a:ext uri="{FF2B5EF4-FFF2-40B4-BE49-F238E27FC236}">
                <a16:creationId xmlns:a16="http://schemas.microsoft.com/office/drawing/2014/main" id="{C341E196-C78F-4483-80F7-EEE64418048F}"/>
              </a:ext>
            </a:extLst>
          </p:cNvPr>
          <p:cNvSpPr/>
          <p:nvPr/>
        </p:nvSpPr>
        <p:spPr>
          <a:xfrm>
            <a:off x="6033042" y="1119390"/>
            <a:ext cx="5855111" cy="576000"/>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6138971" y="1309012"/>
            <a:ext cx="1359971" cy="383375"/>
          </a:xfrm>
          <a:prstGeom prst="rect">
            <a:avLst/>
          </a:prstGeom>
          <a:noFill/>
          <a:ln>
            <a:noFill/>
          </a:ln>
        </p:spPr>
        <p:txBody>
          <a:bodyPr wrap="square" rtlCol="0" anchor="ctr" anchorCtr="0">
            <a:spAutoFit/>
          </a:bodyPr>
          <a:lstStyle/>
          <a:p>
            <a:pPr lvl="0" algn="l" rtl="0">
              <a:lnSpc>
                <a:spcPts val="1860"/>
              </a:lnSpc>
              <a:defRPr/>
            </a:pPr>
            <a:r>
              <a:rPr lang="en-GB" sz="3200" b="1" dirty="0">
                <a:solidFill>
                  <a:schemeClr val="bg1"/>
                </a:solidFill>
                <a:ea typeface="League Spartan" charset="0"/>
                <a:cs typeface="Poppins" pitchFamily="2" charset="77"/>
              </a:rPr>
              <a:t>02</a:t>
            </a: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7120589" y="1299971"/>
            <a:ext cx="4592074"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Muestre una actitud positiva, siempre</a:t>
            </a:r>
          </a:p>
        </p:txBody>
      </p:sp>
      <p:sp>
        <p:nvSpPr>
          <p:cNvPr id="36" name="Pentagon 35">
            <a:extLst>
              <a:ext uri="{FF2B5EF4-FFF2-40B4-BE49-F238E27FC236}">
                <a16:creationId xmlns:a16="http://schemas.microsoft.com/office/drawing/2014/main" id="{A2F28C16-1CBC-DBE5-8011-858E0DA46ACE}"/>
              </a:ext>
            </a:extLst>
          </p:cNvPr>
          <p:cNvSpPr/>
          <p:nvPr/>
        </p:nvSpPr>
        <p:spPr>
          <a:xfrm>
            <a:off x="6033042" y="1786466"/>
            <a:ext cx="5855111" cy="576000"/>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6138972" y="1984713"/>
            <a:ext cx="935606" cy="383375"/>
          </a:xfrm>
          <a:prstGeom prst="rect">
            <a:avLst/>
          </a:prstGeom>
          <a:noFill/>
          <a:ln>
            <a:noFill/>
          </a:ln>
        </p:spPr>
        <p:txBody>
          <a:bodyPr wrap="square" rtlCol="0" anchor="ctr" anchorCtr="0">
            <a:spAutoFit/>
          </a:bodyPr>
          <a:lstStyle/>
          <a:p>
            <a:pPr lvl="0" algn="l" rtl="0">
              <a:lnSpc>
                <a:spcPts val="1860"/>
              </a:lnSpc>
              <a:defRPr/>
            </a:pPr>
            <a:r>
              <a:rPr lang="en-GB" sz="3200" b="1" dirty="0">
                <a:solidFill>
                  <a:schemeClr val="bg1"/>
                </a:solidFill>
                <a:ea typeface="League Spartan" charset="0"/>
                <a:cs typeface="Poppins" pitchFamily="2" charset="77"/>
              </a:rPr>
              <a:t>03</a:t>
            </a: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7120589" y="1954145"/>
            <a:ext cx="4584042"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Sea un jugador de equipo y un 'seguidor'</a:t>
            </a:r>
          </a:p>
        </p:txBody>
      </p:sp>
      <p:sp>
        <p:nvSpPr>
          <p:cNvPr id="39" name="Pentagon 38">
            <a:extLst>
              <a:ext uri="{FF2B5EF4-FFF2-40B4-BE49-F238E27FC236}">
                <a16:creationId xmlns:a16="http://schemas.microsoft.com/office/drawing/2014/main" id="{F8DCEED6-531C-BF6C-3A63-E751C0662C26}"/>
              </a:ext>
            </a:extLst>
          </p:cNvPr>
          <p:cNvSpPr/>
          <p:nvPr/>
        </p:nvSpPr>
        <p:spPr>
          <a:xfrm>
            <a:off x="6033042" y="2442834"/>
            <a:ext cx="5855111" cy="576000"/>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6138971" y="2647514"/>
            <a:ext cx="851887" cy="383375"/>
          </a:xfrm>
          <a:prstGeom prst="rect">
            <a:avLst/>
          </a:prstGeom>
          <a:noFill/>
          <a:ln>
            <a:noFill/>
          </a:ln>
        </p:spPr>
        <p:txBody>
          <a:bodyPr wrap="square" rtlCol="0" anchor="ctr" anchorCtr="0">
            <a:spAutoFit/>
          </a:bodyPr>
          <a:lstStyle/>
          <a:p>
            <a:pPr lvl="0" algn="l" rtl="0">
              <a:lnSpc>
                <a:spcPts val="1860"/>
              </a:lnSpc>
              <a:defRPr/>
            </a:pPr>
            <a:r>
              <a:rPr lang="en-GB" sz="3200" b="1" dirty="0">
                <a:solidFill>
                  <a:schemeClr val="bg1"/>
                </a:solidFill>
                <a:ea typeface="League Spartan" charset="0"/>
                <a:cs typeface="Poppins" pitchFamily="2" charset="77"/>
              </a:rPr>
              <a:t>04</a:t>
            </a: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7120589" y="2621628"/>
            <a:ext cx="5156057"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Voluntario para liderar proyectos y sumarse a iniciativas</a:t>
            </a:r>
          </a:p>
        </p:txBody>
      </p:sp>
      <p:sp>
        <p:nvSpPr>
          <p:cNvPr id="42" name="Pentagon 41">
            <a:extLst>
              <a:ext uri="{FF2B5EF4-FFF2-40B4-BE49-F238E27FC236}">
                <a16:creationId xmlns:a16="http://schemas.microsoft.com/office/drawing/2014/main" id="{5EE6CBC6-4376-A60C-1006-EB68A79A6BEA}"/>
              </a:ext>
            </a:extLst>
          </p:cNvPr>
          <p:cNvSpPr/>
          <p:nvPr/>
        </p:nvSpPr>
        <p:spPr>
          <a:xfrm>
            <a:off x="6033042" y="3106431"/>
            <a:ext cx="5855111" cy="576000"/>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6138971" y="3295777"/>
            <a:ext cx="974185" cy="383375"/>
          </a:xfrm>
          <a:prstGeom prst="rect">
            <a:avLst/>
          </a:prstGeom>
          <a:noFill/>
          <a:ln>
            <a:noFill/>
          </a:ln>
        </p:spPr>
        <p:txBody>
          <a:bodyPr wrap="square" rtlCol="0" anchor="ctr" anchorCtr="0">
            <a:spAutoFit/>
          </a:bodyPr>
          <a:lstStyle/>
          <a:p>
            <a:pPr lvl="0" algn="l" rtl="0">
              <a:lnSpc>
                <a:spcPts val="1860"/>
              </a:lnSpc>
              <a:defRPr/>
            </a:pPr>
            <a:r>
              <a:rPr lang="en-GB" sz="3200" b="1" dirty="0">
                <a:solidFill>
                  <a:schemeClr val="bg1"/>
                </a:solidFill>
                <a:ea typeface="League Spartan" charset="0"/>
                <a:cs typeface="Poppins" pitchFamily="2" charset="77"/>
              </a:rPr>
              <a:t>05</a:t>
            </a: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7194329" y="3299473"/>
            <a:ext cx="5482950"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Conviértete en un generalista completo</a:t>
            </a:r>
          </a:p>
        </p:txBody>
      </p:sp>
      <p:sp>
        <p:nvSpPr>
          <p:cNvPr id="45" name="Rectangle 44">
            <a:extLst>
              <a:ext uri="{FF2B5EF4-FFF2-40B4-BE49-F238E27FC236}">
                <a16:creationId xmlns:a16="http://schemas.microsoft.com/office/drawing/2014/main" id="{73351E67-4939-BB5C-1C2E-022031ACA560}"/>
              </a:ext>
            </a:extLst>
          </p:cNvPr>
          <p:cNvSpPr/>
          <p:nvPr/>
        </p:nvSpPr>
        <p:spPr>
          <a:xfrm>
            <a:off x="-16721" y="0"/>
            <a:ext cx="1197602"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497680" y="1692387"/>
            <a:ext cx="5123246" cy="57220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a:lnSpc>
                <a:spcPts val="2280"/>
              </a:lnSpc>
              <a:spcBef>
                <a:spcPts val="0"/>
              </a:spcBef>
            </a:pPr>
            <a:r>
              <a:rPr lang="en-GB" sz="2200" dirty="0"/>
              <a:t>Las crisis pueden poner a prueba la capacidad de liderazgo, la toma de decisiones y las habilidades de pensamiento estratégico. Durante una crisis, las partes interesadas deben participar y las interacciones con ellas (y posiblemente con los medios) para articular la situación y compartir su plan de acción previsto son estratégicas. Los líderes pueden usar las crisis como una oportunidad para construir alianzas más fuertes y pedir ayuda si es necesario. Su equipo espera que brinde un fuerte apoyo y orientación, y su confianza en el proceso es una señal de continuidad para su equipo y se requieren verdaderas habilidades de liderazgo. Los siguientes son consejos para líderes en la gestión de crisis:</a:t>
            </a:r>
          </a:p>
          <a:p>
            <a:pPr marL="0" indent="0" algn="l" rtl="0">
              <a:lnSpc>
                <a:spcPts val="2280"/>
              </a:lnSpc>
              <a:spcBef>
                <a:spcPts val="0"/>
              </a:spcBef>
            </a:pPr>
            <a:endParaRPr lang="en-GB" sz="2200" dirty="0"/>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497681" y="380073"/>
            <a:ext cx="5268698" cy="244798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dirty="0"/>
              <a:t>Demostrando Liderazgo</a:t>
            </a:r>
          </a:p>
        </p:txBody>
      </p:sp>
      <p:sp>
        <p:nvSpPr>
          <p:cNvPr id="52" name="Rectangle 51">
            <a:extLst>
              <a:ext uri="{FF2B5EF4-FFF2-40B4-BE49-F238E27FC236}">
                <a16:creationId xmlns:a16="http://schemas.microsoft.com/office/drawing/2014/main" id="{50A70684-FCBB-8592-BFD2-474A09103682}"/>
              </a:ext>
            </a:extLst>
          </p:cNvPr>
          <p:cNvSpPr/>
          <p:nvPr/>
        </p:nvSpPr>
        <p:spPr>
          <a:xfrm>
            <a:off x="497680" y="127505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12" name="Pentagon 11">
            <a:extLst>
              <a:ext uri="{FF2B5EF4-FFF2-40B4-BE49-F238E27FC236}">
                <a16:creationId xmlns:a16="http://schemas.microsoft.com/office/drawing/2014/main" id="{3D928F30-815E-5A49-964A-CA1623656303}"/>
              </a:ext>
            </a:extLst>
          </p:cNvPr>
          <p:cNvSpPr/>
          <p:nvPr/>
        </p:nvSpPr>
        <p:spPr>
          <a:xfrm>
            <a:off x="6024327" y="3753683"/>
            <a:ext cx="5863554" cy="576000"/>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4" name="TextBox 7">
            <a:extLst>
              <a:ext uri="{FF2B5EF4-FFF2-40B4-BE49-F238E27FC236}">
                <a16:creationId xmlns:a16="http://schemas.microsoft.com/office/drawing/2014/main" id="{E37042DE-3CB2-AFFE-DD75-93DA2310EB85}"/>
              </a:ext>
            </a:extLst>
          </p:cNvPr>
          <p:cNvSpPr txBox="1"/>
          <p:nvPr/>
        </p:nvSpPr>
        <p:spPr>
          <a:xfrm>
            <a:off x="6128189" y="3961585"/>
            <a:ext cx="851887" cy="383375"/>
          </a:xfrm>
          <a:prstGeom prst="rect">
            <a:avLst/>
          </a:prstGeom>
          <a:noFill/>
          <a:ln>
            <a:noFill/>
          </a:ln>
        </p:spPr>
        <p:txBody>
          <a:bodyPr wrap="square" rtlCol="0" anchor="ctr" anchorCtr="0">
            <a:spAutoFit/>
          </a:bodyPr>
          <a:lstStyle/>
          <a:p>
            <a:pPr lvl="0" algn="l" rtl="0">
              <a:lnSpc>
                <a:spcPts val="1860"/>
              </a:lnSpc>
              <a:defRPr/>
            </a:pPr>
            <a:r>
              <a:rPr lang="en-GB" sz="3200" b="1" dirty="0">
                <a:solidFill>
                  <a:schemeClr val="bg1"/>
                </a:solidFill>
                <a:ea typeface="League Spartan" charset="0"/>
                <a:cs typeface="Poppins" pitchFamily="2" charset="77"/>
              </a:rPr>
              <a:t>06</a:t>
            </a:r>
          </a:p>
        </p:txBody>
      </p:sp>
      <p:sp>
        <p:nvSpPr>
          <p:cNvPr id="15" name="Subtitle 2">
            <a:extLst>
              <a:ext uri="{FF2B5EF4-FFF2-40B4-BE49-F238E27FC236}">
                <a16:creationId xmlns:a16="http://schemas.microsoft.com/office/drawing/2014/main" id="{0DB3C8FA-607A-4391-E622-50981955B5FB}"/>
              </a:ext>
            </a:extLst>
          </p:cNvPr>
          <p:cNvSpPr txBox="1">
            <a:spLocks/>
          </p:cNvSpPr>
          <p:nvPr/>
        </p:nvSpPr>
        <p:spPr>
          <a:xfrm>
            <a:off x="7120589" y="3815386"/>
            <a:ext cx="3602440"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Sea dueño de sus fracasos/errores... y aprenda de ellos</a:t>
            </a:r>
          </a:p>
        </p:txBody>
      </p:sp>
      <p:sp>
        <p:nvSpPr>
          <p:cNvPr id="16" name="Pentagon 15">
            <a:extLst>
              <a:ext uri="{FF2B5EF4-FFF2-40B4-BE49-F238E27FC236}">
                <a16:creationId xmlns:a16="http://schemas.microsoft.com/office/drawing/2014/main" id="{B828C4A0-12BD-65C9-1D20-B00163024E6D}"/>
              </a:ext>
            </a:extLst>
          </p:cNvPr>
          <p:cNvSpPr/>
          <p:nvPr/>
        </p:nvSpPr>
        <p:spPr>
          <a:xfrm>
            <a:off x="6022260" y="4424800"/>
            <a:ext cx="5855111" cy="576000"/>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7" name="TextBox 7">
            <a:extLst>
              <a:ext uri="{FF2B5EF4-FFF2-40B4-BE49-F238E27FC236}">
                <a16:creationId xmlns:a16="http://schemas.microsoft.com/office/drawing/2014/main" id="{3337D9F6-9031-8231-886B-733876EBA2C2}"/>
              </a:ext>
            </a:extLst>
          </p:cNvPr>
          <p:cNvSpPr txBox="1"/>
          <p:nvPr/>
        </p:nvSpPr>
        <p:spPr>
          <a:xfrm>
            <a:off x="6128189" y="4614422"/>
            <a:ext cx="1359971" cy="383375"/>
          </a:xfrm>
          <a:prstGeom prst="rect">
            <a:avLst/>
          </a:prstGeom>
          <a:noFill/>
          <a:ln>
            <a:noFill/>
          </a:ln>
        </p:spPr>
        <p:txBody>
          <a:bodyPr wrap="square" rtlCol="0" anchor="ctr" anchorCtr="0">
            <a:spAutoFit/>
          </a:bodyPr>
          <a:lstStyle/>
          <a:p>
            <a:pPr lvl="0" algn="l" rtl="0">
              <a:lnSpc>
                <a:spcPts val="1860"/>
              </a:lnSpc>
              <a:defRPr/>
            </a:pPr>
            <a:r>
              <a:rPr lang="en-GB" sz="3200" b="1" dirty="0">
                <a:solidFill>
                  <a:schemeClr val="bg1"/>
                </a:solidFill>
                <a:ea typeface="League Spartan" charset="0"/>
                <a:cs typeface="Poppins" pitchFamily="2" charset="77"/>
              </a:rPr>
              <a:t>07</a:t>
            </a:r>
          </a:p>
        </p:txBody>
      </p:sp>
      <p:sp>
        <p:nvSpPr>
          <p:cNvPr id="18" name="Subtitle 2">
            <a:extLst>
              <a:ext uri="{FF2B5EF4-FFF2-40B4-BE49-F238E27FC236}">
                <a16:creationId xmlns:a16="http://schemas.microsoft.com/office/drawing/2014/main" id="{D9C261E0-123B-91B2-0270-4B9AA95B8DA6}"/>
              </a:ext>
            </a:extLst>
          </p:cNvPr>
          <p:cNvSpPr txBox="1">
            <a:spLocks/>
          </p:cNvSpPr>
          <p:nvPr/>
        </p:nvSpPr>
        <p:spPr>
          <a:xfrm>
            <a:off x="7120589" y="4502144"/>
            <a:ext cx="4015392"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Piense estratégicamente y vea el panorama general en todo momento</a:t>
            </a:r>
          </a:p>
        </p:txBody>
      </p:sp>
      <p:sp>
        <p:nvSpPr>
          <p:cNvPr id="19" name="Pentagon 18">
            <a:extLst>
              <a:ext uri="{FF2B5EF4-FFF2-40B4-BE49-F238E27FC236}">
                <a16:creationId xmlns:a16="http://schemas.microsoft.com/office/drawing/2014/main" id="{D8FFFBBB-9FAE-3E5E-56B6-8A72D08644C4}"/>
              </a:ext>
            </a:extLst>
          </p:cNvPr>
          <p:cNvSpPr/>
          <p:nvPr/>
        </p:nvSpPr>
        <p:spPr>
          <a:xfrm>
            <a:off x="6022260" y="5091876"/>
            <a:ext cx="5855111" cy="576000"/>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0" name="TextBox 7">
            <a:extLst>
              <a:ext uri="{FF2B5EF4-FFF2-40B4-BE49-F238E27FC236}">
                <a16:creationId xmlns:a16="http://schemas.microsoft.com/office/drawing/2014/main" id="{EF014A97-89BE-C3D4-815E-D6CC14CED091}"/>
              </a:ext>
            </a:extLst>
          </p:cNvPr>
          <p:cNvSpPr txBox="1"/>
          <p:nvPr/>
        </p:nvSpPr>
        <p:spPr>
          <a:xfrm>
            <a:off x="6128190" y="5290123"/>
            <a:ext cx="935606" cy="383375"/>
          </a:xfrm>
          <a:prstGeom prst="rect">
            <a:avLst/>
          </a:prstGeom>
          <a:noFill/>
          <a:ln>
            <a:noFill/>
          </a:ln>
        </p:spPr>
        <p:txBody>
          <a:bodyPr wrap="square" rtlCol="0" anchor="ctr" anchorCtr="0">
            <a:spAutoFit/>
          </a:bodyPr>
          <a:lstStyle/>
          <a:p>
            <a:pPr lvl="0" algn="l" rtl="0">
              <a:lnSpc>
                <a:spcPts val="1860"/>
              </a:lnSpc>
              <a:defRPr/>
            </a:pPr>
            <a:r>
              <a:rPr lang="en-GB" sz="3200" b="1" dirty="0">
                <a:solidFill>
                  <a:schemeClr val="bg1"/>
                </a:solidFill>
                <a:ea typeface="League Spartan" charset="0"/>
                <a:cs typeface="Poppins" pitchFamily="2" charset="77"/>
              </a:rPr>
              <a:t>08</a:t>
            </a:r>
          </a:p>
        </p:txBody>
      </p:sp>
      <p:sp>
        <p:nvSpPr>
          <p:cNvPr id="21" name="Subtitle 2">
            <a:extLst>
              <a:ext uri="{FF2B5EF4-FFF2-40B4-BE49-F238E27FC236}">
                <a16:creationId xmlns:a16="http://schemas.microsoft.com/office/drawing/2014/main" id="{D9C6EBBB-2DFC-B84A-FEB7-C55FE6CD83E3}"/>
              </a:ext>
            </a:extLst>
          </p:cNvPr>
          <p:cNvSpPr txBox="1">
            <a:spLocks/>
          </p:cNvSpPr>
          <p:nvPr/>
        </p:nvSpPr>
        <p:spPr>
          <a:xfrm>
            <a:off x="7120589" y="5259555"/>
            <a:ext cx="4584042"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Observa a los demás, evalúa, escucha, aprende</a:t>
            </a:r>
          </a:p>
        </p:txBody>
      </p:sp>
      <p:sp>
        <p:nvSpPr>
          <p:cNvPr id="22" name="Pentagon 21">
            <a:extLst>
              <a:ext uri="{FF2B5EF4-FFF2-40B4-BE49-F238E27FC236}">
                <a16:creationId xmlns:a16="http://schemas.microsoft.com/office/drawing/2014/main" id="{A6CCC2A4-4879-7625-18AF-AEBCE32FF514}"/>
              </a:ext>
            </a:extLst>
          </p:cNvPr>
          <p:cNvSpPr/>
          <p:nvPr/>
        </p:nvSpPr>
        <p:spPr>
          <a:xfrm>
            <a:off x="6022260" y="5748244"/>
            <a:ext cx="5855111" cy="576000"/>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3" name="TextBox 7">
            <a:extLst>
              <a:ext uri="{FF2B5EF4-FFF2-40B4-BE49-F238E27FC236}">
                <a16:creationId xmlns:a16="http://schemas.microsoft.com/office/drawing/2014/main" id="{2389C730-D2F3-DB92-5282-8E4C95367B82}"/>
              </a:ext>
            </a:extLst>
          </p:cNvPr>
          <p:cNvSpPr txBox="1"/>
          <p:nvPr/>
        </p:nvSpPr>
        <p:spPr>
          <a:xfrm>
            <a:off x="6128189" y="5952924"/>
            <a:ext cx="851887" cy="383375"/>
          </a:xfrm>
          <a:prstGeom prst="rect">
            <a:avLst/>
          </a:prstGeom>
          <a:noFill/>
          <a:ln>
            <a:noFill/>
          </a:ln>
        </p:spPr>
        <p:txBody>
          <a:bodyPr wrap="square" rtlCol="0" anchor="ctr" anchorCtr="0">
            <a:spAutoFit/>
          </a:bodyPr>
          <a:lstStyle/>
          <a:p>
            <a:pPr lvl="0" algn="l" rtl="0">
              <a:lnSpc>
                <a:spcPts val="1860"/>
              </a:lnSpc>
              <a:defRPr/>
            </a:pPr>
            <a:r>
              <a:rPr lang="en-GB" sz="3200" b="1" dirty="0">
                <a:solidFill>
                  <a:schemeClr val="bg1"/>
                </a:solidFill>
                <a:ea typeface="League Spartan" charset="0"/>
                <a:cs typeface="Poppins" pitchFamily="2" charset="77"/>
              </a:rPr>
              <a:t>09</a:t>
            </a:r>
          </a:p>
        </p:txBody>
      </p:sp>
      <p:sp>
        <p:nvSpPr>
          <p:cNvPr id="24" name="Subtitle 2">
            <a:extLst>
              <a:ext uri="{FF2B5EF4-FFF2-40B4-BE49-F238E27FC236}">
                <a16:creationId xmlns:a16="http://schemas.microsoft.com/office/drawing/2014/main" id="{B359C11B-D854-F462-D119-552DE9CBE95D}"/>
              </a:ext>
            </a:extLst>
          </p:cNvPr>
          <p:cNvSpPr txBox="1">
            <a:spLocks/>
          </p:cNvSpPr>
          <p:nvPr/>
        </p:nvSpPr>
        <p:spPr>
          <a:xfrm>
            <a:off x="7120589" y="5927038"/>
            <a:ext cx="5156057"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rtl="0">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ser consciente de sí mismo</a:t>
            </a:r>
          </a:p>
        </p:txBody>
      </p:sp>
      <p:cxnSp>
        <p:nvCxnSpPr>
          <p:cNvPr id="28" name="Straight Connector 27">
            <a:extLst>
              <a:ext uri="{FF2B5EF4-FFF2-40B4-BE49-F238E27FC236}">
                <a16:creationId xmlns:a16="http://schemas.microsoft.com/office/drawing/2014/main" id="{7B41A243-099F-D814-B25E-0061F6A7A787}"/>
              </a:ext>
            </a:extLst>
          </p:cNvPr>
          <p:cNvCxnSpPr>
            <a:cxnSpLocks/>
          </p:cNvCxnSpPr>
          <p:nvPr/>
        </p:nvCxnSpPr>
        <p:spPr>
          <a:xfrm>
            <a:off x="6785783" y="62331"/>
            <a:ext cx="0" cy="6795669"/>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87390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015E3AC-B06E-DF30-2668-4C53DA0A00EC}"/>
              </a:ext>
            </a:extLst>
          </p:cNvPr>
          <p:cNvSpPr>
            <a:spLocks noGrp="1"/>
          </p:cNvSpPr>
          <p:nvPr>
            <p:ph type="body" sz="quarter" idx="18"/>
          </p:nvPr>
        </p:nvSpPr>
        <p:spPr>
          <a:xfrm>
            <a:off x="573207" y="2068778"/>
            <a:ext cx="3703854" cy="3867704"/>
          </a:xfrm>
        </p:spPr>
        <p:txBody>
          <a:bodyPr>
            <a:normAutofit/>
          </a:bodyPr>
          <a:lstStyle/>
          <a:p>
            <a:pPr marL="14288" indent="-14288" algn="l" rtl="0">
              <a:lnSpc>
                <a:spcPts val="2280"/>
              </a:lnSpc>
              <a:spcBef>
                <a:spcPts val="0"/>
              </a:spcBef>
            </a:pPr>
            <a:r>
              <a:rPr lang="en-GB" sz="2200" b="1" dirty="0">
                <a:solidFill>
                  <a:srgbClr val="EDA13E"/>
                </a:solidFill>
                <a:ea typeface="League Spartan" charset="0"/>
                <a:cs typeface="Poppins" pitchFamily="2" charset="77"/>
              </a:rPr>
              <a:t>Perspectiva</a:t>
            </a:r>
          </a:p>
          <a:p>
            <a:pPr marL="14288" indent="-14288" algn="l" rtl="0">
              <a:lnSpc>
                <a:spcPts val="2280"/>
              </a:lnSpc>
              <a:spcBef>
                <a:spcPts val="0"/>
              </a:spcBef>
            </a:pPr>
            <a:r>
              <a:rPr lang="en-US" sz="2200" dirty="0"/>
              <a:t>Cómo nos vemos a nosotros mismos no siempre es cómo nos ven los demás... y en el lugar de trabajo, sus puntos de vista son más importantes</a:t>
            </a:r>
          </a:p>
          <a:p>
            <a:pPr marL="14288" indent="-14288" algn="l" rtl="0">
              <a:lnSpc>
                <a:spcPts val="2280"/>
              </a:lnSpc>
              <a:spcBef>
                <a:spcPts val="0"/>
              </a:spcBef>
            </a:pPr>
            <a:endParaRPr lang="en-US" sz="2200" dirty="0"/>
          </a:p>
          <a:p>
            <a:pPr marL="14288" indent="-14288" algn="l" rtl="0">
              <a:lnSpc>
                <a:spcPts val="2280"/>
              </a:lnSpc>
              <a:spcBef>
                <a:spcPts val="0"/>
              </a:spcBef>
            </a:pPr>
            <a:r>
              <a:rPr lang="en-GB" sz="2200" b="1" dirty="0">
                <a:solidFill>
                  <a:srgbClr val="EDA13E"/>
                </a:solidFill>
                <a:ea typeface="League Spartan" charset="0"/>
                <a:cs typeface="Poppins" pitchFamily="2" charset="77"/>
              </a:rPr>
              <a:t>Paciencia</a:t>
            </a:r>
          </a:p>
          <a:p>
            <a:pPr marL="14288" indent="-14288" algn="l" rtl="0">
              <a:lnSpc>
                <a:spcPts val="2280"/>
              </a:lnSpc>
              <a:spcBef>
                <a:spcPts val="0"/>
              </a:spcBef>
            </a:pPr>
            <a:r>
              <a:rPr lang="en-GB" sz="2200" dirty="0">
                <a:ea typeface="Lato Light" panose="020F0502020204030203" pitchFamily="34" charset="0"/>
                <a:cs typeface="Mukta ExtraLight" panose="020B0000000000000000" pitchFamily="34" charset="77"/>
              </a:rPr>
              <a:t>Templa tu ambición con paciencia</a:t>
            </a:r>
          </a:p>
          <a:p>
            <a:pPr marL="14288" indent="-14288" algn="l" rtl="0">
              <a:lnSpc>
                <a:spcPts val="2280"/>
              </a:lnSpc>
              <a:spcBef>
                <a:spcPts val="0"/>
              </a:spcBef>
            </a:pPr>
            <a:endParaRPr lang="en-GB" sz="2200" dirty="0">
              <a:ea typeface="League Spartan" charset="0"/>
              <a:cs typeface="Poppins" pitchFamily="2" charset="77"/>
            </a:endParaRPr>
          </a:p>
          <a:p>
            <a:pPr marL="14288" indent="-14288" algn="l" rtl="0">
              <a:lnSpc>
                <a:spcPts val="2280"/>
              </a:lnSpc>
              <a:spcBef>
                <a:spcPts val="0"/>
              </a:spcBef>
            </a:pPr>
            <a:endParaRPr lang="en-US" sz="2200" dirty="0"/>
          </a:p>
          <a:p>
            <a:pPr marL="14288" indent="-14288" algn="l" rtl="0">
              <a:lnSpc>
                <a:spcPts val="2280"/>
              </a:lnSpc>
              <a:spcBef>
                <a:spcPts val="0"/>
              </a:spcBef>
            </a:pPr>
            <a:endParaRPr lang="en-US" sz="2200" dirty="0"/>
          </a:p>
        </p:txBody>
      </p:sp>
      <p:sp>
        <p:nvSpPr>
          <p:cNvPr id="6" name="Text Placeholder 5">
            <a:extLst>
              <a:ext uri="{FF2B5EF4-FFF2-40B4-BE49-F238E27FC236}">
                <a16:creationId xmlns:a16="http://schemas.microsoft.com/office/drawing/2014/main" id="{59F03BA5-4D7B-BFB1-D39E-E836C9BEBFA7}"/>
              </a:ext>
            </a:extLst>
          </p:cNvPr>
          <p:cNvSpPr>
            <a:spLocks noGrp="1"/>
          </p:cNvSpPr>
          <p:nvPr>
            <p:ph type="body" sz="quarter" idx="16"/>
          </p:nvPr>
        </p:nvSpPr>
        <p:spPr>
          <a:xfrm>
            <a:off x="559530" y="522952"/>
            <a:ext cx="10808102" cy="582221"/>
          </a:xfrm>
        </p:spPr>
        <p:txBody>
          <a:bodyPr>
            <a:normAutofit lnSpcReduction="10000"/>
          </a:bodyPr>
          <a:lstStyle/>
          <a:p>
            <a:pPr algn="l" rtl="0"/>
            <a:r>
              <a:rPr lang="en-US" dirty="0"/>
              <a:t>Vale la pena pensar en</a:t>
            </a:r>
          </a:p>
          <a:p>
            <a:pPr algn="l" rtl="0"/>
            <a:endParaRPr lang="en-US" dirty="0"/>
          </a:p>
        </p:txBody>
      </p:sp>
      <p:sp>
        <p:nvSpPr>
          <p:cNvPr id="7" name="Rectangle 6">
            <a:extLst>
              <a:ext uri="{FF2B5EF4-FFF2-40B4-BE49-F238E27FC236}">
                <a16:creationId xmlns:a16="http://schemas.microsoft.com/office/drawing/2014/main" id="{38E97E4C-FC74-2A5F-1406-373FED1281B0}"/>
              </a:ext>
            </a:extLst>
          </p:cNvPr>
          <p:cNvSpPr/>
          <p:nvPr/>
        </p:nvSpPr>
        <p:spPr>
          <a:xfrm>
            <a:off x="497680" y="127505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pic>
        <p:nvPicPr>
          <p:cNvPr id="8" name="Picture 7">
            <a:extLst>
              <a:ext uri="{FF2B5EF4-FFF2-40B4-BE49-F238E27FC236}">
                <a16:creationId xmlns:a16="http://schemas.microsoft.com/office/drawing/2014/main" id="{3894A25F-6917-60CF-05D2-024A3C0F233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899865" y="1467404"/>
            <a:ext cx="2628900" cy="3886200"/>
          </a:xfrm>
          <a:prstGeom prst="rect">
            <a:avLst/>
          </a:prstGeom>
        </p:spPr>
      </p:pic>
      <p:sp>
        <p:nvSpPr>
          <p:cNvPr id="9" name="Text Placeholder 3">
            <a:extLst>
              <a:ext uri="{FF2B5EF4-FFF2-40B4-BE49-F238E27FC236}">
                <a16:creationId xmlns:a16="http://schemas.microsoft.com/office/drawing/2014/main" id="{231B8F84-F0B1-F1D9-977A-EE44B11A5A27}"/>
              </a:ext>
            </a:extLst>
          </p:cNvPr>
          <p:cNvSpPr txBox="1">
            <a:spLocks/>
          </p:cNvSpPr>
          <p:nvPr/>
        </p:nvSpPr>
        <p:spPr>
          <a:xfrm>
            <a:off x="8103953" y="2068778"/>
            <a:ext cx="3680008" cy="38677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288" indent="-14288" algn="l" rtl="0">
              <a:lnSpc>
                <a:spcPts val="2280"/>
              </a:lnSpc>
              <a:spcBef>
                <a:spcPts val="0"/>
              </a:spcBef>
            </a:pPr>
            <a:r>
              <a:rPr lang="en-GB" sz="2200" b="1" dirty="0">
                <a:solidFill>
                  <a:srgbClr val="EDA13E"/>
                </a:solidFill>
                <a:ea typeface="League Spartan" charset="0"/>
                <a:cs typeface="Poppins" pitchFamily="2" charset="77"/>
              </a:rPr>
              <a:t>Honestidad contigo mismo</a:t>
            </a:r>
          </a:p>
          <a:p>
            <a:pPr marL="14288" indent="-14288" algn="l" rtl="0">
              <a:lnSpc>
                <a:spcPts val="2280"/>
              </a:lnSpc>
              <a:spcBef>
                <a:spcPts val="0"/>
              </a:spcBef>
            </a:pPr>
            <a:r>
              <a:rPr lang="en-GB" sz="2200" dirty="0">
                <a:solidFill>
                  <a:schemeClr val="tx2"/>
                </a:solidFill>
                <a:ea typeface="League Spartan" charset="0"/>
                <a:cs typeface="Poppins" pitchFamily="2" charset="77"/>
              </a:rPr>
              <a:t>Sea brutalmente honesto consigo mismo acerca de en qué es bueno y en qué necesita trabajar</a:t>
            </a:r>
          </a:p>
          <a:p>
            <a:pPr marL="14288" indent="-14288" algn="l" rtl="0">
              <a:lnSpc>
                <a:spcPts val="2280"/>
              </a:lnSpc>
              <a:spcBef>
                <a:spcPts val="0"/>
              </a:spcBef>
            </a:pPr>
            <a:endParaRPr lang="en-GB" sz="2200" dirty="0">
              <a:solidFill>
                <a:schemeClr val="tx2"/>
              </a:solidFill>
              <a:ea typeface="League Spartan" charset="0"/>
              <a:cs typeface="Poppins" pitchFamily="2" charset="77"/>
            </a:endParaRPr>
          </a:p>
          <a:p>
            <a:pPr marL="14288" indent="-14288" algn="l" rtl="0">
              <a:lnSpc>
                <a:spcPts val="2280"/>
              </a:lnSpc>
              <a:spcBef>
                <a:spcPts val="0"/>
              </a:spcBef>
            </a:pPr>
            <a:r>
              <a:rPr lang="en-GB" sz="2200" b="1" dirty="0">
                <a:solidFill>
                  <a:srgbClr val="EDA13E"/>
                </a:solidFill>
                <a:ea typeface="League Spartan" charset="0"/>
                <a:cs typeface="Poppins" pitchFamily="2" charset="77"/>
              </a:rPr>
              <a:t>Propiedad</a:t>
            </a:r>
          </a:p>
          <a:p>
            <a:pPr marL="14288" indent="-14288" algn="l" rtl="0">
              <a:lnSpc>
                <a:spcPts val="2280"/>
              </a:lnSpc>
              <a:spcBef>
                <a:spcPts val="0"/>
              </a:spcBef>
            </a:pPr>
            <a:r>
              <a:rPr lang="en-GB" sz="2200" dirty="0">
                <a:solidFill>
                  <a:schemeClr val="tx2"/>
                </a:solidFill>
                <a:ea typeface="League Spartan" charset="0"/>
                <a:cs typeface="Poppins" pitchFamily="2" charset="77"/>
              </a:rPr>
              <a:t>Asumir la responsabilidad de su propio crecimiento y aprendizaje</a:t>
            </a:r>
          </a:p>
          <a:p>
            <a:pPr marL="14288" indent="-14288" algn="l" rtl="0">
              <a:lnSpc>
                <a:spcPts val="2280"/>
              </a:lnSpc>
              <a:spcBef>
                <a:spcPts val="0"/>
              </a:spcBef>
            </a:pPr>
            <a:endParaRPr lang="en-GB" sz="2200" dirty="0">
              <a:solidFill>
                <a:schemeClr val="tx2"/>
              </a:solidFill>
              <a:ea typeface="League Spartan" charset="0"/>
              <a:cs typeface="Poppins" pitchFamily="2" charset="77"/>
            </a:endParaRPr>
          </a:p>
          <a:p>
            <a:pPr marL="14288" indent="-14288" algn="l" rtl="0">
              <a:lnSpc>
                <a:spcPts val="2280"/>
              </a:lnSpc>
              <a:spcBef>
                <a:spcPts val="0"/>
              </a:spcBef>
            </a:pPr>
            <a:endParaRPr lang="en-GB" sz="2200" dirty="0">
              <a:solidFill>
                <a:schemeClr val="tx2"/>
              </a:solidFill>
              <a:ea typeface="League Spartan" charset="0"/>
              <a:cs typeface="Poppins" pitchFamily="2" charset="77"/>
            </a:endParaRPr>
          </a:p>
        </p:txBody>
      </p:sp>
    </p:spTree>
    <p:extLst>
      <p:ext uri="{BB962C8B-B14F-4D97-AF65-F5344CB8AC3E}">
        <p14:creationId xmlns:p14="http://schemas.microsoft.com/office/powerpoint/2010/main" val="16201689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181190"/>
            <a:ext cx="12192000" cy="168091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6045004" y="462137"/>
            <a:ext cx="5659168"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r>
              <a:rPr lang="en-US" dirty="0">
                <a:solidFill>
                  <a:schemeClr val="bg1"/>
                </a:solidFill>
              </a:rPr>
              <a:t>¿Cómo se forma una</a:t>
            </a:r>
            <a:r>
              <a:rPr lang="en-US" dirty="0" err="1">
                <a:solidFill>
                  <a:schemeClr val="bg1"/>
                </a:solidFill>
              </a:rPr>
              <a:t>organizativo</a:t>
            </a:r>
            <a:r>
              <a:rPr lang="en-US" dirty="0">
                <a:solidFill>
                  <a:schemeClr val="bg1"/>
                </a:solidFill>
              </a:rPr>
              <a:t>¿cultura? A través de seis "mecanismos de incorporación" según el Dr. Schein, ex profesor de la MIT Sloan School of Management</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71694" y="419799"/>
            <a:ext cx="5001932"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Creando una cultura para el futuro: el papel de un líder</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5001616" y="1013534"/>
            <a:ext cx="1404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grpSp>
        <p:nvGrpSpPr>
          <p:cNvPr id="85" name="Group 84">
            <a:extLst>
              <a:ext uri="{FF2B5EF4-FFF2-40B4-BE49-F238E27FC236}">
                <a16:creationId xmlns:a16="http://schemas.microsoft.com/office/drawing/2014/main" id="{C1ABED94-14DA-2AF8-960A-6D9AE3C7AD25}"/>
              </a:ext>
            </a:extLst>
          </p:cNvPr>
          <p:cNvGrpSpPr/>
          <p:nvPr/>
        </p:nvGrpSpPr>
        <p:grpSpPr>
          <a:xfrm>
            <a:off x="707827" y="2046514"/>
            <a:ext cx="10820871" cy="4233237"/>
            <a:chOff x="707827" y="2046514"/>
            <a:chExt cx="10820871" cy="4233237"/>
          </a:xfrm>
        </p:grpSpPr>
        <p:grpSp>
          <p:nvGrpSpPr>
            <p:cNvPr id="80" name="Group 79">
              <a:extLst>
                <a:ext uri="{FF2B5EF4-FFF2-40B4-BE49-F238E27FC236}">
                  <a16:creationId xmlns:a16="http://schemas.microsoft.com/office/drawing/2014/main" id="{539679BB-E1A2-005D-F890-9E3E79BB776C}"/>
                </a:ext>
              </a:extLst>
            </p:cNvPr>
            <p:cNvGrpSpPr/>
            <p:nvPr/>
          </p:nvGrpSpPr>
          <p:grpSpPr>
            <a:xfrm>
              <a:off x="3636916" y="2362056"/>
              <a:ext cx="1123769" cy="3255306"/>
              <a:chOff x="3636916" y="2362056"/>
              <a:chExt cx="1123769" cy="3255306"/>
            </a:xfrm>
          </p:grpSpPr>
          <p:sp>
            <p:nvSpPr>
              <p:cNvPr id="2" name="Line">
                <a:extLst>
                  <a:ext uri="{FF2B5EF4-FFF2-40B4-BE49-F238E27FC236}">
                    <a16:creationId xmlns:a16="http://schemas.microsoft.com/office/drawing/2014/main" id="{A2D010F0-17CE-CB71-3174-0138B1DE1688}"/>
                  </a:ext>
                </a:extLst>
              </p:cNvPr>
              <p:cNvSpPr/>
              <p:nvPr/>
            </p:nvSpPr>
            <p:spPr>
              <a:xfrm flipH="1">
                <a:off x="3636916" y="2362056"/>
                <a:ext cx="831392" cy="40011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pPr algn="l" rtl="0"/>
                <a:endParaRPr lang="en-GB" sz="1899" dirty="0"/>
              </a:p>
            </p:txBody>
          </p:sp>
          <p:sp>
            <p:nvSpPr>
              <p:cNvPr id="3" name="Line">
                <a:extLst>
                  <a:ext uri="{FF2B5EF4-FFF2-40B4-BE49-F238E27FC236}">
                    <a16:creationId xmlns:a16="http://schemas.microsoft.com/office/drawing/2014/main" id="{AB07E7F5-3C65-8F61-0385-C83F2CC3A92C}"/>
                  </a:ext>
                </a:extLst>
              </p:cNvPr>
              <p:cNvSpPr/>
              <p:nvPr/>
            </p:nvSpPr>
            <p:spPr>
              <a:xfrm flipH="1" flipV="1">
                <a:off x="3682534" y="3537853"/>
                <a:ext cx="702170" cy="13193"/>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pPr algn="l" rtl="0"/>
                <a:endParaRPr lang="en-GB" sz="1899" dirty="0"/>
              </a:p>
            </p:txBody>
          </p:sp>
          <p:sp>
            <p:nvSpPr>
              <p:cNvPr id="79" name="Line">
                <a:extLst>
                  <a:ext uri="{FF2B5EF4-FFF2-40B4-BE49-F238E27FC236}">
                    <a16:creationId xmlns:a16="http://schemas.microsoft.com/office/drawing/2014/main" id="{36E03387-C553-5ED9-8635-81AB9F0A21B1}"/>
                  </a:ext>
                </a:extLst>
              </p:cNvPr>
              <p:cNvSpPr/>
              <p:nvPr/>
            </p:nvSpPr>
            <p:spPr>
              <a:xfrm flipH="1">
                <a:off x="3647414" y="5217252"/>
                <a:ext cx="1113271" cy="40011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pPr algn="l" rtl="0"/>
                <a:endParaRPr lang="en-GB" sz="1899" dirty="0"/>
              </a:p>
            </p:txBody>
          </p:sp>
        </p:grpSp>
        <p:grpSp>
          <p:nvGrpSpPr>
            <p:cNvPr id="81" name="Group 80">
              <a:extLst>
                <a:ext uri="{FF2B5EF4-FFF2-40B4-BE49-F238E27FC236}">
                  <a16:creationId xmlns:a16="http://schemas.microsoft.com/office/drawing/2014/main" id="{B3A343D7-B0EA-AAA9-FC10-D07C94911F98}"/>
                </a:ext>
              </a:extLst>
            </p:cNvPr>
            <p:cNvGrpSpPr/>
            <p:nvPr/>
          </p:nvGrpSpPr>
          <p:grpSpPr>
            <a:xfrm flipH="1">
              <a:off x="7022478" y="2447475"/>
              <a:ext cx="1295468" cy="3087240"/>
              <a:chOff x="3405069" y="2512097"/>
              <a:chExt cx="1295468" cy="3087240"/>
            </a:xfrm>
          </p:grpSpPr>
          <p:sp>
            <p:nvSpPr>
              <p:cNvPr id="82" name="Line">
                <a:extLst>
                  <a:ext uri="{FF2B5EF4-FFF2-40B4-BE49-F238E27FC236}">
                    <a16:creationId xmlns:a16="http://schemas.microsoft.com/office/drawing/2014/main" id="{6422C8B6-A180-C381-D818-81080366459A}"/>
                  </a:ext>
                </a:extLst>
              </p:cNvPr>
              <p:cNvSpPr/>
              <p:nvPr/>
            </p:nvSpPr>
            <p:spPr>
              <a:xfrm flipV="1">
                <a:off x="3405069" y="2512097"/>
                <a:ext cx="1210949" cy="2992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pPr algn="l" rtl="0"/>
                <a:endParaRPr lang="en-GB" sz="1899" dirty="0"/>
              </a:p>
            </p:txBody>
          </p:sp>
          <p:sp>
            <p:nvSpPr>
              <p:cNvPr id="83" name="Line">
                <a:extLst>
                  <a:ext uri="{FF2B5EF4-FFF2-40B4-BE49-F238E27FC236}">
                    <a16:creationId xmlns:a16="http://schemas.microsoft.com/office/drawing/2014/main" id="{974CA937-E5EC-6DA5-2695-2592685848DD}"/>
                  </a:ext>
                </a:extLst>
              </p:cNvPr>
              <p:cNvSpPr/>
              <p:nvPr/>
            </p:nvSpPr>
            <p:spPr>
              <a:xfrm flipH="1">
                <a:off x="3489589" y="3771066"/>
                <a:ext cx="1210948" cy="17243"/>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pPr algn="l" rtl="0"/>
                <a:endParaRPr lang="en-GB" sz="1899" dirty="0"/>
              </a:p>
            </p:txBody>
          </p:sp>
          <p:sp>
            <p:nvSpPr>
              <p:cNvPr id="84" name="Line">
                <a:extLst>
                  <a:ext uri="{FF2B5EF4-FFF2-40B4-BE49-F238E27FC236}">
                    <a16:creationId xmlns:a16="http://schemas.microsoft.com/office/drawing/2014/main" id="{0A8DBC58-C1C8-A82A-3E34-5C6197908835}"/>
                  </a:ext>
                </a:extLst>
              </p:cNvPr>
              <p:cNvSpPr/>
              <p:nvPr/>
            </p:nvSpPr>
            <p:spPr>
              <a:xfrm flipV="1">
                <a:off x="3418043" y="5265800"/>
                <a:ext cx="795550" cy="33353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pPr algn="l" rtl="0"/>
                <a:endParaRPr lang="en-GB" sz="1899" dirty="0"/>
              </a:p>
            </p:txBody>
          </p:sp>
        </p:grpSp>
        <p:sp>
          <p:nvSpPr>
            <p:cNvPr id="4" name="TextBox 54">
              <a:extLst>
                <a:ext uri="{FF2B5EF4-FFF2-40B4-BE49-F238E27FC236}">
                  <a16:creationId xmlns:a16="http://schemas.microsoft.com/office/drawing/2014/main" id="{4038683D-034B-616C-AFBE-129682FCCAEA}"/>
                </a:ext>
              </a:extLst>
            </p:cNvPr>
            <p:cNvSpPr txBox="1"/>
            <p:nvPr/>
          </p:nvSpPr>
          <p:spPr>
            <a:xfrm>
              <a:off x="2055446" y="2126977"/>
              <a:ext cx="1508362" cy="400110"/>
            </a:xfrm>
            <a:prstGeom prst="rect">
              <a:avLst/>
            </a:prstGeom>
            <a:noFill/>
          </p:spPr>
          <p:txBody>
            <a:bodyPr wrap="none" rtlCol="0" anchor="ctr" anchorCtr="0">
              <a:spAutoFit/>
            </a:bodyPr>
            <a:lstStyle/>
            <a:p>
              <a:pPr algn="l" rtl="0"/>
              <a:r>
                <a:rPr lang="en-GB" sz="2000" b="1" dirty="0">
                  <a:solidFill>
                    <a:srgbClr val="C01F75"/>
                  </a:solidFill>
                  <a:ea typeface="League Spartan" charset="0"/>
                  <a:cs typeface="Poppins" pitchFamily="2" charset="77"/>
                </a:rPr>
                <a:t>1. Atención</a:t>
              </a:r>
            </a:p>
          </p:txBody>
        </p:sp>
        <p:sp>
          <p:nvSpPr>
            <p:cNvPr id="5" name="Subtitle 2">
              <a:extLst>
                <a:ext uri="{FF2B5EF4-FFF2-40B4-BE49-F238E27FC236}">
                  <a16:creationId xmlns:a16="http://schemas.microsoft.com/office/drawing/2014/main" id="{17DB95D1-B089-91C8-A5DA-5AC9AE6701A4}"/>
                </a:ext>
              </a:extLst>
            </p:cNvPr>
            <p:cNvSpPr txBox="1">
              <a:spLocks/>
            </p:cNvSpPr>
            <p:nvPr/>
          </p:nvSpPr>
          <p:spPr>
            <a:xfrm>
              <a:off x="707827" y="2449986"/>
              <a:ext cx="2810833"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altLang="de-DE" sz="1800" dirty="0">
                  <a:solidFill>
                    <a:srgbClr val="595959"/>
                  </a:solidFill>
                  <a:latin typeface="+mn-lt"/>
                </a:rPr>
                <a:t>¿A qué presta atención sistemáticamente?</a:t>
              </a:r>
            </a:p>
          </p:txBody>
        </p:sp>
        <p:sp>
          <p:nvSpPr>
            <p:cNvPr id="6" name="TextBox 56">
              <a:extLst>
                <a:ext uri="{FF2B5EF4-FFF2-40B4-BE49-F238E27FC236}">
                  <a16:creationId xmlns:a16="http://schemas.microsoft.com/office/drawing/2014/main" id="{9926B52A-16F8-2A78-33C6-B006C2EEEE04}"/>
                </a:ext>
              </a:extLst>
            </p:cNvPr>
            <p:cNvSpPr txBox="1"/>
            <p:nvPr/>
          </p:nvSpPr>
          <p:spPr>
            <a:xfrm>
              <a:off x="1478204" y="3333125"/>
              <a:ext cx="2126059" cy="707886"/>
            </a:xfrm>
            <a:prstGeom prst="rect">
              <a:avLst/>
            </a:prstGeom>
            <a:noFill/>
          </p:spPr>
          <p:txBody>
            <a:bodyPr wrap="square" rtlCol="0" anchor="ctr" anchorCtr="0">
              <a:spAutoFit/>
            </a:bodyPr>
            <a:lstStyle/>
            <a:p>
              <a:pPr algn="l" rtl="0"/>
              <a:r>
                <a:rPr lang="en-GB" sz="2000" b="1" dirty="0">
                  <a:solidFill>
                    <a:srgbClr val="005757"/>
                  </a:solidFill>
                  <a:ea typeface="League Spartan" charset="0"/>
                  <a:cs typeface="Poppins" pitchFamily="2" charset="77"/>
                </a:rPr>
                <a:t>2. Señales a través del proceso de presupuestación</a:t>
              </a:r>
            </a:p>
          </p:txBody>
        </p:sp>
        <p:sp>
          <p:nvSpPr>
            <p:cNvPr id="7" name="Subtitle 2">
              <a:extLst>
                <a:ext uri="{FF2B5EF4-FFF2-40B4-BE49-F238E27FC236}">
                  <a16:creationId xmlns:a16="http://schemas.microsoft.com/office/drawing/2014/main" id="{A5A5B750-08F7-4B62-B5D6-8F51A13B64D3}"/>
                </a:ext>
              </a:extLst>
            </p:cNvPr>
            <p:cNvSpPr txBox="1">
              <a:spLocks/>
            </p:cNvSpPr>
            <p:nvPr/>
          </p:nvSpPr>
          <p:spPr>
            <a:xfrm>
              <a:off x="752492" y="4015109"/>
              <a:ext cx="2810833" cy="76560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sz="1800" dirty="0">
                  <a:solidFill>
                    <a:srgbClr val="595959"/>
                  </a:solidFill>
                  <a:latin typeface="+mn-lt"/>
                </a:rPr>
                <a:t>¿Qué señales se envían, involuntariamente o no, durante el proceso de elaboración del presupuesto?</a:t>
              </a:r>
            </a:p>
          </p:txBody>
        </p:sp>
        <p:sp>
          <p:nvSpPr>
            <p:cNvPr id="8" name="TextBox 60">
              <a:extLst>
                <a:ext uri="{FF2B5EF4-FFF2-40B4-BE49-F238E27FC236}">
                  <a16:creationId xmlns:a16="http://schemas.microsoft.com/office/drawing/2014/main" id="{A56F8044-F810-0351-0ED6-4B58352B5687}"/>
                </a:ext>
              </a:extLst>
            </p:cNvPr>
            <p:cNvSpPr txBox="1"/>
            <p:nvPr/>
          </p:nvSpPr>
          <p:spPr>
            <a:xfrm>
              <a:off x="1505362" y="5001455"/>
              <a:ext cx="2126059" cy="707886"/>
            </a:xfrm>
            <a:prstGeom prst="rect">
              <a:avLst/>
            </a:prstGeom>
            <a:noFill/>
          </p:spPr>
          <p:txBody>
            <a:bodyPr wrap="square" rtlCol="0" anchor="ctr" anchorCtr="0">
              <a:spAutoFit/>
            </a:bodyPr>
            <a:lstStyle/>
            <a:p>
              <a:pPr algn="l" rtl="0"/>
              <a:r>
                <a:rPr lang="en-GB" sz="2000" b="1" dirty="0">
                  <a:solidFill>
                    <a:srgbClr val="EDA13E"/>
                  </a:solidFill>
                  <a:ea typeface="League Spartan" charset="0"/>
                  <a:cs typeface="Poppins" pitchFamily="2" charset="77"/>
                </a:rPr>
                <a:t>3. Recompensas y castigos</a:t>
              </a:r>
            </a:p>
          </p:txBody>
        </p:sp>
        <p:sp>
          <p:nvSpPr>
            <p:cNvPr id="9" name="Subtitle 2">
              <a:extLst>
                <a:ext uri="{FF2B5EF4-FFF2-40B4-BE49-F238E27FC236}">
                  <a16:creationId xmlns:a16="http://schemas.microsoft.com/office/drawing/2014/main" id="{A7D00265-FB94-0D13-C89F-B7FA06ADC13D}"/>
                </a:ext>
              </a:extLst>
            </p:cNvPr>
            <p:cNvSpPr txBox="1">
              <a:spLocks/>
            </p:cNvSpPr>
            <p:nvPr/>
          </p:nvSpPr>
          <p:spPr>
            <a:xfrm>
              <a:off x="1109050" y="5680724"/>
              <a:ext cx="2483496"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altLang="de-DE" sz="1800" dirty="0">
                  <a:solidFill>
                    <a:srgbClr val="595959"/>
                  </a:solidFill>
                  <a:latin typeface="+mn-lt"/>
                </a:rPr>
                <a:t>¿Qué conductas premia y castiga?</a:t>
              </a:r>
            </a:p>
          </p:txBody>
        </p:sp>
        <p:sp>
          <p:nvSpPr>
            <p:cNvPr id="10" name="TextBox 67">
              <a:extLst>
                <a:ext uri="{FF2B5EF4-FFF2-40B4-BE49-F238E27FC236}">
                  <a16:creationId xmlns:a16="http://schemas.microsoft.com/office/drawing/2014/main" id="{26A1A497-65C2-3484-3048-A9BCDB3159CC}"/>
                </a:ext>
              </a:extLst>
            </p:cNvPr>
            <p:cNvSpPr txBox="1"/>
            <p:nvPr/>
          </p:nvSpPr>
          <p:spPr>
            <a:xfrm>
              <a:off x="8295058" y="2238856"/>
              <a:ext cx="2233432" cy="400110"/>
            </a:xfrm>
            <a:prstGeom prst="rect">
              <a:avLst/>
            </a:prstGeom>
            <a:noFill/>
          </p:spPr>
          <p:txBody>
            <a:bodyPr wrap="none" rtlCol="0" anchor="ctr" anchorCtr="0">
              <a:spAutoFit/>
            </a:bodyPr>
            <a:lstStyle/>
            <a:p>
              <a:pPr algn="l" rtl="0"/>
              <a:r>
                <a:rPr lang="en-GB" sz="2000" b="1" dirty="0">
                  <a:solidFill>
                    <a:srgbClr val="7F1C58"/>
                  </a:solidFill>
                  <a:ea typeface="League Spartan" charset="0"/>
                  <a:cs typeface="Poppins" pitchFamily="2" charset="77"/>
                </a:rPr>
                <a:t>4. Responder a la crisis</a:t>
              </a:r>
            </a:p>
          </p:txBody>
        </p:sp>
        <p:sp>
          <p:nvSpPr>
            <p:cNvPr id="11" name="Subtitle 2">
              <a:extLst>
                <a:ext uri="{FF2B5EF4-FFF2-40B4-BE49-F238E27FC236}">
                  <a16:creationId xmlns:a16="http://schemas.microsoft.com/office/drawing/2014/main" id="{4DBC28FE-D2A3-9BB0-CC3B-6FB9313C6736}"/>
                </a:ext>
              </a:extLst>
            </p:cNvPr>
            <p:cNvSpPr txBox="1">
              <a:spLocks/>
            </p:cNvSpPr>
            <p:nvPr/>
          </p:nvSpPr>
          <p:spPr>
            <a:xfrm>
              <a:off x="8333763" y="2604442"/>
              <a:ext cx="2483496"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Cómo respondes en tiempos de crisis?</a:t>
              </a:r>
            </a:p>
          </p:txBody>
        </p:sp>
        <p:sp>
          <p:nvSpPr>
            <p:cNvPr id="12" name="TextBox 71">
              <a:extLst>
                <a:ext uri="{FF2B5EF4-FFF2-40B4-BE49-F238E27FC236}">
                  <a16:creationId xmlns:a16="http://schemas.microsoft.com/office/drawing/2014/main" id="{C466CAFF-EFA1-7302-51D7-442E839C8CD4}"/>
                </a:ext>
              </a:extLst>
            </p:cNvPr>
            <p:cNvSpPr txBox="1"/>
            <p:nvPr/>
          </p:nvSpPr>
          <p:spPr>
            <a:xfrm>
              <a:off x="8296173" y="3482739"/>
              <a:ext cx="1699889" cy="400110"/>
            </a:xfrm>
            <a:prstGeom prst="rect">
              <a:avLst/>
            </a:prstGeom>
            <a:noFill/>
          </p:spPr>
          <p:txBody>
            <a:bodyPr wrap="none" rtlCol="0" anchor="ctr" anchorCtr="0">
              <a:spAutoFit/>
            </a:bodyPr>
            <a:lstStyle/>
            <a:p>
              <a:pPr algn="l" rtl="0"/>
              <a:r>
                <a:rPr lang="en-GB" sz="2000" b="1" dirty="0">
                  <a:solidFill>
                    <a:srgbClr val="CD6634"/>
                  </a:solidFill>
                  <a:ea typeface="League Spartan" charset="0"/>
                  <a:cs typeface="Poppins" pitchFamily="2" charset="77"/>
                </a:rPr>
                <a:t>5. Consistencia</a:t>
              </a:r>
            </a:p>
          </p:txBody>
        </p:sp>
        <p:sp>
          <p:nvSpPr>
            <p:cNvPr id="13" name="Subtitle 2">
              <a:extLst>
                <a:ext uri="{FF2B5EF4-FFF2-40B4-BE49-F238E27FC236}">
                  <a16:creationId xmlns:a16="http://schemas.microsoft.com/office/drawing/2014/main" id="{51AB4758-2DA1-800C-2369-24F499664111}"/>
                </a:ext>
              </a:extLst>
            </p:cNvPr>
            <p:cNvSpPr txBox="1">
              <a:spLocks/>
            </p:cNvSpPr>
            <p:nvPr/>
          </p:nvSpPr>
          <p:spPr>
            <a:xfrm>
              <a:off x="8343889" y="3820262"/>
              <a:ext cx="2483496"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Cómo se compara lo que dices con lo que haces?</a:t>
              </a:r>
            </a:p>
          </p:txBody>
        </p:sp>
        <p:sp>
          <p:nvSpPr>
            <p:cNvPr id="14" name="TextBox 73">
              <a:extLst>
                <a:ext uri="{FF2B5EF4-FFF2-40B4-BE49-F238E27FC236}">
                  <a16:creationId xmlns:a16="http://schemas.microsoft.com/office/drawing/2014/main" id="{70DB8467-89A5-50D8-9789-241066AF3E90}"/>
                </a:ext>
              </a:extLst>
            </p:cNvPr>
            <p:cNvSpPr txBox="1"/>
            <p:nvPr/>
          </p:nvSpPr>
          <p:spPr>
            <a:xfrm>
              <a:off x="8304972" y="4986752"/>
              <a:ext cx="1885003" cy="400110"/>
            </a:xfrm>
            <a:prstGeom prst="rect">
              <a:avLst/>
            </a:prstGeom>
            <a:noFill/>
          </p:spPr>
          <p:txBody>
            <a:bodyPr wrap="none" rtlCol="0" anchor="ctr" anchorCtr="0">
              <a:spAutoFit/>
            </a:bodyPr>
            <a:lstStyle/>
            <a:p>
              <a:pPr algn="l" rtl="0"/>
              <a:r>
                <a:rPr lang="en-GB" sz="2000" b="1" dirty="0">
                  <a:solidFill>
                    <a:srgbClr val="C01F75"/>
                  </a:solidFill>
                  <a:ea typeface="League Spartan" charset="0"/>
                  <a:cs typeface="Poppins" pitchFamily="2" charset="77"/>
                </a:rPr>
                <a:t>6. Comportamiento de recursos humanos</a:t>
              </a:r>
            </a:p>
          </p:txBody>
        </p:sp>
        <p:sp>
          <p:nvSpPr>
            <p:cNvPr id="23" name="Subtitle 2">
              <a:extLst>
                <a:ext uri="{FF2B5EF4-FFF2-40B4-BE49-F238E27FC236}">
                  <a16:creationId xmlns:a16="http://schemas.microsoft.com/office/drawing/2014/main" id="{46597664-C597-EC63-D88D-CA16AD2FDB5E}"/>
                </a:ext>
              </a:extLst>
            </p:cNvPr>
            <p:cNvSpPr txBox="1">
              <a:spLocks/>
            </p:cNvSpPr>
            <p:nvPr/>
          </p:nvSpPr>
          <p:spPr>
            <a:xfrm>
              <a:off x="8343889" y="5325971"/>
              <a:ext cx="3184809" cy="76560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A quién recluta, promueve y despide? ¿Qué dice eso acerca de los valores de la organización?</a:t>
              </a:r>
            </a:p>
          </p:txBody>
        </p:sp>
        <p:sp>
          <p:nvSpPr>
            <p:cNvPr id="24" name="TextBox 54">
              <a:extLst>
                <a:ext uri="{FF2B5EF4-FFF2-40B4-BE49-F238E27FC236}">
                  <a16:creationId xmlns:a16="http://schemas.microsoft.com/office/drawing/2014/main" id="{C2164761-CE29-9928-85CE-1DE297BEDF1D}"/>
                </a:ext>
              </a:extLst>
            </p:cNvPr>
            <p:cNvSpPr txBox="1"/>
            <p:nvPr/>
          </p:nvSpPr>
          <p:spPr>
            <a:xfrm>
              <a:off x="4556689" y="2995933"/>
              <a:ext cx="1091646" cy="369332"/>
            </a:xfrm>
            <a:prstGeom prst="rect">
              <a:avLst/>
            </a:prstGeom>
            <a:noFill/>
          </p:spPr>
          <p:txBody>
            <a:bodyPr wrap="none" rtlCol="0" anchor="ctr" anchorCtr="0">
              <a:spAutoFit/>
            </a:bodyPr>
            <a:lstStyle/>
            <a:p>
              <a:pPr algn="l" rtl="0"/>
              <a:r>
                <a:rPr lang="en-GB" b="1" dirty="0">
                  <a:solidFill>
                    <a:schemeClr val="bg1"/>
                  </a:solidFill>
                  <a:ea typeface="League Spartan" charset="0"/>
                  <a:cs typeface="Poppins" pitchFamily="2" charset="77"/>
                </a:rPr>
                <a:t>Atención</a:t>
              </a:r>
            </a:p>
          </p:txBody>
        </p:sp>
        <p:grpSp>
          <p:nvGrpSpPr>
            <p:cNvPr id="56" name="Group 55">
              <a:extLst>
                <a:ext uri="{FF2B5EF4-FFF2-40B4-BE49-F238E27FC236}">
                  <a16:creationId xmlns:a16="http://schemas.microsoft.com/office/drawing/2014/main" id="{9B309708-6DA3-4D4D-10AD-8EF572306B78}"/>
                </a:ext>
              </a:extLst>
            </p:cNvPr>
            <p:cNvGrpSpPr/>
            <p:nvPr/>
          </p:nvGrpSpPr>
          <p:grpSpPr>
            <a:xfrm>
              <a:off x="4218547" y="2046514"/>
              <a:ext cx="3648270" cy="4233237"/>
              <a:chOff x="4218547" y="2046514"/>
              <a:chExt cx="3648270" cy="4233237"/>
            </a:xfrm>
          </p:grpSpPr>
          <p:grpSp>
            <p:nvGrpSpPr>
              <p:cNvPr id="57" name="Group 56">
                <a:extLst>
                  <a:ext uri="{FF2B5EF4-FFF2-40B4-BE49-F238E27FC236}">
                    <a16:creationId xmlns:a16="http://schemas.microsoft.com/office/drawing/2014/main" id="{B49271AF-ABF2-F8C5-3F10-31168BE040D7}"/>
                  </a:ext>
                </a:extLst>
              </p:cNvPr>
              <p:cNvGrpSpPr/>
              <p:nvPr/>
            </p:nvGrpSpPr>
            <p:grpSpPr>
              <a:xfrm>
                <a:off x="4218547" y="2046514"/>
                <a:ext cx="3648270" cy="4233237"/>
                <a:chOff x="4409257" y="2674888"/>
                <a:chExt cx="2599811" cy="3016667"/>
              </a:xfrm>
            </p:grpSpPr>
            <p:sp>
              <p:nvSpPr>
                <p:cNvPr id="72" name="Shape">
                  <a:extLst>
                    <a:ext uri="{FF2B5EF4-FFF2-40B4-BE49-F238E27FC236}">
                      <a16:creationId xmlns:a16="http://schemas.microsoft.com/office/drawing/2014/main" id="{EB9AD03F-38F5-D22E-2F66-7949D245E361}"/>
                    </a:ext>
                  </a:extLst>
                </p:cNvPr>
                <p:cNvSpPr/>
                <p:nvPr/>
              </p:nvSpPr>
              <p:spPr>
                <a:xfrm flipH="1">
                  <a:off x="5658719" y="2696486"/>
                  <a:ext cx="1113775" cy="998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0385" y="251"/>
                        <a:pt x="19113" y="554"/>
                        <a:pt x="17745" y="948"/>
                      </a:cubicBezTo>
                      <a:cubicBezTo>
                        <a:pt x="6245" y="4258"/>
                        <a:pt x="4351" y="7759"/>
                        <a:pt x="2185" y="12534"/>
                      </a:cubicBezTo>
                      <a:cubicBezTo>
                        <a:pt x="934" y="15293"/>
                        <a:pt x="217" y="18775"/>
                        <a:pt x="0" y="21600"/>
                      </a:cubicBezTo>
                      <a:lnTo>
                        <a:pt x="21600" y="21600"/>
                      </a:lnTo>
                      <a:lnTo>
                        <a:pt x="21600" y="0"/>
                      </a:lnTo>
                      <a:close/>
                    </a:path>
                  </a:pathLst>
                </a:custGeom>
                <a:solidFill>
                  <a:srgbClr val="7F1C58"/>
                </a:solidFill>
                <a:ln w="12700" cap="flat">
                  <a:noFill/>
                  <a:miter lim="400000"/>
                </a:ln>
                <a:effectLst/>
              </p:spPr>
              <p:txBody>
                <a:bodyPr wrap="square" lIns="26796" tIns="26796" rIns="26796" bIns="26796" numCol="1" anchor="ctr">
                  <a:noAutofit/>
                </a:bodyPr>
                <a:lstStyle/>
                <a:p>
                  <a:pPr algn="l" rtl="0"/>
                  <a:endParaRPr lang="en-GB" sz="1899" dirty="0"/>
                </a:p>
              </p:txBody>
            </p:sp>
            <p:sp>
              <p:nvSpPr>
                <p:cNvPr id="73" name="Shape">
                  <a:extLst>
                    <a:ext uri="{FF2B5EF4-FFF2-40B4-BE49-F238E27FC236}">
                      <a16:creationId xmlns:a16="http://schemas.microsoft.com/office/drawing/2014/main" id="{71C646DF-F915-A4F2-2FA6-4CDDEAE50977}"/>
                    </a:ext>
                  </a:extLst>
                </p:cNvPr>
                <p:cNvSpPr/>
                <p:nvPr/>
              </p:nvSpPr>
              <p:spPr>
                <a:xfrm flipH="1">
                  <a:off x="5658797" y="3694842"/>
                  <a:ext cx="1350271" cy="1996713"/>
                </a:xfrm>
                <a:custGeom>
                  <a:avLst/>
                  <a:gdLst/>
                  <a:ahLst/>
                  <a:cxnLst>
                    <a:cxn ang="0">
                      <a:pos x="wd2" y="hd2"/>
                    </a:cxn>
                    <a:cxn ang="5400000">
                      <a:pos x="wd2" y="hd2"/>
                    </a:cxn>
                    <a:cxn ang="10800000">
                      <a:pos x="wd2" y="hd2"/>
                    </a:cxn>
                    <a:cxn ang="16200000">
                      <a:pos x="wd2" y="hd2"/>
                    </a:cxn>
                  </a:cxnLst>
                  <a:rect l="0" t="0" r="r" b="b"/>
                  <a:pathLst>
                    <a:path w="21262" h="21600" extrusionOk="0">
                      <a:moveTo>
                        <a:pt x="3724" y="0"/>
                      </a:moveTo>
                      <a:cubicBezTo>
                        <a:pt x="3595" y="1029"/>
                        <a:pt x="3676" y="1890"/>
                        <a:pt x="3993" y="2285"/>
                      </a:cubicBezTo>
                      <a:cubicBezTo>
                        <a:pt x="4743" y="3223"/>
                        <a:pt x="3993" y="4077"/>
                        <a:pt x="3993" y="4077"/>
                      </a:cubicBezTo>
                      <a:cubicBezTo>
                        <a:pt x="3993" y="4077"/>
                        <a:pt x="882" y="7252"/>
                        <a:pt x="272" y="7987"/>
                      </a:cubicBezTo>
                      <a:cubicBezTo>
                        <a:pt x="-338" y="8722"/>
                        <a:pt x="177" y="9167"/>
                        <a:pt x="834" y="9423"/>
                      </a:cubicBezTo>
                      <a:cubicBezTo>
                        <a:pt x="1491" y="9679"/>
                        <a:pt x="2241" y="9999"/>
                        <a:pt x="2663" y="10127"/>
                      </a:cubicBezTo>
                      <a:cubicBezTo>
                        <a:pt x="3085" y="10255"/>
                        <a:pt x="2712" y="10990"/>
                        <a:pt x="2524" y="11310"/>
                      </a:cubicBezTo>
                      <a:cubicBezTo>
                        <a:pt x="2337" y="11629"/>
                        <a:pt x="2197" y="12044"/>
                        <a:pt x="2854" y="12331"/>
                      </a:cubicBezTo>
                      <a:cubicBezTo>
                        <a:pt x="3510" y="12619"/>
                        <a:pt x="3933" y="12811"/>
                        <a:pt x="3933" y="12811"/>
                      </a:cubicBezTo>
                      <a:cubicBezTo>
                        <a:pt x="3933" y="12811"/>
                        <a:pt x="3931" y="12812"/>
                        <a:pt x="3368" y="13132"/>
                      </a:cubicBezTo>
                      <a:cubicBezTo>
                        <a:pt x="2805" y="13452"/>
                        <a:pt x="3088" y="14058"/>
                        <a:pt x="3792" y="14378"/>
                      </a:cubicBezTo>
                      <a:cubicBezTo>
                        <a:pt x="4495" y="14697"/>
                        <a:pt x="4635" y="14953"/>
                        <a:pt x="4542" y="16455"/>
                      </a:cubicBezTo>
                      <a:cubicBezTo>
                        <a:pt x="4448" y="17957"/>
                        <a:pt x="5668" y="18244"/>
                        <a:pt x="6935" y="18372"/>
                      </a:cubicBezTo>
                      <a:cubicBezTo>
                        <a:pt x="8202" y="18500"/>
                        <a:pt x="12894" y="18149"/>
                        <a:pt x="14442" y="18085"/>
                      </a:cubicBezTo>
                      <a:cubicBezTo>
                        <a:pt x="15990" y="18021"/>
                        <a:pt x="18006" y="21121"/>
                        <a:pt x="18006" y="21121"/>
                      </a:cubicBezTo>
                      <a:cubicBezTo>
                        <a:pt x="18049" y="21200"/>
                        <a:pt x="18091" y="21279"/>
                        <a:pt x="18129" y="21359"/>
                      </a:cubicBezTo>
                      <a:cubicBezTo>
                        <a:pt x="18167" y="21439"/>
                        <a:pt x="18200" y="21519"/>
                        <a:pt x="18234" y="21600"/>
                      </a:cubicBezTo>
                      <a:lnTo>
                        <a:pt x="21262" y="21600"/>
                      </a:lnTo>
                      <a:lnTo>
                        <a:pt x="21262" y="0"/>
                      </a:lnTo>
                      <a:lnTo>
                        <a:pt x="3724" y="0"/>
                      </a:lnTo>
                      <a:close/>
                    </a:path>
                  </a:pathLst>
                </a:custGeom>
                <a:solidFill>
                  <a:srgbClr val="B41F7A"/>
                </a:solidFill>
                <a:ln w="12700" cap="flat">
                  <a:noFill/>
                  <a:miter lim="400000"/>
                </a:ln>
                <a:effectLst/>
              </p:spPr>
              <p:txBody>
                <a:bodyPr wrap="square" lIns="26796" tIns="26796" rIns="26796" bIns="26796" numCol="1" anchor="ctr">
                  <a:noAutofit/>
                </a:bodyPr>
                <a:lstStyle/>
                <a:p>
                  <a:pPr algn="l" rtl="0"/>
                  <a:endParaRPr lang="en-GB" sz="1899" dirty="0"/>
                </a:p>
              </p:txBody>
            </p:sp>
            <p:sp>
              <p:nvSpPr>
                <p:cNvPr id="74" name="Shape">
                  <a:extLst>
                    <a:ext uri="{FF2B5EF4-FFF2-40B4-BE49-F238E27FC236}">
                      <a16:creationId xmlns:a16="http://schemas.microsoft.com/office/drawing/2014/main" id="{92EA2BBD-F03A-1B66-1190-32E0CCB2F1E4}"/>
                    </a:ext>
                  </a:extLst>
                </p:cNvPr>
                <p:cNvSpPr/>
                <p:nvPr/>
              </p:nvSpPr>
              <p:spPr>
                <a:xfrm flipH="1">
                  <a:off x="5658797" y="3694842"/>
                  <a:ext cx="1350271" cy="998357"/>
                </a:xfrm>
                <a:custGeom>
                  <a:avLst/>
                  <a:gdLst/>
                  <a:ahLst/>
                  <a:cxnLst>
                    <a:cxn ang="0">
                      <a:pos x="wd2" y="hd2"/>
                    </a:cxn>
                    <a:cxn ang="5400000">
                      <a:pos x="wd2" y="hd2"/>
                    </a:cxn>
                    <a:cxn ang="10800000">
                      <a:pos x="wd2" y="hd2"/>
                    </a:cxn>
                    <a:cxn ang="16200000">
                      <a:pos x="wd2" y="hd2"/>
                    </a:cxn>
                  </a:cxnLst>
                  <a:rect l="0" t="0" r="r" b="b"/>
                  <a:pathLst>
                    <a:path w="21262" h="21600" extrusionOk="0">
                      <a:moveTo>
                        <a:pt x="3724" y="0"/>
                      </a:moveTo>
                      <a:cubicBezTo>
                        <a:pt x="3595" y="2059"/>
                        <a:pt x="3676" y="3779"/>
                        <a:pt x="3993" y="4571"/>
                      </a:cubicBezTo>
                      <a:cubicBezTo>
                        <a:pt x="4743" y="6446"/>
                        <a:pt x="3993" y="8154"/>
                        <a:pt x="3993" y="8154"/>
                      </a:cubicBezTo>
                      <a:cubicBezTo>
                        <a:pt x="3993" y="8154"/>
                        <a:pt x="882" y="14504"/>
                        <a:pt x="272" y="15974"/>
                      </a:cubicBezTo>
                      <a:cubicBezTo>
                        <a:pt x="-338" y="17444"/>
                        <a:pt x="177" y="18335"/>
                        <a:pt x="834" y="18846"/>
                      </a:cubicBezTo>
                      <a:cubicBezTo>
                        <a:pt x="1491" y="19357"/>
                        <a:pt x="2241" y="19998"/>
                        <a:pt x="2663" y="20254"/>
                      </a:cubicBezTo>
                      <a:cubicBezTo>
                        <a:pt x="2919" y="20409"/>
                        <a:pt x="2872" y="21007"/>
                        <a:pt x="2762" y="21600"/>
                      </a:cubicBezTo>
                      <a:lnTo>
                        <a:pt x="21262" y="21600"/>
                      </a:lnTo>
                      <a:lnTo>
                        <a:pt x="21262" y="0"/>
                      </a:lnTo>
                      <a:lnTo>
                        <a:pt x="3724" y="0"/>
                      </a:lnTo>
                      <a:close/>
                    </a:path>
                  </a:pathLst>
                </a:custGeom>
                <a:solidFill>
                  <a:srgbClr val="F16924"/>
                </a:solidFill>
                <a:ln w="12700" cap="flat">
                  <a:noFill/>
                  <a:miter lim="400000"/>
                </a:ln>
                <a:effectLst/>
              </p:spPr>
              <p:txBody>
                <a:bodyPr wrap="square" lIns="26796" tIns="26796" rIns="26796" bIns="26796" numCol="1" anchor="ctr">
                  <a:noAutofit/>
                </a:bodyPr>
                <a:lstStyle/>
                <a:p>
                  <a:pPr algn="l" rtl="0"/>
                  <a:endParaRPr lang="en-GB" sz="1899" dirty="0"/>
                </a:p>
              </p:txBody>
            </p:sp>
            <p:sp>
              <p:nvSpPr>
                <p:cNvPr id="75" name="Shape">
                  <a:extLst>
                    <a:ext uri="{FF2B5EF4-FFF2-40B4-BE49-F238E27FC236}">
                      <a16:creationId xmlns:a16="http://schemas.microsoft.com/office/drawing/2014/main" id="{E1F1F145-5F2B-F957-CDC6-D7449CFF922E}"/>
                    </a:ext>
                  </a:extLst>
                </p:cNvPr>
                <p:cNvSpPr/>
                <p:nvPr/>
              </p:nvSpPr>
              <p:spPr>
                <a:xfrm flipH="1">
                  <a:off x="4454191" y="2674888"/>
                  <a:ext cx="1181810" cy="754112"/>
                </a:xfrm>
                <a:custGeom>
                  <a:avLst/>
                  <a:gdLst/>
                  <a:ahLst/>
                  <a:cxnLst>
                    <a:cxn ang="0">
                      <a:pos x="wd2" y="hd2"/>
                    </a:cxn>
                    <a:cxn ang="5400000">
                      <a:pos x="wd2" y="hd2"/>
                    </a:cxn>
                    <a:cxn ang="10800000">
                      <a:pos x="wd2" y="hd2"/>
                    </a:cxn>
                    <a:cxn ang="16200000">
                      <a:pos x="wd2" y="hd2"/>
                    </a:cxn>
                  </a:cxnLst>
                  <a:rect l="0" t="0" r="r" b="b"/>
                  <a:pathLst>
                    <a:path w="21600" h="21538" extrusionOk="0">
                      <a:moveTo>
                        <a:pt x="3558" y="0"/>
                      </a:moveTo>
                      <a:cubicBezTo>
                        <a:pt x="2450" y="13"/>
                        <a:pt x="1259" y="165"/>
                        <a:pt x="0" y="422"/>
                      </a:cubicBezTo>
                      <a:lnTo>
                        <a:pt x="0" y="21538"/>
                      </a:lnTo>
                      <a:lnTo>
                        <a:pt x="21600" y="21538"/>
                      </a:lnTo>
                      <a:cubicBezTo>
                        <a:pt x="20680" y="16602"/>
                        <a:pt x="18987" y="12066"/>
                        <a:pt x="16490" y="8305"/>
                      </a:cubicBezTo>
                      <a:cubicBezTo>
                        <a:pt x="12902" y="2900"/>
                        <a:pt x="9111" y="-62"/>
                        <a:pt x="3558" y="0"/>
                      </a:cubicBezTo>
                      <a:close/>
                    </a:path>
                  </a:pathLst>
                </a:custGeom>
                <a:solidFill>
                  <a:srgbClr val="B41F7A"/>
                </a:solidFill>
                <a:ln w="12700" cap="flat">
                  <a:noFill/>
                  <a:miter lim="400000"/>
                </a:ln>
                <a:effectLst/>
              </p:spPr>
              <p:txBody>
                <a:bodyPr wrap="square" lIns="26796" tIns="26796" rIns="26796" bIns="26796" numCol="1" anchor="ctr">
                  <a:noAutofit/>
                </a:bodyPr>
                <a:lstStyle/>
                <a:p>
                  <a:pPr algn="l" rtl="0"/>
                  <a:endParaRPr lang="en-GB" sz="1899" dirty="0"/>
                </a:p>
              </p:txBody>
            </p:sp>
            <p:sp>
              <p:nvSpPr>
                <p:cNvPr id="76" name="Shape">
                  <a:extLst>
                    <a:ext uri="{FF2B5EF4-FFF2-40B4-BE49-F238E27FC236}">
                      <a16:creationId xmlns:a16="http://schemas.microsoft.com/office/drawing/2014/main" id="{E64FFB6B-82CE-321C-383D-8D6A6EE3504D}"/>
                    </a:ext>
                  </a:extLst>
                </p:cNvPr>
                <p:cNvSpPr/>
                <p:nvPr/>
              </p:nvSpPr>
              <p:spPr>
                <a:xfrm flipH="1">
                  <a:off x="4547615" y="4937477"/>
                  <a:ext cx="1088387" cy="7540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ubicBezTo>
                        <a:pt x="19414" y="14617"/>
                        <a:pt x="17074" y="6092"/>
                        <a:pt x="16479" y="0"/>
                      </a:cubicBezTo>
                      <a:lnTo>
                        <a:pt x="0" y="0"/>
                      </a:lnTo>
                      <a:close/>
                    </a:path>
                  </a:pathLst>
                </a:custGeom>
                <a:solidFill>
                  <a:srgbClr val="EDA13E"/>
                </a:solidFill>
                <a:ln w="12700" cap="flat">
                  <a:noFill/>
                  <a:miter lim="400000"/>
                </a:ln>
                <a:effectLst/>
              </p:spPr>
              <p:txBody>
                <a:bodyPr wrap="square" lIns="26796" tIns="26796" rIns="26796" bIns="26796" numCol="1" anchor="ctr">
                  <a:noAutofit/>
                </a:bodyPr>
                <a:lstStyle/>
                <a:p>
                  <a:pPr algn="l" rtl="0"/>
                  <a:endParaRPr lang="en-GB" sz="1899" dirty="0"/>
                </a:p>
              </p:txBody>
            </p:sp>
            <p:sp>
              <p:nvSpPr>
                <p:cNvPr id="77" name="Shape">
                  <a:extLst>
                    <a:ext uri="{FF2B5EF4-FFF2-40B4-BE49-F238E27FC236}">
                      <a16:creationId xmlns:a16="http://schemas.microsoft.com/office/drawing/2014/main" id="{A5281CC2-E37E-C9E9-8CBB-B4B434D29D6E}"/>
                    </a:ext>
                  </a:extLst>
                </p:cNvPr>
                <p:cNvSpPr/>
                <p:nvPr/>
              </p:nvSpPr>
              <p:spPr>
                <a:xfrm flipH="1">
                  <a:off x="4493021" y="4183410"/>
                  <a:ext cx="1142980" cy="7540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5692" y="21600"/>
                      </a:lnTo>
                      <a:cubicBezTo>
                        <a:pt x="15637" y="21003"/>
                        <a:pt x="15575" y="20401"/>
                        <a:pt x="15554" y="19855"/>
                      </a:cubicBezTo>
                      <a:cubicBezTo>
                        <a:pt x="15172" y="10094"/>
                        <a:pt x="19329" y="7472"/>
                        <a:pt x="21600" y="0"/>
                      </a:cubicBezTo>
                      <a:lnTo>
                        <a:pt x="0" y="0"/>
                      </a:lnTo>
                      <a:close/>
                    </a:path>
                  </a:pathLst>
                </a:custGeom>
                <a:solidFill>
                  <a:srgbClr val="005757"/>
                </a:solidFill>
                <a:ln w="12700" cap="flat">
                  <a:solidFill>
                    <a:srgbClr val="005757"/>
                  </a:solidFill>
                  <a:miter lim="400000"/>
                </a:ln>
                <a:effectLst/>
              </p:spPr>
              <p:txBody>
                <a:bodyPr wrap="square" lIns="26796" tIns="26796" rIns="26796" bIns="26796" numCol="1" anchor="ctr">
                  <a:noAutofit/>
                </a:bodyPr>
                <a:lstStyle/>
                <a:p>
                  <a:pPr algn="l" rtl="0"/>
                  <a:endParaRPr lang="en-GB" sz="1899" dirty="0"/>
                </a:p>
              </p:txBody>
            </p:sp>
            <p:sp>
              <p:nvSpPr>
                <p:cNvPr id="78" name="Shape">
                  <a:extLst>
                    <a:ext uri="{FF2B5EF4-FFF2-40B4-BE49-F238E27FC236}">
                      <a16:creationId xmlns:a16="http://schemas.microsoft.com/office/drawing/2014/main" id="{0501F713-F184-8C56-67DF-0421F370A35C}"/>
                    </a:ext>
                  </a:extLst>
                </p:cNvPr>
                <p:cNvSpPr/>
                <p:nvPr/>
              </p:nvSpPr>
              <p:spPr>
                <a:xfrm flipH="1">
                  <a:off x="4409257" y="3429000"/>
                  <a:ext cx="1226745" cy="754078"/>
                </a:xfrm>
                <a:custGeom>
                  <a:avLst/>
                  <a:gdLst/>
                  <a:ahLst/>
                  <a:cxnLst>
                    <a:cxn ang="0">
                      <a:pos x="wd2" y="hd2"/>
                    </a:cxn>
                    <a:cxn ang="5400000">
                      <a:pos x="wd2" y="hd2"/>
                    </a:cxn>
                    <a:cxn ang="10800000">
                      <a:pos x="wd2" y="hd2"/>
                    </a:cxn>
                    <a:cxn ang="16200000">
                      <a:pos x="wd2" y="hd2"/>
                    </a:cxn>
                  </a:cxnLst>
                  <a:rect l="0" t="0" r="r" b="b"/>
                  <a:pathLst>
                    <a:path w="21347" h="21600" extrusionOk="0">
                      <a:moveTo>
                        <a:pt x="0" y="0"/>
                      </a:moveTo>
                      <a:lnTo>
                        <a:pt x="0" y="21600"/>
                      </a:lnTo>
                      <a:lnTo>
                        <a:pt x="19893" y="21600"/>
                      </a:lnTo>
                      <a:cubicBezTo>
                        <a:pt x="20261" y="20281"/>
                        <a:pt x="20581" y="18829"/>
                        <a:pt x="20808" y="17141"/>
                      </a:cubicBezTo>
                      <a:cubicBezTo>
                        <a:pt x="21600" y="11267"/>
                        <a:pt x="21521" y="5396"/>
                        <a:pt x="20566" y="0"/>
                      </a:cubicBezTo>
                      <a:lnTo>
                        <a:pt x="0" y="0"/>
                      </a:lnTo>
                      <a:close/>
                    </a:path>
                  </a:pathLst>
                </a:custGeom>
                <a:solidFill>
                  <a:srgbClr val="005757"/>
                </a:solidFill>
                <a:ln w="12700" cap="flat">
                  <a:solidFill>
                    <a:srgbClr val="005757"/>
                  </a:solidFill>
                  <a:miter lim="400000"/>
                </a:ln>
                <a:effectLst/>
              </p:spPr>
              <p:txBody>
                <a:bodyPr wrap="square" lIns="26796" tIns="26796" rIns="26796" bIns="26796" numCol="1" anchor="ctr">
                  <a:noAutofit/>
                </a:bodyPr>
                <a:lstStyle/>
                <a:p>
                  <a:pPr algn="l" rtl="0"/>
                  <a:endParaRPr lang="en-GB" sz="1899" dirty="0"/>
                </a:p>
              </p:txBody>
            </p:sp>
          </p:grpSp>
          <p:sp>
            <p:nvSpPr>
              <p:cNvPr id="66" name="TextBox 54">
                <a:extLst>
                  <a:ext uri="{FF2B5EF4-FFF2-40B4-BE49-F238E27FC236}">
                    <a16:creationId xmlns:a16="http://schemas.microsoft.com/office/drawing/2014/main" id="{E48A0688-5554-970D-56E8-2FC8CB1DF012}"/>
                  </a:ext>
                </a:extLst>
              </p:cNvPr>
              <p:cNvSpPr txBox="1"/>
              <p:nvPr/>
            </p:nvSpPr>
            <p:spPr>
              <a:xfrm>
                <a:off x="4548731" y="2516408"/>
                <a:ext cx="1264477" cy="384721"/>
              </a:xfrm>
              <a:prstGeom prst="rect">
                <a:avLst/>
              </a:prstGeom>
              <a:noFill/>
            </p:spPr>
            <p:txBody>
              <a:bodyPr wrap="square" rtlCol="0" anchor="ctr" anchorCtr="0">
                <a:spAutoFit/>
              </a:bodyPr>
              <a:lstStyle/>
              <a:p>
                <a:pPr algn="l" rtl="0"/>
                <a:r>
                  <a:rPr lang="en-GB" sz="1900" b="1" dirty="0">
                    <a:solidFill>
                      <a:schemeClr val="bg1"/>
                    </a:solidFill>
                    <a:ea typeface="League Spartan" charset="0"/>
                    <a:cs typeface="Poppins" pitchFamily="2" charset="77"/>
                  </a:rPr>
                  <a:t>Atención</a:t>
                </a:r>
              </a:p>
            </p:txBody>
          </p:sp>
          <p:sp>
            <p:nvSpPr>
              <p:cNvPr id="67" name="TextBox 60">
                <a:extLst>
                  <a:ext uri="{FF2B5EF4-FFF2-40B4-BE49-F238E27FC236}">
                    <a16:creationId xmlns:a16="http://schemas.microsoft.com/office/drawing/2014/main" id="{CD46D737-8F0F-A2D3-2E71-07392205D81D}"/>
                  </a:ext>
                </a:extLst>
              </p:cNvPr>
              <p:cNvSpPr txBox="1"/>
              <p:nvPr/>
            </p:nvSpPr>
            <p:spPr>
              <a:xfrm>
                <a:off x="4501695" y="5412112"/>
                <a:ext cx="1454316" cy="677108"/>
              </a:xfrm>
              <a:prstGeom prst="rect">
                <a:avLst/>
              </a:prstGeom>
              <a:noFill/>
            </p:spPr>
            <p:txBody>
              <a:bodyPr wrap="square" rtlCol="0" anchor="ctr" anchorCtr="0">
                <a:spAutoFit/>
              </a:bodyPr>
              <a:lstStyle/>
              <a:p>
                <a:pPr algn="l" rtl="0"/>
                <a:r>
                  <a:rPr lang="en-GB" sz="1900" b="1" dirty="0">
                    <a:solidFill>
                      <a:schemeClr val="bg1"/>
                    </a:solidFill>
                    <a:ea typeface="League Spartan" charset="0"/>
                    <a:cs typeface="Poppins" pitchFamily="2" charset="77"/>
                  </a:rPr>
                  <a:t>Recompensas + castigo</a:t>
                </a:r>
              </a:p>
            </p:txBody>
          </p:sp>
          <p:sp>
            <p:nvSpPr>
              <p:cNvPr id="68" name="TextBox 67">
                <a:extLst>
                  <a:ext uri="{FF2B5EF4-FFF2-40B4-BE49-F238E27FC236}">
                    <a16:creationId xmlns:a16="http://schemas.microsoft.com/office/drawing/2014/main" id="{6AB81731-E7AC-7AD9-2ACB-0980F839BCFF}"/>
                  </a:ext>
                </a:extLst>
              </p:cNvPr>
              <p:cNvSpPr txBox="1"/>
              <p:nvPr/>
            </p:nvSpPr>
            <p:spPr>
              <a:xfrm>
                <a:off x="6045004" y="2552429"/>
                <a:ext cx="1134565" cy="677108"/>
              </a:xfrm>
              <a:prstGeom prst="rect">
                <a:avLst/>
              </a:prstGeom>
              <a:noFill/>
            </p:spPr>
            <p:txBody>
              <a:bodyPr wrap="square" rtlCol="0" anchor="ctr" anchorCtr="0">
                <a:spAutoFit/>
              </a:bodyPr>
              <a:lstStyle/>
              <a:p>
                <a:pPr algn="l" rtl="0"/>
                <a:r>
                  <a:rPr lang="en-GB" sz="1900" b="1" dirty="0">
                    <a:solidFill>
                      <a:schemeClr val="bg1"/>
                    </a:solidFill>
                    <a:ea typeface="League Spartan" charset="0"/>
                    <a:cs typeface="Poppins" pitchFamily="2" charset="77"/>
                  </a:rPr>
                  <a:t>responder a la crisis</a:t>
                </a:r>
              </a:p>
            </p:txBody>
          </p:sp>
          <p:sp>
            <p:nvSpPr>
              <p:cNvPr id="69" name="TextBox 71">
                <a:extLst>
                  <a:ext uri="{FF2B5EF4-FFF2-40B4-BE49-F238E27FC236}">
                    <a16:creationId xmlns:a16="http://schemas.microsoft.com/office/drawing/2014/main" id="{1F2F4BC2-EF98-3A31-B245-2B0E6418992E}"/>
                  </a:ext>
                </a:extLst>
              </p:cNvPr>
              <p:cNvSpPr txBox="1"/>
              <p:nvPr/>
            </p:nvSpPr>
            <p:spPr>
              <a:xfrm>
                <a:off x="6066588" y="4046091"/>
                <a:ext cx="1518559" cy="384721"/>
              </a:xfrm>
              <a:prstGeom prst="rect">
                <a:avLst/>
              </a:prstGeom>
              <a:noFill/>
            </p:spPr>
            <p:txBody>
              <a:bodyPr wrap="square" rtlCol="0" anchor="ctr" anchorCtr="0">
                <a:spAutoFit/>
              </a:bodyPr>
              <a:lstStyle/>
              <a:p>
                <a:pPr algn="l" rtl="0"/>
                <a:r>
                  <a:rPr lang="en-GB" sz="1900" b="1" dirty="0">
                    <a:solidFill>
                      <a:schemeClr val="bg1"/>
                    </a:solidFill>
                    <a:ea typeface="League Spartan" charset="0"/>
                    <a:cs typeface="Poppins" pitchFamily="2" charset="77"/>
                  </a:rPr>
                  <a:t>Consistencia</a:t>
                </a:r>
              </a:p>
            </p:txBody>
          </p:sp>
          <p:sp>
            <p:nvSpPr>
              <p:cNvPr id="70" name="TextBox 73">
                <a:extLst>
                  <a:ext uri="{FF2B5EF4-FFF2-40B4-BE49-F238E27FC236}">
                    <a16:creationId xmlns:a16="http://schemas.microsoft.com/office/drawing/2014/main" id="{3430C907-44E7-35C0-B015-EDC59FBE724A}"/>
                  </a:ext>
                </a:extLst>
              </p:cNvPr>
              <p:cNvSpPr txBox="1"/>
              <p:nvPr/>
            </p:nvSpPr>
            <p:spPr>
              <a:xfrm>
                <a:off x="6098709" y="4972050"/>
                <a:ext cx="1371796" cy="677108"/>
              </a:xfrm>
              <a:prstGeom prst="rect">
                <a:avLst/>
              </a:prstGeom>
              <a:noFill/>
            </p:spPr>
            <p:txBody>
              <a:bodyPr wrap="square" rtlCol="0" anchor="ctr" anchorCtr="0">
                <a:spAutoFit/>
              </a:bodyPr>
              <a:lstStyle/>
              <a:p>
                <a:pPr algn="l" rtl="0"/>
                <a:r>
                  <a:rPr lang="en-GB" sz="1900" b="1" dirty="0">
                    <a:solidFill>
                      <a:schemeClr val="bg1"/>
                    </a:solidFill>
                    <a:ea typeface="League Spartan" charset="0"/>
                    <a:cs typeface="Poppins" pitchFamily="2" charset="77"/>
                  </a:rPr>
                  <a:t>Comportamiento de recursos humanos</a:t>
                </a:r>
              </a:p>
            </p:txBody>
          </p:sp>
          <p:sp>
            <p:nvSpPr>
              <p:cNvPr id="71" name="TextBox 56">
                <a:extLst>
                  <a:ext uri="{FF2B5EF4-FFF2-40B4-BE49-F238E27FC236}">
                    <a16:creationId xmlns:a16="http://schemas.microsoft.com/office/drawing/2014/main" id="{20D85EEA-9A1E-C3D6-6384-1A53AD0D8C0B}"/>
                  </a:ext>
                </a:extLst>
              </p:cNvPr>
              <p:cNvSpPr txBox="1"/>
              <p:nvPr/>
            </p:nvSpPr>
            <p:spPr>
              <a:xfrm>
                <a:off x="4221149" y="3371023"/>
                <a:ext cx="1592059" cy="1261884"/>
              </a:xfrm>
              <a:prstGeom prst="rect">
                <a:avLst/>
              </a:prstGeom>
              <a:noFill/>
            </p:spPr>
            <p:txBody>
              <a:bodyPr wrap="square" rtlCol="0" anchor="ctr" anchorCtr="0">
                <a:spAutoFit/>
              </a:bodyPr>
              <a:lstStyle/>
              <a:p>
                <a:pPr algn="l" rtl="0"/>
                <a:r>
                  <a:rPr lang="en-GB" sz="1900" b="1" dirty="0">
                    <a:solidFill>
                      <a:schemeClr val="bg1"/>
                    </a:solidFill>
                    <a:ea typeface="League Spartan" charset="0"/>
                    <a:cs typeface="Poppins" pitchFamily="2" charset="77"/>
                  </a:rPr>
                  <a:t>Señales a través del proceso de presupuestación</a:t>
                </a:r>
              </a:p>
            </p:txBody>
          </p:sp>
        </p:grpSp>
      </p:grpSp>
    </p:spTree>
    <p:extLst>
      <p:ext uri="{BB962C8B-B14F-4D97-AF65-F5344CB8AC3E}">
        <p14:creationId xmlns:p14="http://schemas.microsoft.com/office/powerpoint/2010/main" val="1107372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588122"/>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0" y="370865"/>
            <a:ext cx="12192000"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r>
              <a:rPr lang="en-GB" dirty="0">
                <a:solidFill>
                  <a:schemeClr val="bg1"/>
                </a:solidFill>
              </a:rPr>
              <a:t>Perspectivas de liderazgo</a:t>
            </a:r>
          </a:p>
        </p:txBody>
      </p:sp>
      <p:sp>
        <p:nvSpPr>
          <p:cNvPr id="39" name="Rectangle 38">
            <a:extLst>
              <a:ext uri="{FF2B5EF4-FFF2-40B4-BE49-F238E27FC236}">
                <a16:creationId xmlns:a16="http://schemas.microsoft.com/office/drawing/2014/main" id="{4EE07AF6-F6C1-43D5-3062-327C6BC53BF2}"/>
              </a:ext>
            </a:extLst>
          </p:cNvPr>
          <p:cNvSpPr/>
          <p:nvPr/>
        </p:nvSpPr>
        <p:spPr>
          <a:xfrm>
            <a:off x="9526492" y="2117746"/>
            <a:ext cx="1696102" cy="6936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grpSp>
        <p:nvGrpSpPr>
          <p:cNvPr id="8" name="Group 7">
            <a:extLst>
              <a:ext uri="{FF2B5EF4-FFF2-40B4-BE49-F238E27FC236}">
                <a16:creationId xmlns:a16="http://schemas.microsoft.com/office/drawing/2014/main" id="{7A474BCC-1FD6-7AD6-6914-C7AF595737D4}"/>
              </a:ext>
            </a:extLst>
          </p:cNvPr>
          <p:cNvGrpSpPr/>
          <p:nvPr/>
        </p:nvGrpSpPr>
        <p:grpSpPr>
          <a:xfrm>
            <a:off x="895873" y="2452236"/>
            <a:ext cx="5017427" cy="1880878"/>
            <a:chOff x="528017" y="1686516"/>
            <a:chExt cx="5017427" cy="1880878"/>
          </a:xfrm>
        </p:grpSpPr>
        <p:sp>
          <p:nvSpPr>
            <p:cNvPr id="38" name="Rounded Rectangle 37">
              <a:extLst>
                <a:ext uri="{FF2B5EF4-FFF2-40B4-BE49-F238E27FC236}">
                  <a16:creationId xmlns:a16="http://schemas.microsoft.com/office/drawing/2014/main" id="{BD89B752-650B-7F1E-5687-D3B441F06FF0}"/>
                </a:ext>
              </a:extLst>
            </p:cNvPr>
            <p:cNvSpPr/>
            <p:nvPr/>
          </p:nvSpPr>
          <p:spPr>
            <a:xfrm>
              <a:off x="528019" y="1686516"/>
              <a:ext cx="4958318" cy="1880878"/>
            </a:xfrm>
            <a:prstGeom prst="roundRect">
              <a:avLst/>
            </a:prstGeom>
            <a:solidFill>
              <a:schemeClr val="bg1"/>
            </a:solidFill>
            <a:ln w="28575">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0" name="Text Placeholder 1">
              <a:extLst>
                <a:ext uri="{FF2B5EF4-FFF2-40B4-BE49-F238E27FC236}">
                  <a16:creationId xmlns:a16="http://schemas.microsoft.com/office/drawing/2014/main" id="{5EFB2B97-E70D-24F5-3DAC-96E76825CFA3}"/>
                </a:ext>
              </a:extLst>
            </p:cNvPr>
            <p:cNvSpPr txBox="1">
              <a:spLocks/>
            </p:cNvSpPr>
            <p:nvPr/>
          </p:nvSpPr>
          <p:spPr>
            <a:xfrm>
              <a:off x="528017" y="2045993"/>
              <a:ext cx="5017427" cy="1481585"/>
            </a:xfrm>
            <a:prstGeom prst="rect">
              <a:avLst/>
            </a:prstGeom>
          </p:spPr>
          <p:txBody>
            <a:bodyPr vert="horz" lIns="91440" tIns="45720" rIns="91440" bIns="45720" numCol="1" spcCol="25200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Clr>
                  <a:srgbClr val="F16924"/>
                </a:buClr>
              </a:pPr>
              <a:r>
                <a:rPr lang="en-US" sz="2400" i="1" dirty="0"/>
                <a:t>“De intensas complejidades,</a:t>
              </a:r>
              <a:br>
                <a:rPr lang="en-US" sz="2400" i="1" dirty="0"/>
              </a:br>
              <a:r>
                <a:rPr lang="en-US" sz="2400" i="1" dirty="0"/>
                <a:t>emergen simplicidades intensas.”</a:t>
              </a:r>
            </a:p>
            <a:p>
              <a:pPr marL="0" indent="0" algn="ctr" rtl="0">
                <a:buClr>
                  <a:srgbClr val="F16924"/>
                </a:buClr>
              </a:pPr>
              <a:endParaRPr lang="en-US" sz="2400" i="1" dirty="0"/>
            </a:p>
            <a:p>
              <a:pPr marL="0" indent="0" algn="ctr" rtl="0">
                <a:buClr>
                  <a:srgbClr val="F16924"/>
                </a:buClr>
              </a:pPr>
              <a:r>
                <a:rPr lang="en-US" sz="2400" b="1" dirty="0">
                  <a:solidFill>
                    <a:srgbClr val="B41F7A"/>
                  </a:solidFill>
                </a:rPr>
                <a:t>Sir Winston Churchill</a:t>
              </a:r>
            </a:p>
            <a:p>
              <a:pPr marL="0" indent="0" algn="ctr" rtl="0">
                <a:buClr>
                  <a:srgbClr val="F16924"/>
                </a:buClr>
              </a:pPr>
              <a:endParaRPr lang="en-US" sz="2400" i="1" dirty="0"/>
            </a:p>
            <a:p>
              <a:pPr marL="0" indent="0" algn="ctr" rtl="0">
                <a:buClr>
                  <a:srgbClr val="F16924"/>
                </a:buClr>
              </a:pPr>
              <a:endParaRPr lang="en-US" sz="2400" i="1" dirty="0"/>
            </a:p>
            <a:p>
              <a:pPr marL="342900" indent="-342900" algn="ctr" rtl="0">
                <a:buClr>
                  <a:srgbClr val="F16924"/>
                </a:buClr>
                <a:buFont typeface="Arial" panose="020B0604020202020204" pitchFamily="34" charset="0"/>
                <a:buChar char="•"/>
              </a:pPr>
              <a:endParaRPr lang="en-US" sz="2400" i="1" dirty="0"/>
            </a:p>
          </p:txBody>
        </p:sp>
      </p:grpSp>
      <p:grpSp>
        <p:nvGrpSpPr>
          <p:cNvPr id="41" name="Group 40">
            <a:extLst>
              <a:ext uri="{FF2B5EF4-FFF2-40B4-BE49-F238E27FC236}">
                <a16:creationId xmlns:a16="http://schemas.microsoft.com/office/drawing/2014/main" id="{E2EC158F-1E2D-8E3E-C5D1-D089312618A2}"/>
              </a:ext>
            </a:extLst>
          </p:cNvPr>
          <p:cNvGrpSpPr/>
          <p:nvPr/>
        </p:nvGrpSpPr>
        <p:grpSpPr>
          <a:xfrm>
            <a:off x="5203554" y="1076785"/>
            <a:ext cx="1419492" cy="1033414"/>
            <a:chOff x="3400450" y="986392"/>
            <a:chExt cx="1487826" cy="1083162"/>
          </a:xfrm>
          <a:solidFill>
            <a:srgbClr val="F16924"/>
          </a:solidFill>
        </p:grpSpPr>
        <p:sp>
          <p:nvSpPr>
            <p:cNvPr id="42" name="Freeform 41">
              <a:extLst>
                <a:ext uri="{FF2B5EF4-FFF2-40B4-BE49-F238E27FC236}">
                  <a16:creationId xmlns:a16="http://schemas.microsoft.com/office/drawing/2014/main" id="{FBD270B9-7C5F-8207-EB73-A9FA816557AC}"/>
                </a:ext>
              </a:extLst>
            </p:cNvPr>
            <p:cNvSpPr/>
            <p:nvPr/>
          </p:nvSpPr>
          <p:spPr>
            <a:xfrm>
              <a:off x="3400450" y="986392"/>
              <a:ext cx="1367826" cy="997498"/>
            </a:xfrm>
            <a:custGeom>
              <a:avLst/>
              <a:gdLst>
                <a:gd name="connsiteX0" fmla="*/ 719999 w 921110"/>
                <a:gd name="connsiteY0" fmla="*/ 669034 h 671727"/>
                <a:gd name="connsiteX1" fmla="*/ 705633 w 921110"/>
                <a:gd name="connsiteY1" fmla="*/ 668136 h 671727"/>
                <a:gd name="connsiteX2" fmla="*/ 546719 w 921110"/>
                <a:gd name="connsiteY2" fmla="*/ 590007 h 671727"/>
                <a:gd name="connsiteX3" fmla="*/ 544025 w 921110"/>
                <a:gd name="connsiteY3" fmla="*/ 250551 h 671727"/>
                <a:gd name="connsiteX4" fmla="*/ 774766 w 921110"/>
                <a:gd name="connsiteY4" fmla="*/ 3592 h 671727"/>
                <a:gd name="connsiteX5" fmla="*/ 781948 w 921110"/>
                <a:gd name="connsiteY5" fmla="*/ 0 h 671727"/>
                <a:gd name="connsiteX6" fmla="*/ 856468 w 921110"/>
                <a:gd name="connsiteY6" fmla="*/ 133807 h 671727"/>
                <a:gd name="connsiteX7" fmla="*/ 848387 w 921110"/>
                <a:gd name="connsiteY7" fmla="*/ 137399 h 671727"/>
                <a:gd name="connsiteX8" fmla="*/ 711918 w 921110"/>
                <a:gd name="connsiteY8" fmla="*/ 281982 h 671727"/>
                <a:gd name="connsiteX9" fmla="*/ 715509 w 921110"/>
                <a:gd name="connsiteY9" fmla="*/ 281982 h 671727"/>
                <a:gd name="connsiteX10" fmla="*/ 864548 w 921110"/>
                <a:gd name="connsiteY10" fmla="*/ 336762 h 671727"/>
                <a:gd name="connsiteX11" fmla="*/ 921111 w 921110"/>
                <a:gd name="connsiteY11" fmla="*/ 474161 h 671727"/>
                <a:gd name="connsiteX12" fmla="*/ 866344 w 921110"/>
                <a:gd name="connsiteY12" fmla="*/ 611559 h 671727"/>
                <a:gd name="connsiteX13" fmla="*/ 719999 w 921110"/>
                <a:gd name="connsiteY13" fmla="*/ 669034 h 671727"/>
                <a:gd name="connsiteX14" fmla="*/ 215422 w 921110"/>
                <a:gd name="connsiteY14" fmla="*/ 671728 h 671727"/>
                <a:gd name="connsiteX15" fmla="*/ 201057 w 921110"/>
                <a:gd name="connsiteY15" fmla="*/ 670830 h 671727"/>
                <a:gd name="connsiteX16" fmla="*/ 41244 w 921110"/>
                <a:gd name="connsiteY16" fmla="*/ 592701 h 671727"/>
                <a:gd name="connsiteX17" fmla="*/ 842 w 921110"/>
                <a:gd name="connsiteY17" fmla="*/ 425667 h 671727"/>
                <a:gd name="connsiteX18" fmla="*/ 41244 w 921110"/>
                <a:gd name="connsiteY18" fmla="*/ 253245 h 671727"/>
                <a:gd name="connsiteX19" fmla="*/ 270189 w 921110"/>
                <a:gd name="connsiteY19" fmla="*/ 6286 h 671727"/>
                <a:gd name="connsiteX20" fmla="*/ 277372 w 921110"/>
                <a:gd name="connsiteY20" fmla="*/ 2694 h 671727"/>
                <a:gd name="connsiteX21" fmla="*/ 351891 w 921110"/>
                <a:gd name="connsiteY21" fmla="*/ 136501 h 671727"/>
                <a:gd name="connsiteX22" fmla="*/ 343810 w 921110"/>
                <a:gd name="connsiteY22" fmla="*/ 140093 h 671727"/>
                <a:gd name="connsiteX23" fmla="*/ 207341 w 921110"/>
                <a:gd name="connsiteY23" fmla="*/ 284676 h 671727"/>
                <a:gd name="connsiteX24" fmla="*/ 210933 w 921110"/>
                <a:gd name="connsiteY24" fmla="*/ 284676 h 671727"/>
                <a:gd name="connsiteX25" fmla="*/ 362665 w 921110"/>
                <a:gd name="connsiteY25" fmla="*/ 339456 h 671727"/>
                <a:gd name="connsiteX26" fmla="*/ 416534 w 921110"/>
                <a:gd name="connsiteY26" fmla="*/ 476855 h 671727"/>
                <a:gd name="connsiteX27" fmla="*/ 364460 w 921110"/>
                <a:gd name="connsiteY27" fmla="*/ 614254 h 671727"/>
                <a:gd name="connsiteX28" fmla="*/ 215422 w 921110"/>
                <a:gd name="connsiteY28" fmla="*/ 671728 h 6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1110" h="671727">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F16924"/>
            </a:solidFill>
            <a:ln w="8971" cap="flat">
              <a:noFill/>
              <a:prstDash val="solid"/>
              <a:miter/>
            </a:ln>
          </p:spPr>
          <p:txBody>
            <a:bodyPr rtlCol="0" anchor="ctr"/>
            <a:lstStyle/>
            <a:p>
              <a:pPr algn="l" rtl="0"/>
              <a:endParaRPr lang="en-US"/>
            </a:p>
          </p:txBody>
        </p:sp>
        <p:sp>
          <p:nvSpPr>
            <p:cNvPr id="43" name="Freeform 42">
              <a:extLst>
                <a:ext uri="{FF2B5EF4-FFF2-40B4-BE49-F238E27FC236}">
                  <a16:creationId xmlns:a16="http://schemas.microsoft.com/office/drawing/2014/main" id="{74ADE70C-91AF-F0E5-17E9-5CBF055190C2}"/>
                </a:ext>
              </a:extLst>
            </p:cNvPr>
            <p:cNvSpPr/>
            <p:nvPr/>
          </p:nvSpPr>
          <p:spPr>
            <a:xfrm>
              <a:off x="3400450" y="986392"/>
              <a:ext cx="1487826" cy="1083162"/>
            </a:xfrm>
            <a:custGeom>
              <a:avLst/>
              <a:gdLst>
                <a:gd name="connsiteX0" fmla="*/ 557494 w 920214"/>
                <a:gd name="connsiteY0" fmla="*/ 581027 h 669931"/>
                <a:gd name="connsiteX1" fmla="*/ 704737 w 920214"/>
                <a:gd name="connsiteY1" fmla="*/ 654665 h 669931"/>
                <a:gd name="connsiteX2" fmla="*/ 851980 w 920214"/>
                <a:gd name="connsiteY2" fmla="*/ 602579 h 669931"/>
                <a:gd name="connsiteX3" fmla="*/ 903156 w 920214"/>
                <a:gd name="connsiteY3" fmla="*/ 475957 h 669931"/>
                <a:gd name="connsiteX4" fmla="*/ 851980 w 920214"/>
                <a:gd name="connsiteY4" fmla="*/ 350232 h 669931"/>
                <a:gd name="connsiteX5" fmla="*/ 851980 w 920214"/>
                <a:gd name="connsiteY5" fmla="*/ 350232 h 669931"/>
                <a:gd name="connsiteX6" fmla="*/ 713715 w 920214"/>
                <a:gd name="connsiteY6" fmla="*/ 299045 h 669931"/>
                <a:gd name="connsiteX7" fmla="*/ 688576 w 920214"/>
                <a:gd name="connsiteY7" fmla="*/ 299045 h 669931"/>
                <a:gd name="connsiteX8" fmla="*/ 692168 w 920214"/>
                <a:gd name="connsiteY8" fmla="*/ 288268 h 669931"/>
                <a:gd name="connsiteX9" fmla="*/ 834024 w 920214"/>
                <a:gd name="connsiteY9" fmla="*/ 128419 h 669931"/>
                <a:gd name="connsiteX10" fmla="*/ 776563 w 920214"/>
                <a:gd name="connsiteY10" fmla="*/ 23349 h 669931"/>
                <a:gd name="connsiteX11" fmla="*/ 558392 w 920214"/>
                <a:gd name="connsiteY11" fmla="*/ 257735 h 669931"/>
                <a:gd name="connsiteX12" fmla="*/ 557494 w 920214"/>
                <a:gd name="connsiteY12" fmla="*/ 581027 h 669931"/>
                <a:gd name="connsiteX13" fmla="*/ 718205 w 920214"/>
                <a:gd name="connsiteY13" fmla="*/ 669932 h 669931"/>
                <a:gd name="connsiteX14" fmla="*/ 703839 w 920214"/>
                <a:gd name="connsiteY14" fmla="*/ 669034 h 669931"/>
                <a:gd name="connsiteX15" fmla="*/ 544924 w 920214"/>
                <a:gd name="connsiteY15" fmla="*/ 590007 h 669931"/>
                <a:gd name="connsiteX16" fmla="*/ 544027 w 920214"/>
                <a:gd name="connsiteY16" fmla="*/ 250551 h 669931"/>
                <a:gd name="connsiteX17" fmla="*/ 776563 w 920214"/>
                <a:gd name="connsiteY17" fmla="*/ 4490 h 669931"/>
                <a:gd name="connsiteX18" fmla="*/ 783746 w 920214"/>
                <a:gd name="connsiteY18" fmla="*/ 898 h 669931"/>
                <a:gd name="connsiteX19" fmla="*/ 857367 w 920214"/>
                <a:gd name="connsiteY19" fmla="*/ 134705 h 669931"/>
                <a:gd name="connsiteX20" fmla="*/ 849287 w 920214"/>
                <a:gd name="connsiteY20" fmla="*/ 138297 h 669931"/>
                <a:gd name="connsiteX21" fmla="*/ 711920 w 920214"/>
                <a:gd name="connsiteY21" fmla="*/ 281982 h 669931"/>
                <a:gd name="connsiteX22" fmla="*/ 715511 w 920214"/>
                <a:gd name="connsiteY22" fmla="*/ 281982 h 669931"/>
                <a:gd name="connsiteX23" fmla="*/ 864550 w 920214"/>
                <a:gd name="connsiteY23" fmla="*/ 337660 h 669931"/>
                <a:gd name="connsiteX24" fmla="*/ 920215 w 920214"/>
                <a:gd name="connsiteY24" fmla="*/ 475059 h 669931"/>
                <a:gd name="connsiteX25" fmla="*/ 864550 w 920214"/>
                <a:gd name="connsiteY25" fmla="*/ 612458 h 669931"/>
                <a:gd name="connsiteX26" fmla="*/ 718205 w 920214"/>
                <a:gd name="connsiteY26" fmla="*/ 669932 h 669931"/>
                <a:gd name="connsiteX27" fmla="*/ 52019 w 920214"/>
                <a:gd name="connsiteY27" fmla="*/ 581027 h 669931"/>
                <a:gd name="connsiteX28" fmla="*/ 200160 w 920214"/>
                <a:gd name="connsiteY28" fmla="*/ 654665 h 669931"/>
                <a:gd name="connsiteX29" fmla="*/ 349199 w 920214"/>
                <a:gd name="connsiteY29" fmla="*/ 602579 h 669931"/>
                <a:gd name="connsiteX30" fmla="*/ 397681 w 920214"/>
                <a:gd name="connsiteY30" fmla="*/ 475957 h 669931"/>
                <a:gd name="connsiteX31" fmla="*/ 349199 w 920214"/>
                <a:gd name="connsiteY31" fmla="*/ 349334 h 669931"/>
                <a:gd name="connsiteX32" fmla="*/ 208241 w 920214"/>
                <a:gd name="connsiteY32" fmla="*/ 298147 h 669931"/>
                <a:gd name="connsiteX33" fmla="*/ 183102 w 920214"/>
                <a:gd name="connsiteY33" fmla="*/ 298147 h 669931"/>
                <a:gd name="connsiteX34" fmla="*/ 186693 w 920214"/>
                <a:gd name="connsiteY34" fmla="*/ 287370 h 669931"/>
                <a:gd name="connsiteX35" fmla="*/ 328549 w 920214"/>
                <a:gd name="connsiteY35" fmla="*/ 127521 h 669931"/>
                <a:gd name="connsiteX36" fmla="*/ 271088 w 920214"/>
                <a:gd name="connsiteY36" fmla="*/ 22451 h 669931"/>
                <a:gd name="connsiteX37" fmla="*/ 54713 w 920214"/>
                <a:gd name="connsiteY37" fmla="*/ 256837 h 669931"/>
                <a:gd name="connsiteX38" fmla="*/ 52019 w 920214"/>
                <a:gd name="connsiteY38" fmla="*/ 581027 h 669931"/>
                <a:gd name="connsiteX39" fmla="*/ 214525 w 920214"/>
                <a:gd name="connsiteY39" fmla="*/ 669932 h 669931"/>
                <a:gd name="connsiteX40" fmla="*/ 200160 w 920214"/>
                <a:gd name="connsiteY40" fmla="*/ 669034 h 669931"/>
                <a:gd name="connsiteX41" fmla="*/ 40348 w 920214"/>
                <a:gd name="connsiteY41" fmla="*/ 590007 h 669931"/>
                <a:gd name="connsiteX42" fmla="*/ 843 w 920214"/>
                <a:gd name="connsiteY42" fmla="*/ 422075 h 669931"/>
                <a:gd name="connsiteX43" fmla="*/ 42143 w 920214"/>
                <a:gd name="connsiteY43" fmla="*/ 249653 h 669931"/>
                <a:gd name="connsiteX44" fmla="*/ 271986 w 920214"/>
                <a:gd name="connsiteY44" fmla="*/ 3592 h 669931"/>
                <a:gd name="connsiteX45" fmla="*/ 279169 w 920214"/>
                <a:gd name="connsiteY45" fmla="*/ 0 h 669931"/>
                <a:gd name="connsiteX46" fmla="*/ 352790 w 920214"/>
                <a:gd name="connsiteY46" fmla="*/ 133807 h 669931"/>
                <a:gd name="connsiteX47" fmla="*/ 344710 w 920214"/>
                <a:gd name="connsiteY47" fmla="*/ 137399 h 669931"/>
                <a:gd name="connsiteX48" fmla="*/ 207343 w 920214"/>
                <a:gd name="connsiteY48" fmla="*/ 281084 h 669931"/>
                <a:gd name="connsiteX49" fmla="*/ 210934 w 920214"/>
                <a:gd name="connsiteY49" fmla="*/ 281084 h 669931"/>
                <a:gd name="connsiteX50" fmla="*/ 362666 w 920214"/>
                <a:gd name="connsiteY50" fmla="*/ 336762 h 669931"/>
                <a:gd name="connsiteX51" fmla="*/ 416536 w 920214"/>
                <a:gd name="connsiteY51" fmla="*/ 474161 h 669931"/>
                <a:gd name="connsiteX52" fmla="*/ 363564 w 920214"/>
                <a:gd name="connsiteY52" fmla="*/ 611560 h 669931"/>
                <a:gd name="connsiteX53" fmla="*/ 214525 w 920214"/>
                <a:gd name="connsiteY53" fmla="*/ 669932 h 6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20214" h="669931">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616161"/>
            </a:solidFill>
            <a:ln w="8971" cap="flat">
              <a:noFill/>
              <a:prstDash val="solid"/>
              <a:miter/>
            </a:ln>
          </p:spPr>
          <p:txBody>
            <a:bodyPr rtlCol="0" anchor="ctr"/>
            <a:lstStyle/>
            <a:p>
              <a:pPr algn="l" rtl="0"/>
              <a:endParaRPr lang="en-US"/>
            </a:p>
          </p:txBody>
        </p:sp>
      </p:grpSp>
      <p:grpSp>
        <p:nvGrpSpPr>
          <p:cNvPr id="6" name="Group 5">
            <a:extLst>
              <a:ext uri="{FF2B5EF4-FFF2-40B4-BE49-F238E27FC236}">
                <a16:creationId xmlns:a16="http://schemas.microsoft.com/office/drawing/2014/main" id="{C5AC1927-7FAA-065C-E927-30B39DE5CC85}"/>
              </a:ext>
            </a:extLst>
          </p:cNvPr>
          <p:cNvGrpSpPr/>
          <p:nvPr/>
        </p:nvGrpSpPr>
        <p:grpSpPr>
          <a:xfrm>
            <a:off x="6327419" y="2452236"/>
            <a:ext cx="5017427" cy="1880878"/>
            <a:chOff x="5959563" y="1654903"/>
            <a:chExt cx="5017427" cy="1880878"/>
          </a:xfrm>
        </p:grpSpPr>
        <p:sp>
          <p:nvSpPr>
            <p:cNvPr id="44" name="Rounded Rectangle 43">
              <a:extLst>
                <a:ext uri="{FF2B5EF4-FFF2-40B4-BE49-F238E27FC236}">
                  <a16:creationId xmlns:a16="http://schemas.microsoft.com/office/drawing/2014/main" id="{E9569E45-7799-D88E-6524-3CB0C2E71ABA}"/>
                </a:ext>
              </a:extLst>
            </p:cNvPr>
            <p:cNvSpPr/>
            <p:nvPr/>
          </p:nvSpPr>
          <p:spPr>
            <a:xfrm>
              <a:off x="5959565" y="1654903"/>
              <a:ext cx="4958318" cy="1880878"/>
            </a:xfrm>
            <a:prstGeom prst="roundRect">
              <a:avLst/>
            </a:prstGeom>
            <a:solidFill>
              <a:schemeClr val="bg1"/>
            </a:solidFill>
            <a:ln w="28575">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5" name="Text Placeholder 1">
              <a:extLst>
                <a:ext uri="{FF2B5EF4-FFF2-40B4-BE49-F238E27FC236}">
                  <a16:creationId xmlns:a16="http://schemas.microsoft.com/office/drawing/2014/main" id="{E50D04F3-332D-9C05-0CE9-0A492C5DEE0C}"/>
                </a:ext>
              </a:extLst>
            </p:cNvPr>
            <p:cNvSpPr txBox="1">
              <a:spLocks/>
            </p:cNvSpPr>
            <p:nvPr/>
          </p:nvSpPr>
          <p:spPr>
            <a:xfrm>
              <a:off x="5959563" y="2014380"/>
              <a:ext cx="5017427" cy="1481585"/>
            </a:xfrm>
            <a:prstGeom prst="rect">
              <a:avLst/>
            </a:prstGeom>
          </p:spPr>
          <p:txBody>
            <a:bodyPr vert="horz" lIns="91440" tIns="45720" rIns="91440" bIns="45720" numCol="1" spcCol="25200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Clr>
                  <a:srgbClr val="F16924"/>
                </a:buClr>
              </a:pPr>
              <a:r>
                <a:rPr lang="en-US" sz="2400" i="1" dirty="0"/>
                <a:t>“Hay respuestas simples.</a:t>
              </a:r>
              <a:br>
                <a:rPr lang="en-US" sz="2400" i="1" dirty="0"/>
              </a:br>
              <a:r>
                <a:rPr lang="en-US" sz="2400" i="1" dirty="0"/>
                <a:t>Simplemente no hay respuestas fáciles”.</a:t>
              </a:r>
            </a:p>
            <a:p>
              <a:pPr marL="0" indent="0" algn="ctr" rtl="0">
                <a:buClr>
                  <a:srgbClr val="F16924"/>
                </a:buClr>
              </a:pPr>
              <a:endParaRPr lang="en-US" sz="2400" i="1" dirty="0"/>
            </a:p>
            <a:p>
              <a:pPr marL="0" indent="0" algn="ctr" rtl="0">
                <a:buClr>
                  <a:srgbClr val="F16924"/>
                </a:buClr>
              </a:pPr>
              <a:r>
                <a:rPr lang="en-US" sz="2400" b="1" dirty="0">
                  <a:solidFill>
                    <a:srgbClr val="B41F7A"/>
                  </a:solidFill>
                </a:rPr>
                <a:t>Ronald Reagan</a:t>
              </a:r>
            </a:p>
            <a:p>
              <a:pPr marL="0" indent="0" algn="ctr" rtl="0">
                <a:buClr>
                  <a:srgbClr val="F16924"/>
                </a:buClr>
              </a:pPr>
              <a:endParaRPr lang="en-US" sz="2400" i="1" dirty="0"/>
            </a:p>
            <a:p>
              <a:pPr marL="342900" indent="-342900" algn="ctr" rtl="0">
                <a:buClr>
                  <a:srgbClr val="F16924"/>
                </a:buClr>
                <a:buFont typeface="Arial" panose="020B0604020202020204" pitchFamily="34" charset="0"/>
                <a:buChar char="•"/>
              </a:pPr>
              <a:endParaRPr lang="en-US" sz="2400" i="1" dirty="0"/>
            </a:p>
          </p:txBody>
        </p:sp>
      </p:grpSp>
      <p:sp>
        <p:nvSpPr>
          <p:cNvPr id="2" name="Rounded Rectangle 1">
            <a:extLst>
              <a:ext uri="{FF2B5EF4-FFF2-40B4-BE49-F238E27FC236}">
                <a16:creationId xmlns:a16="http://schemas.microsoft.com/office/drawing/2014/main" id="{60B53E3A-6D99-18B4-6814-7CC618C3FA71}"/>
              </a:ext>
            </a:extLst>
          </p:cNvPr>
          <p:cNvSpPr/>
          <p:nvPr/>
        </p:nvSpPr>
        <p:spPr>
          <a:xfrm>
            <a:off x="895873" y="5108501"/>
            <a:ext cx="10400252" cy="948082"/>
          </a:xfrm>
          <a:prstGeom prst="roundRect">
            <a:avLst/>
          </a:prstGeom>
          <a:solidFill>
            <a:schemeClr val="bg1"/>
          </a:solidFill>
          <a:ln w="28575">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 name="Text Placeholder 1">
            <a:extLst>
              <a:ext uri="{FF2B5EF4-FFF2-40B4-BE49-F238E27FC236}">
                <a16:creationId xmlns:a16="http://schemas.microsoft.com/office/drawing/2014/main" id="{A6FB1ED6-D56D-B646-761C-A1D917E03D9D}"/>
              </a:ext>
            </a:extLst>
          </p:cNvPr>
          <p:cNvSpPr txBox="1">
            <a:spLocks/>
          </p:cNvSpPr>
          <p:nvPr/>
        </p:nvSpPr>
        <p:spPr>
          <a:xfrm>
            <a:off x="895873" y="5381373"/>
            <a:ext cx="10389866" cy="488486"/>
          </a:xfrm>
          <a:prstGeom prst="rect">
            <a:avLst/>
          </a:prstGeom>
        </p:spPr>
        <p:txBody>
          <a:bodyPr vert="horz" lIns="91440" tIns="45720" rIns="91440" bIns="45720" numCol="1" spcCol="25200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Clr>
                <a:srgbClr val="F16924"/>
              </a:buClr>
            </a:pPr>
            <a:r>
              <a:rPr lang="en-US" sz="2400" i="1" dirty="0"/>
              <a:t>“Haz lo correcto y hazlo ahora”.</a:t>
            </a:r>
            <a:r>
              <a:rPr lang="en-US" sz="2400" b="1" dirty="0">
                <a:solidFill>
                  <a:srgbClr val="B41F7A"/>
                </a:solidFill>
              </a:rPr>
              <a:t>jim ellis</a:t>
            </a:r>
          </a:p>
          <a:p>
            <a:pPr marL="0" indent="0" algn="ctr" rtl="0">
              <a:buClr>
                <a:srgbClr val="F16924"/>
              </a:buClr>
            </a:pPr>
            <a:endParaRPr lang="en-US" sz="2400" i="1" dirty="0"/>
          </a:p>
          <a:p>
            <a:pPr marL="342900" indent="-342900" algn="ctr" rtl="0">
              <a:buClr>
                <a:srgbClr val="F16924"/>
              </a:buClr>
              <a:buFont typeface="Arial" panose="020B0604020202020204" pitchFamily="34" charset="0"/>
              <a:buChar char="•"/>
            </a:pPr>
            <a:endParaRPr lang="en-US" sz="2400" i="1" dirty="0"/>
          </a:p>
        </p:txBody>
      </p:sp>
      <p:sp>
        <p:nvSpPr>
          <p:cNvPr id="5" name="TextBox 4">
            <a:extLst>
              <a:ext uri="{FF2B5EF4-FFF2-40B4-BE49-F238E27FC236}">
                <a16:creationId xmlns:a16="http://schemas.microsoft.com/office/drawing/2014/main" id="{0926CC99-512D-FA87-245E-722664B09142}"/>
              </a:ext>
            </a:extLst>
          </p:cNvPr>
          <p:cNvSpPr txBox="1"/>
          <p:nvPr/>
        </p:nvSpPr>
        <p:spPr>
          <a:xfrm>
            <a:off x="-1" y="4536942"/>
            <a:ext cx="12191999" cy="523220"/>
          </a:xfrm>
          <a:prstGeom prst="rect">
            <a:avLst/>
          </a:prstGeom>
          <a:noFill/>
        </p:spPr>
        <p:txBody>
          <a:bodyPr wrap="square">
            <a:spAutoFit/>
          </a:bodyPr>
          <a:lstStyle/>
          <a:p>
            <a:pPr algn="ctr" rtl="0">
              <a:lnSpc>
                <a:spcPct val="100000"/>
              </a:lnSpc>
              <a:spcBef>
                <a:spcPts val="600"/>
              </a:spcBef>
            </a:pPr>
            <a:r>
              <a:rPr lang="en-GB" altLang="de-DE" sz="2800" dirty="0">
                <a:solidFill>
                  <a:srgbClr val="F16924"/>
                </a:solidFill>
                <a:sym typeface="Wingdings" panose="05000000000000000000" pitchFamily="2" charset="2"/>
              </a:rPr>
              <a:t>Y cuando todo lo demás falla:</a:t>
            </a:r>
          </a:p>
        </p:txBody>
      </p:sp>
    </p:spTree>
    <p:extLst>
      <p:ext uri="{BB962C8B-B14F-4D97-AF65-F5344CB8AC3E}">
        <p14:creationId xmlns:p14="http://schemas.microsoft.com/office/powerpoint/2010/main" val="35535033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D747CA94-EC4B-4A3E-B0C8-57A8FA6AF204}"/>
              </a:ext>
            </a:extLst>
          </p:cNvPr>
          <p:cNvGrpSpPr/>
          <p:nvPr/>
        </p:nvGrpSpPr>
        <p:grpSpPr>
          <a:xfrm>
            <a:off x="1152987" y="1249561"/>
            <a:ext cx="11039013" cy="4998204"/>
            <a:chOff x="1871717" y="2434934"/>
            <a:chExt cx="9120653" cy="4129616"/>
          </a:xfrm>
        </p:grpSpPr>
        <p:grpSp>
          <p:nvGrpSpPr>
            <p:cNvPr id="23" name="Group 22">
              <a:extLst>
                <a:ext uri="{FF2B5EF4-FFF2-40B4-BE49-F238E27FC236}">
                  <a16:creationId xmlns:a16="http://schemas.microsoft.com/office/drawing/2014/main" id="{FF3F18E0-3272-9BD6-7144-8CE824E18523}"/>
                </a:ext>
              </a:extLst>
            </p:cNvPr>
            <p:cNvGrpSpPr/>
            <p:nvPr/>
          </p:nvGrpSpPr>
          <p:grpSpPr>
            <a:xfrm>
              <a:off x="3917717" y="2901925"/>
              <a:ext cx="3662623" cy="3662625"/>
              <a:chOff x="7384090" y="1859843"/>
              <a:chExt cx="3793688" cy="3793690"/>
            </a:xfrm>
          </p:grpSpPr>
          <p:sp>
            <p:nvSpPr>
              <p:cNvPr id="7" name="Freeform 45">
                <a:extLst>
                  <a:ext uri="{FF2B5EF4-FFF2-40B4-BE49-F238E27FC236}">
                    <a16:creationId xmlns:a16="http://schemas.microsoft.com/office/drawing/2014/main" id="{D487D2A8-D4A9-287B-10C3-23B2F46C1E05}"/>
                  </a:ext>
                </a:extLst>
              </p:cNvPr>
              <p:cNvSpPr/>
              <p:nvPr/>
            </p:nvSpPr>
            <p:spPr>
              <a:xfrm>
                <a:off x="8639164" y="1859843"/>
                <a:ext cx="1282189" cy="1300650"/>
              </a:xfrm>
              <a:custGeom>
                <a:avLst/>
                <a:gdLst>
                  <a:gd name="connsiteX0" fmla="*/ 1710941 w 3418279"/>
                  <a:gd name="connsiteY0" fmla="*/ 0 h 3467498"/>
                  <a:gd name="connsiteX1" fmla="*/ 3418279 w 3418279"/>
                  <a:gd name="connsiteY1" fmla="*/ 1452539 h 3467498"/>
                  <a:gd name="connsiteX2" fmla="*/ 2467835 w 3418279"/>
                  <a:gd name="connsiteY2" fmla="*/ 3466112 h 3467498"/>
                  <a:gd name="connsiteX3" fmla="*/ 2313055 w 3418279"/>
                  <a:gd name="connsiteY3" fmla="*/ 3409462 h 3467498"/>
                  <a:gd name="connsiteX4" fmla="*/ 1711968 w 3418279"/>
                  <a:gd name="connsiteY4" fmla="*/ 3318586 h 3467498"/>
                  <a:gd name="connsiteX5" fmla="*/ 1110881 w 3418279"/>
                  <a:gd name="connsiteY5" fmla="*/ 3409462 h 3467498"/>
                  <a:gd name="connsiteX6" fmla="*/ 952313 w 3418279"/>
                  <a:gd name="connsiteY6" fmla="*/ 3467498 h 3467498"/>
                  <a:gd name="connsiteX7" fmla="*/ 0 w 3418279"/>
                  <a:gd name="connsiteY7" fmla="*/ 1455604 h 3467498"/>
                  <a:gd name="connsiteX8" fmla="*/ 1710941 w 3418279"/>
                  <a:gd name="connsiteY8" fmla="*/ 0 h 346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8279" h="3467498">
                    <a:moveTo>
                      <a:pt x="1710941" y="0"/>
                    </a:moveTo>
                    <a:lnTo>
                      <a:pt x="3418279" y="1452539"/>
                    </a:lnTo>
                    <a:lnTo>
                      <a:pt x="2467835" y="3466112"/>
                    </a:lnTo>
                    <a:lnTo>
                      <a:pt x="2313055" y="3409462"/>
                    </a:lnTo>
                    <a:cubicBezTo>
                      <a:pt x="2123172" y="3350402"/>
                      <a:pt x="1921285" y="3318586"/>
                      <a:pt x="1711968" y="3318586"/>
                    </a:cubicBezTo>
                    <a:cubicBezTo>
                      <a:pt x="1502651" y="3318586"/>
                      <a:pt x="1300764" y="3350402"/>
                      <a:pt x="1110881" y="3409462"/>
                    </a:cubicBezTo>
                    <a:lnTo>
                      <a:pt x="952313" y="3467498"/>
                    </a:lnTo>
                    <a:lnTo>
                      <a:pt x="0" y="1455604"/>
                    </a:lnTo>
                    <a:lnTo>
                      <a:pt x="1710941"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9" name="Freeform 42">
                <a:extLst>
                  <a:ext uri="{FF2B5EF4-FFF2-40B4-BE49-F238E27FC236}">
                    <a16:creationId xmlns:a16="http://schemas.microsoft.com/office/drawing/2014/main" id="{A8D54042-9215-2373-55A0-1920DF9DBA73}"/>
                  </a:ext>
                </a:extLst>
              </p:cNvPr>
              <p:cNvSpPr/>
              <p:nvPr/>
            </p:nvSpPr>
            <p:spPr>
              <a:xfrm>
                <a:off x="9636438" y="2438456"/>
                <a:ext cx="1165641" cy="1200310"/>
              </a:xfrm>
              <a:custGeom>
                <a:avLst/>
                <a:gdLst>
                  <a:gd name="connsiteX0" fmla="*/ 949660 w 3107566"/>
                  <a:gd name="connsiteY0" fmla="*/ 0 h 3199993"/>
                  <a:gd name="connsiteX1" fmla="*/ 3107566 w 3107566"/>
                  <a:gd name="connsiteY1" fmla="*/ 460608 h 3199993"/>
                  <a:gd name="connsiteX2" fmla="*/ 3065613 w 3107566"/>
                  <a:gd name="connsiteY2" fmla="*/ 2698997 h 3199993"/>
                  <a:gd name="connsiteX3" fmla="*/ 984688 w 3107566"/>
                  <a:gd name="connsiteY3" fmla="*/ 3199993 h 3199993"/>
                  <a:gd name="connsiteX4" fmla="*/ 983733 w 3107566"/>
                  <a:gd name="connsiteY4" fmla="*/ 3196279 h 3199993"/>
                  <a:gd name="connsiteX5" fmla="*/ 16757 w 3107566"/>
                  <a:gd name="connsiteY5" fmla="*/ 2019985 h 3199993"/>
                  <a:gd name="connsiteX6" fmla="*/ 0 w 3107566"/>
                  <a:gd name="connsiteY6" fmla="*/ 2011913 h 3199993"/>
                  <a:gd name="connsiteX7" fmla="*/ 949660 w 3107566"/>
                  <a:gd name="connsiteY7" fmla="*/ 0 h 319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566" h="3199993">
                    <a:moveTo>
                      <a:pt x="949660" y="0"/>
                    </a:moveTo>
                    <a:lnTo>
                      <a:pt x="3107566" y="460608"/>
                    </a:lnTo>
                    <a:lnTo>
                      <a:pt x="3065613" y="2698997"/>
                    </a:lnTo>
                    <a:lnTo>
                      <a:pt x="984688" y="3199993"/>
                    </a:lnTo>
                    <a:lnTo>
                      <a:pt x="983733" y="3196279"/>
                    </a:lnTo>
                    <a:cubicBezTo>
                      <a:pt x="826241" y="2689925"/>
                      <a:pt x="475015" y="2268926"/>
                      <a:pt x="16757" y="2019985"/>
                    </a:cubicBezTo>
                    <a:lnTo>
                      <a:pt x="0" y="2011913"/>
                    </a:lnTo>
                    <a:lnTo>
                      <a:pt x="949660"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0" name="Freeform 41">
                <a:extLst>
                  <a:ext uri="{FF2B5EF4-FFF2-40B4-BE49-F238E27FC236}">
                    <a16:creationId xmlns:a16="http://schemas.microsoft.com/office/drawing/2014/main" id="{45579F04-4436-258C-E3C1-A5A7990C9053}"/>
                  </a:ext>
                </a:extLst>
              </p:cNvPr>
              <p:cNvSpPr/>
              <p:nvPr/>
            </p:nvSpPr>
            <p:spPr>
              <a:xfrm>
                <a:off x="7759789" y="2438823"/>
                <a:ext cx="1165054" cy="1205372"/>
              </a:xfrm>
              <a:custGeom>
                <a:avLst/>
                <a:gdLst>
                  <a:gd name="connsiteX0" fmla="*/ 2153317 w 3106001"/>
                  <a:gd name="connsiteY0" fmla="*/ 0 h 3213488"/>
                  <a:gd name="connsiteX1" fmla="*/ 3106001 w 3106001"/>
                  <a:gd name="connsiteY1" fmla="*/ 2012676 h 3213488"/>
                  <a:gd name="connsiteX2" fmla="*/ 3092863 w 3106001"/>
                  <a:gd name="connsiteY2" fmla="*/ 2019005 h 3213488"/>
                  <a:gd name="connsiteX3" fmla="*/ 2125887 w 3106001"/>
                  <a:gd name="connsiteY3" fmla="*/ 3195299 h 3213488"/>
                  <a:gd name="connsiteX4" fmla="*/ 2121210 w 3106001"/>
                  <a:gd name="connsiteY4" fmla="*/ 3213488 h 3213488"/>
                  <a:gd name="connsiteX5" fmla="*/ 42531 w 3106001"/>
                  <a:gd name="connsiteY5" fmla="*/ 2728823 h 3213488"/>
                  <a:gd name="connsiteX6" fmla="*/ 0 w 3106001"/>
                  <a:gd name="connsiteY6" fmla="*/ 459628 h 3213488"/>
                  <a:gd name="connsiteX7" fmla="*/ 2153317 w 3106001"/>
                  <a:gd name="connsiteY7" fmla="*/ 0 h 321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6001" h="3213488">
                    <a:moveTo>
                      <a:pt x="2153317" y="0"/>
                    </a:moveTo>
                    <a:lnTo>
                      <a:pt x="3106001" y="2012676"/>
                    </a:lnTo>
                    <a:lnTo>
                      <a:pt x="3092863" y="2019005"/>
                    </a:lnTo>
                    <a:cubicBezTo>
                      <a:pt x="2634605" y="2267946"/>
                      <a:pt x="2283379" y="2688945"/>
                      <a:pt x="2125887" y="3195299"/>
                    </a:cubicBezTo>
                    <a:lnTo>
                      <a:pt x="2121210" y="3213488"/>
                    </a:lnTo>
                    <a:lnTo>
                      <a:pt x="42531" y="2728823"/>
                    </a:lnTo>
                    <a:lnTo>
                      <a:pt x="0" y="459628"/>
                    </a:lnTo>
                    <a:lnTo>
                      <a:pt x="2153317"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1" name="Freeform 37">
                <a:extLst>
                  <a:ext uri="{FF2B5EF4-FFF2-40B4-BE49-F238E27FC236}">
                    <a16:creationId xmlns:a16="http://schemas.microsoft.com/office/drawing/2014/main" id="{0FD6BEA9-00A2-BE63-0108-52A001653C1F}"/>
                  </a:ext>
                </a:extLst>
              </p:cNvPr>
              <p:cNvSpPr/>
              <p:nvPr/>
            </p:nvSpPr>
            <p:spPr>
              <a:xfrm>
                <a:off x="9896062" y="3529180"/>
                <a:ext cx="1281716" cy="1286770"/>
              </a:xfrm>
              <a:custGeom>
                <a:avLst/>
                <a:gdLst>
                  <a:gd name="connsiteX0" fmla="*/ 2404844 w 3417019"/>
                  <a:gd name="connsiteY0" fmla="*/ 0 h 3430493"/>
                  <a:gd name="connsiteX1" fmla="*/ 3417019 w 3417019"/>
                  <a:gd name="connsiteY1" fmla="*/ 2053856 h 3430493"/>
                  <a:gd name="connsiteX2" fmla="*/ 1666006 w 3417019"/>
                  <a:gd name="connsiteY2" fmla="*/ 3430493 h 3430493"/>
                  <a:gd name="connsiteX3" fmla="*/ 0 w 3417019"/>
                  <a:gd name="connsiteY3" fmla="*/ 2069483 h 3430493"/>
                  <a:gd name="connsiteX4" fmla="*/ 37243 w 3417019"/>
                  <a:gd name="connsiteY4" fmla="*/ 2019678 h 3430493"/>
                  <a:gd name="connsiteX5" fmla="*/ 382457 w 3417019"/>
                  <a:gd name="connsiteY5" fmla="*/ 889525 h 3430493"/>
                  <a:gd name="connsiteX6" fmla="*/ 372021 w 3417019"/>
                  <a:gd name="connsiteY6" fmla="*/ 682854 h 3430493"/>
                  <a:gd name="connsiteX7" fmla="*/ 343545 w 3417019"/>
                  <a:gd name="connsiteY7" fmla="*/ 496272 h 3430493"/>
                  <a:gd name="connsiteX8" fmla="*/ 2404844 w 3417019"/>
                  <a:gd name="connsiteY8" fmla="*/ 0 h 3430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7019" h="3430493">
                    <a:moveTo>
                      <a:pt x="2404844" y="0"/>
                    </a:moveTo>
                    <a:lnTo>
                      <a:pt x="3417019" y="2053856"/>
                    </a:lnTo>
                    <a:lnTo>
                      <a:pt x="1666006" y="3430493"/>
                    </a:lnTo>
                    <a:lnTo>
                      <a:pt x="0" y="2069483"/>
                    </a:lnTo>
                    <a:lnTo>
                      <a:pt x="37243" y="2019678"/>
                    </a:lnTo>
                    <a:cubicBezTo>
                      <a:pt x="255193" y="1697069"/>
                      <a:pt x="382457" y="1308159"/>
                      <a:pt x="382457" y="889525"/>
                    </a:cubicBezTo>
                    <a:cubicBezTo>
                      <a:pt x="382457" y="819753"/>
                      <a:pt x="378922" y="750806"/>
                      <a:pt x="372021" y="682854"/>
                    </a:cubicBezTo>
                    <a:lnTo>
                      <a:pt x="343545" y="496272"/>
                    </a:lnTo>
                    <a:lnTo>
                      <a:pt x="2404844"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2" name="Freeform 36">
                <a:extLst>
                  <a:ext uri="{FF2B5EF4-FFF2-40B4-BE49-F238E27FC236}">
                    <a16:creationId xmlns:a16="http://schemas.microsoft.com/office/drawing/2014/main" id="{21ED6EF8-F267-3830-A648-A52A83991311}"/>
                  </a:ext>
                </a:extLst>
              </p:cNvPr>
              <p:cNvSpPr/>
              <p:nvPr/>
            </p:nvSpPr>
            <p:spPr>
              <a:xfrm>
                <a:off x="7384090" y="3539457"/>
                <a:ext cx="1283433" cy="1279189"/>
              </a:xfrm>
              <a:custGeom>
                <a:avLst/>
                <a:gdLst>
                  <a:gd name="connsiteX0" fmla="*/ 998674 w 3421596"/>
                  <a:gd name="connsiteY0" fmla="*/ 0 h 3410283"/>
                  <a:gd name="connsiteX1" fmla="*/ 3073263 w 3421596"/>
                  <a:gd name="connsiteY1" fmla="*/ 483712 h 3410283"/>
                  <a:gd name="connsiteX2" fmla="*/ 3047051 w 3421596"/>
                  <a:gd name="connsiteY2" fmla="*/ 655460 h 3410283"/>
                  <a:gd name="connsiteX3" fmla="*/ 3036615 w 3421596"/>
                  <a:gd name="connsiteY3" fmla="*/ 862131 h 3410283"/>
                  <a:gd name="connsiteX4" fmla="*/ 3381829 w 3421596"/>
                  <a:gd name="connsiteY4" fmla="*/ 1992284 h 3410283"/>
                  <a:gd name="connsiteX5" fmla="*/ 3421596 w 3421596"/>
                  <a:gd name="connsiteY5" fmla="*/ 2045463 h 3410283"/>
                  <a:gd name="connsiteX6" fmla="*/ 1760150 w 3421596"/>
                  <a:gd name="connsiteY6" fmla="*/ 3410283 h 3410283"/>
                  <a:gd name="connsiteX7" fmla="*/ 0 w 3421596"/>
                  <a:gd name="connsiteY7" fmla="*/ 2026462 h 3410283"/>
                  <a:gd name="connsiteX8" fmla="*/ 998674 w 3421596"/>
                  <a:gd name="connsiteY8" fmla="*/ 0 h 3410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1596" h="3410283">
                    <a:moveTo>
                      <a:pt x="998674" y="0"/>
                    </a:moveTo>
                    <a:lnTo>
                      <a:pt x="3073263" y="483712"/>
                    </a:lnTo>
                    <a:lnTo>
                      <a:pt x="3047051" y="655460"/>
                    </a:lnTo>
                    <a:cubicBezTo>
                      <a:pt x="3040150" y="723412"/>
                      <a:pt x="3036615" y="792359"/>
                      <a:pt x="3036615" y="862131"/>
                    </a:cubicBezTo>
                    <a:cubicBezTo>
                      <a:pt x="3036615" y="1280765"/>
                      <a:pt x="3163879" y="1669675"/>
                      <a:pt x="3381829" y="1992284"/>
                    </a:cubicBezTo>
                    <a:lnTo>
                      <a:pt x="3421596" y="2045463"/>
                    </a:lnTo>
                    <a:lnTo>
                      <a:pt x="1760150" y="3410283"/>
                    </a:lnTo>
                    <a:lnTo>
                      <a:pt x="0" y="2026462"/>
                    </a:lnTo>
                    <a:lnTo>
                      <a:pt x="998674"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3" name="Freeform 35">
                <a:extLst>
                  <a:ext uri="{FF2B5EF4-FFF2-40B4-BE49-F238E27FC236}">
                    <a16:creationId xmlns:a16="http://schemas.microsoft.com/office/drawing/2014/main" id="{7067F249-0799-DFF5-BE64-10AB11743857}"/>
                  </a:ext>
                </a:extLst>
              </p:cNvPr>
              <p:cNvSpPr/>
              <p:nvPr/>
            </p:nvSpPr>
            <p:spPr>
              <a:xfrm>
                <a:off x="9320378" y="4366910"/>
                <a:ext cx="1151288" cy="1286623"/>
              </a:xfrm>
              <a:custGeom>
                <a:avLst/>
                <a:gdLst>
                  <a:gd name="connsiteX0" fmla="*/ 1402860 w 3069303"/>
                  <a:gd name="connsiteY0" fmla="*/ 0 h 3430102"/>
                  <a:gd name="connsiteX1" fmla="*/ 3069303 w 3069303"/>
                  <a:gd name="connsiteY1" fmla="*/ 1361367 h 3430102"/>
                  <a:gd name="connsiteX2" fmla="*/ 2145367 w 3069303"/>
                  <a:gd name="connsiteY2" fmla="*/ 3430102 h 3430102"/>
                  <a:gd name="connsiteX3" fmla="*/ 0 w 3069303"/>
                  <a:gd name="connsiteY3" fmla="*/ 2883111 h 3430102"/>
                  <a:gd name="connsiteX4" fmla="*/ 0 w 3069303"/>
                  <a:gd name="connsiteY4" fmla="*/ 672251 h 3430102"/>
                  <a:gd name="connsiteX5" fmla="*/ 102542 w 3069303"/>
                  <a:gd name="connsiteY5" fmla="*/ 667073 h 3430102"/>
                  <a:gd name="connsiteX6" fmla="*/ 1325179 w 3069303"/>
                  <a:gd name="connsiteY6" fmla="*/ 85471 h 3430102"/>
                  <a:gd name="connsiteX7" fmla="*/ 1402860 w 3069303"/>
                  <a:gd name="connsiteY7" fmla="*/ 0 h 3430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9303" h="3430102">
                    <a:moveTo>
                      <a:pt x="1402860" y="0"/>
                    </a:moveTo>
                    <a:lnTo>
                      <a:pt x="3069303" y="1361367"/>
                    </a:lnTo>
                    <a:lnTo>
                      <a:pt x="2145367" y="3430102"/>
                    </a:lnTo>
                    <a:lnTo>
                      <a:pt x="0" y="2883111"/>
                    </a:lnTo>
                    <a:lnTo>
                      <a:pt x="0" y="672251"/>
                    </a:lnTo>
                    <a:lnTo>
                      <a:pt x="102542" y="667073"/>
                    </a:lnTo>
                    <a:cubicBezTo>
                      <a:pt x="578204" y="618767"/>
                      <a:pt x="1005111" y="405538"/>
                      <a:pt x="1325179" y="85471"/>
                    </a:cubicBezTo>
                    <a:lnTo>
                      <a:pt x="1402860" y="0"/>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4" name="Freeform 34">
                <a:extLst>
                  <a:ext uri="{FF2B5EF4-FFF2-40B4-BE49-F238E27FC236}">
                    <a16:creationId xmlns:a16="http://schemas.microsoft.com/office/drawing/2014/main" id="{73C8A32A-30B8-35B8-FAEE-D4B3316026A1}"/>
                  </a:ext>
                </a:extLst>
              </p:cNvPr>
              <p:cNvSpPr/>
              <p:nvPr/>
            </p:nvSpPr>
            <p:spPr>
              <a:xfrm>
                <a:off x="8092004" y="4368080"/>
                <a:ext cx="1149487" cy="1285452"/>
              </a:xfrm>
              <a:custGeom>
                <a:avLst/>
                <a:gdLst>
                  <a:gd name="connsiteX0" fmla="*/ 1666533 w 3064501"/>
                  <a:gd name="connsiteY0" fmla="*/ 0 h 3426980"/>
                  <a:gd name="connsiteX1" fmla="*/ 1741376 w 3064501"/>
                  <a:gd name="connsiteY1" fmla="*/ 82349 h 3426980"/>
                  <a:gd name="connsiteX2" fmla="*/ 2964013 w 3064501"/>
                  <a:gd name="connsiteY2" fmla="*/ 663951 h 3426980"/>
                  <a:gd name="connsiteX3" fmla="*/ 3064501 w 3064501"/>
                  <a:gd name="connsiteY3" fmla="*/ 669025 h 3426980"/>
                  <a:gd name="connsiteX4" fmla="*/ 3064501 w 3064501"/>
                  <a:gd name="connsiteY4" fmla="*/ 2879989 h 3426980"/>
                  <a:gd name="connsiteX5" fmla="*/ 919134 w 3064501"/>
                  <a:gd name="connsiteY5" fmla="*/ 3426980 h 3426980"/>
                  <a:gd name="connsiteX6" fmla="*/ 0 w 3064501"/>
                  <a:gd name="connsiteY6" fmla="*/ 1368998 h 3426980"/>
                  <a:gd name="connsiteX7" fmla="*/ 1666533 w 3064501"/>
                  <a:gd name="connsiteY7" fmla="*/ 0 h 342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4501" h="3426980">
                    <a:moveTo>
                      <a:pt x="1666533" y="0"/>
                    </a:moveTo>
                    <a:lnTo>
                      <a:pt x="1741376" y="82349"/>
                    </a:lnTo>
                    <a:cubicBezTo>
                      <a:pt x="2061444" y="402416"/>
                      <a:pt x="2488351" y="615645"/>
                      <a:pt x="2964013" y="663951"/>
                    </a:cubicBezTo>
                    <a:lnTo>
                      <a:pt x="3064501" y="669025"/>
                    </a:lnTo>
                    <a:lnTo>
                      <a:pt x="3064501" y="2879989"/>
                    </a:lnTo>
                    <a:lnTo>
                      <a:pt x="919134" y="3426980"/>
                    </a:lnTo>
                    <a:lnTo>
                      <a:pt x="0" y="1368998"/>
                    </a:lnTo>
                    <a:lnTo>
                      <a:pt x="1666533"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grpSp>
        <p:sp>
          <p:nvSpPr>
            <p:cNvPr id="15" name="TextBox 73">
              <a:extLst>
                <a:ext uri="{FF2B5EF4-FFF2-40B4-BE49-F238E27FC236}">
                  <a16:creationId xmlns:a16="http://schemas.microsoft.com/office/drawing/2014/main" id="{B8E6D515-A068-0D0E-E480-FE3D7744B857}"/>
                </a:ext>
              </a:extLst>
            </p:cNvPr>
            <p:cNvSpPr txBox="1"/>
            <p:nvPr/>
          </p:nvSpPr>
          <p:spPr>
            <a:xfrm>
              <a:off x="1871717" y="4639528"/>
              <a:ext cx="2163734" cy="461665"/>
            </a:xfrm>
            <a:prstGeom prst="rect">
              <a:avLst/>
            </a:prstGeom>
            <a:noFill/>
          </p:spPr>
          <p:txBody>
            <a:bodyPr wrap="none" rtlCol="0" anchor="b" anchorCtr="0">
              <a:spAutoFit/>
            </a:bodyPr>
            <a:lstStyle/>
            <a:p>
              <a:pPr lvl="0" algn="l" rtl="0">
                <a:defRPr/>
              </a:pPr>
              <a:r>
                <a:rPr lang="en-GB" sz="2400" dirty="0">
                  <a:solidFill>
                    <a:srgbClr val="B41F7A"/>
                  </a:solidFill>
                  <a:ea typeface="League Spartan" charset="0"/>
                  <a:cs typeface="Poppins" pitchFamily="2" charset="77"/>
                </a:rPr>
                <a:t>Comunicación</a:t>
              </a:r>
            </a:p>
          </p:txBody>
        </p:sp>
        <p:sp>
          <p:nvSpPr>
            <p:cNvPr id="16" name="TextBox 77">
              <a:extLst>
                <a:ext uri="{FF2B5EF4-FFF2-40B4-BE49-F238E27FC236}">
                  <a16:creationId xmlns:a16="http://schemas.microsoft.com/office/drawing/2014/main" id="{2C09D491-B98B-98CF-77FE-0FEE33D01FC2}"/>
                </a:ext>
              </a:extLst>
            </p:cNvPr>
            <p:cNvSpPr txBox="1"/>
            <p:nvPr/>
          </p:nvSpPr>
          <p:spPr>
            <a:xfrm>
              <a:off x="2936173" y="3777043"/>
              <a:ext cx="1216167" cy="461665"/>
            </a:xfrm>
            <a:prstGeom prst="rect">
              <a:avLst/>
            </a:prstGeom>
            <a:noFill/>
          </p:spPr>
          <p:txBody>
            <a:bodyPr wrap="none" lIns="91440" tIns="45720" rIns="91440" bIns="45720" rtlCol="0" anchor="b" anchorCtr="0">
              <a:spAutoFit/>
            </a:bodyPr>
            <a:lstStyle/>
            <a:p>
              <a:pPr lvl="0" algn="l" rtl="0">
                <a:defRPr/>
              </a:pPr>
              <a:r>
                <a:rPr lang="en-GB" sz="2400" dirty="0">
                  <a:solidFill>
                    <a:srgbClr val="F16924"/>
                  </a:solidFill>
                  <a:ea typeface="League Spartan" charset="0"/>
                  <a:cs typeface="Poppins" pitchFamily="2" charset="77"/>
                </a:rPr>
                <a:t>Coraje</a:t>
              </a:r>
            </a:p>
          </p:txBody>
        </p:sp>
        <p:sp>
          <p:nvSpPr>
            <p:cNvPr id="17" name="TextBox 38">
              <a:extLst>
                <a:ext uri="{FF2B5EF4-FFF2-40B4-BE49-F238E27FC236}">
                  <a16:creationId xmlns:a16="http://schemas.microsoft.com/office/drawing/2014/main" id="{300C6F5E-B229-94F1-DCDE-E0294D961E00}"/>
                </a:ext>
              </a:extLst>
            </p:cNvPr>
            <p:cNvSpPr txBox="1"/>
            <p:nvPr/>
          </p:nvSpPr>
          <p:spPr>
            <a:xfrm>
              <a:off x="7281969" y="3777043"/>
              <a:ext cx="3710401" cy="461665"/>
            </a:xfrm>
            <a:prstGeom prst="rect">
              <a:avLst/>
            </a:prstGeom>
            <a:noFill/>
          </p:spPr>
          <p:txBody>
            <a:bodyPr wrap="square" rtlCol="0" anchor="b" anchorCtr="0">
              <a:spAutoFit/>
            </a:bodyPr>
            <a:lstStyle/>
            <a:p>
              <a:pPr lvl="0" algn="l" rtl="0">
                <a:defRPr/>
              </a:pPr>
              <a:r>
                <a:rPr lang="en-GB" sz="2400" dirty="0">
                  <a:solidFill>
                    <a:srgbClr val="B41F7A"/>
                  </a:solidFill>
                  <a:ea typeface="League Spartan" charset="0"/>
                  <a:cs typeface="Poppins" pitchFamily="2" charset="77"/>
                </a:rPr>
                <a:t>Credibilidad</a:t>
              </a:r>
            </a:p>
          </p:txBody>
        </p:sp>
        <p:sp>
          <p:nvSpPr>
            <p:cNvPr id="18" name="TextBox 43">
              <a:extLst>
                <a:ext uri="{FF2B5EF4-FFF2-40B4-BE49-F238E27FC236}">
                  <a16:creationId xmlns:a16="http://schemas.microsoft.com/office/drawing/2014/main" id="{93EDD7C6-4D03-9C71-A539-0F9F4883E159}"/>
                </a:ext>
              </a:extLst>
            </p:cNvPr>
            <p:cNvSpPr txBox="1"/>
            <p:nvPr/>
          </p:nvSpPr>
          <p:spPr>
            <a:xfrm>
              <a:off x="6839466" y="5926036"/>
              <a:ext cx="962123" cy="461665"/>
            </a:xfrm>
            <a:prstGeom prst="rect">
              <a:avLst/>
            </a:prstGeom>
            <a:noFill/>
          </p:spPr>
          <p:txBody>
            <a:bodyPr wrap="none" rtlCol="0" anchor="b" anchorCtr="0">
              <a:spAutoFit/>
            </a:bodyPr>
            <a:lstStyle/>
            <a:p>
              <a:pPr lvl="0" algn="l" rtl="0">
                <a:defRPr/>
              </a:pPr>
              <a:r>
                <a:rPr lang="en-GB" sz="2400" dirty="0">
                  <a:solidFill>
                    <a:srgbClr val="EDA13E"/>
                  </a:solidFill>
                  <a:ea typeface="League Spartan" charset="0"/>
                  <a:cs typeface="Poppins" pitchFamily="2" charset="77"/>
                </a:rPr>
                <a:t>Cerca</a:t>
              </a:r>
            </a:p>
          </p:txBody>
        </p:sp>
        <p:sp>
          <p:nvSpPr>
            <p:cNvPr id="19" name="TextBox 47">
              <a:extLst>
                <a:ext uri="{FF2B5EF4-FFF2-40B4-BE49-F238E27FC236}">
                  <a16:creationId xmlns:a16="http://schemas.microsoft.com/office/drawing/2014/main" id="{2E807A4B-A2DD-34C2-B406-FF52D3F4C733}"/>
                </a:ext>
              </a:extLst>
            </p:cNvPr>
            <p:cNvSpPr txBox="1"/>
            <p:nvPr/>
          </p:nvSpPr>
          <p:spPr>
            <a:xfrm>
              <a:off x="7580339" y="4679343"/>
              <a:ext cx="1699504" cy="461665"/>
            </a:xfrm>
            <a:prstGeom prst="rect">
              <a:avLst/>
            </a:prstGeom>
            <a:noFill/>
          </p:spPr>
          <p:txBody>
            <a:bodyPr wrap="none" rtlCol="0" anchor="b" anchorCtr="0">
              <a:spAutoFit/>
            </a:bodyPr>
            <a:lstStyle/>
            <a:p>
              <a:pPr lvl="0" algn="l" rtl="0">
                <a:defRPr/>
              </a:pPr>
              <a:r>
                <a:rPr lang="en-GB" sz="2400" dirty="0">
                  <a:solidFill>
                    <a:srgbClr val="EDA13E"/>
                  </a:solidFill>
                  <a:ea typeface="Lato Light" charset="0"/>
                  <a:cs typeface="Lato Light" charset="0"/>
                </a:rPr>
                <a:t>Compasión</a:t>
              </a:r>
              <a:endParaRPr kumimoji="0" lang="en-GB" sz="2400" i="0" u="none" strike="noStrike" kern="1200" cap="none" spc="0" normalizeH="0" baseline="0" noProof="0" dirty="0">
                <a:ln>
                  <a:noFill/>
                </a:ln>
                <a:solidFill>
                  <a:srgbClr val="F16924"/>
                </a:solidFill>
                <a:effectLst/>
                <a:uLnTx/>
                <a:uFillTx/>
                <a:ea typeface="League Spartan" charset="0"/>
                <a:cs typeface="Poppins" pitchFamily="2" charset="77"/>
              </a:endParaRPr>
            </a:p>
          </p:txBody>
        </p:sp>
        <p:sp>
          <p:nvSpPr>
            <p:cNvPr id="20" name="TextBox 49">
              <a:extLst>
                <a:ext uri="{FF2B5EF4-FFF2-40B4-BE49-F238E27FC236}">
                  <a16:creationId xmlns:a16="http://schemas.microsoft.com/office/drawing/2014/main" id="{A80C7F55-B29D-7BA5-5CAD-4BC800D5741E}"/>
                </a:ext>
              </a:extLst>
            </p:cNvPr>
            <p:cNvSpPr txBox="1"/>
            <p:nvPr/>
          </p:nvSpPr>
          <p:spPr>
            <a:xfrm>
              <a:off x="3413621" y="5860387"/>
              <a:ext cx="1216167" cy="461665"/>
            </a:xfrm>
            <a:prstGeom prst="rect">
              <a:avLst/>
            </a:prstGeom>
            <a:noFill/>
          </p:spPr>
          <p:txBody>
            <a:bodyPr wrap="none" rtlCol="0" anchor="b" anchorCtr="0">
              <a:spAutoFit/>
            </a:bodyPr>
            <a:lstStyle/>
            <a:p>
              <a:pPr lvl="0" algn="l" rtl="0">
                <a:defRPr/>
              </a:pPr>
              <a:r>
                <a:rPr lang="en-GB" sz="2400" dirty="0">
                  <a:solidFill>
                    <a:srgbClr val="7F1C58"/>
                  </a:solidFill>
                  <a:ea typeface="League Spartan" charset="0"/>
                  <a:cs typeface="Poppins" pitchFamily="2" charset="77"/>
                </a:rPr>
                <a:t>Coraje</a:t>
              </a:r>
            </a:p>
          </p:txBody>
        </p:sp>
        <p:sp>
          <p:nvSpPr>
            <p:cNvPr id="21" name="TextBox 51">
              <a:extLst>
                <a:ext uri="{FF2B5EF4-FFF2-40B4-BE49-F238E27FC236}">
                  <a16:creationId xmlns:a16="http://schemas.microsoft.com/office/drawing/2014/main" id="{3984232C-4A62-99E1-7248-EA6A75F11B4B}"/>
                </a:ext>
              </a:extLst>
            </p:cNvPr>
            <p:cNvSpPr txBox="1"/>
            <p:nvPr/>
          </p:nvSpPr>
          <p:spPr>
            <a:xfrm>
              <a:off x="4650769" y="2434934"/>
              <a:ext cx="2272682" cy="461665"/>
            </a:xfrm>
            <a:prstGeom prst="rect">
              <a:avLst/>
            </a:prstGeom>
            <a:noFill/>
          </p:spPr>
          <p:txBody>
            <a:bodyPr wrap="square" rtlCol="0" anchor="b" anchorCtr="0">
              <a:spAutoFit/>
            </a:bodyPr>
            <a:lstStyle/>
            <a:p>
              <a:pPr lvl="0" algn="ctr" rtl="0">
                <a:defRPr/>
              </a:pPr>
              <a:r>
                <a:rPr lang="en-GB" sz="2400" dirty="0">
                  <a:solidFill>
                    <a:srgbClr val="7F1C58"/>
                  </a:solidFill>
                  <a:ea typeface="League Spartan" charset="0"/>
                  <a:cs typeface="Poppins" pitchFamily="2" charset="77"/>
                </a:rPr>
                <a:t>Compromiso</a:t>
              </a:r>
            </a:p>
          </p:txBody>
        </p:sp>
        <p:sp>
          <p:nvSpPr>
            <p:cNvPr id="22" name="TextBox 51">
              <a:extLst>
                <a:ext uri="{FF2B5EF4-FFF2-40B4-BE49-F238E27FC236}">
                  <a16:creationId xmlns:a16="http://schemas.microsoft.com/office/drawing/2014/main" id="{688C8B11-3FC9-1FAD-5351-758D88C27F8A}"/>
                </a:ext>
              </a:extLst>
            </p:cNvPr>
            <p:cNvSpPr txBox="1"/>
            <p:nvPr/>
          </p:nvSpPr>
          <p:spPr>
            <a:xfrm>
              <a:off x="5260234" y="4377909"/>
              <a:ext cx="992580" cy="769441"/>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4400" b="1" dirty="0">
                  <a:solidFill>
                    <a:srgbClr val="595959"/>
                  </a:solidFill>
                  <a:ea typeface="League Spartan" charset="0"/>
                  <a:cs typeface="Poppins" pitchFamily="2" charset="77"/>
                </a:rPr>
                <a:t>7C</a:t>
              </a:r>
              <a:endParaRPr kumimoji="0" lang="en-GB" sz="4400" b="1" i="0" u="none" strike="noStrike" kern="1200" cap="none" spc="0" normalizeH="0" baseline="0" noProof="0" dirty="0">
                <a:ln>
                  <a:noFill/>
                </a:ln>
                <a:solidFill>
                  <a:srgbClr val="595959"/>
                </a:solidFill>
                <a:effectLst/>
                <a:uLnTx/>
                <a:uFillTx/>
                <a:ea typeface="League Spartan" charset="0"/>
                <a:cs typeface="Poppins" pitchFamily="2" charset="77"/>
              </a:endParaRPr>
            </a:p>
          </p:txBody>
        </p:sp>
        <p:sp>
          <p:nvSpPr>
            <p:cNvPr id="24" name="TextBox 23">
              <a:extLst>
                <a:ext uri="{FF2B5EF4-FFF2-40B4-BE49-F238E27FC236}">
                  <a16:creationId xmlns:a16="http://schemas.microsoft.com/office/drawing/2014/main" id="{94143A6B-CC67-13E6-8A84-B005E72BD7C1}"/>
                </a:ext>
              </a:extLst>
            </p:cNvPr>
            <p:cNvSpPr txBox="1"/>
            <p:nvPr/>
          </p:nvSpPr>
          <p:spPr>
            <a:xfrm flipH="1">
              <a:off x="5482592" y="3368200"/>
              <a:ext cx="560940" cy="534012"/>
            </a:xfrm>
            <a:prstGeom prst="rect">
              <a:avLst/>
            </a:prstGeom>
            <a:noFill/>
          </p:spPr>
          <p:txBody>
            <a:bodyPr wrap="square" rtlCol="0">
              <a:spAutoFit/>
            </a:bodyPr>
            <a:lstStyle/>
            <a:p>
              <a:pPr algn="ctr" rtl="0"/>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1</a:t>
              </a:r>
            </a:p>
          </p:txBody>
        </p:sp>
        <p:sp>
          <p:nvSpPr>
            <p:cNvPr id="25" name="TextBox 24">
              <a:extLst>
                <a:ext uri="{FF2B5EF4-FFF2-40B4-BE49-F238E27FC236}">
                  <a16:creationId xmlns:a16="http://schemas.microsoft.com/office/drawing/2014/main" id="{86F605D0-0C10-1947-072D-4C6BD332F3B6}"/>
                </a:ext>
              </a:extLst>
            </p:cNvPr>
            <p:cNvSpPr txBox="1"/>
            <p:nvPr/>
          </p:nvSpPr>
          <p:spPr>
            <a:xfrm flipH="1">
              <a:off x="6443085" y="3789054"/>
              <a:ext cx="560940" cy="534012"/>
            </a:xfrm>
            <a:prstGeom prst="rect">
              <a:avLst/>
            </a:prstGeom>
            <a:noFill/>
          </p:spPr>
          <p:txBody>
            <a:bodyPr wrap="square" rtlCol="0">
              <a:spAutoFit/>
            </a:bodyPr>
            <a:lstStyle/>
            <a:p>
              <a:pPr algn="ctr" rtl="0"/>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2</a:t>
              </a:r>
            </a:p>
          </p:txBody>
        </p:sp>
        <p:sp>
          <p:nvSpPr>
            <p:cNvPr id="26" name="TextBox 25">
              <a:extLst>
                <a:ext uri="{FF2B5EF4-FFF2-40B4-BE49-F238E27FC236}">
                  <a16:creationId xmlns:a16="http://schemas.microsoft.com/office/drawing/2014/main" id="{C32713F2-64D2-678F-AE87-5754B980C62E}"/>
                </a:ext>
              </a:extLst>
            </p:cNvPr>
            <p:cNvSpPr txBox="1"/>
            <p:nvPr/>
          </p:nvSpPr>
          <p:spPr>
            <a:xfrm flipH="1">
              <a:off x="6681152" y="4802883"/>
              <a:ext cx="560940" cy="534012"/>
            </a:xfrm>
            <a:prstGeom prst="rect">
              <a:avLst/>
            </a:prstGeom>
            <a:noFill/>
          </p:spPr>
          <p:txBody>
            <a:bodyPr wrap="square" rtlCol="0">
              <a:spAutoFit/>
            </a:bodyPr>
            <a:lstStyle/>
            <a:p>
              <a:pPr algn="ctr" rtl="0"/>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3</a:t>
              </a:r>
            </a:p>
          </p:txBody>
        </p:sp>
        <p:sp>
          <p:nvSpPr>
            <p:cNvPr id="27" name="TextBox 26">
              <a:extLst>
                <a:ext uri="{FF2B5EF4-FFF2-40B4-BE49-F238E27FC236}">
                  <a16:creationId xmlns:a16="http://schemas.microsoft.com/office/drawing/2014/main" id="{A20EEDBF-E206-688D-716F-D32841406A1B}"/>
                </a:ext>
              </a:extLst>
            </p:cNvPr>
            <p:cNvSpPr txBox="1"/>
            <p:nvPr/>
          </p:nvSpPr>
          <p:spPr>
            <a:xfrm flipH="1">
              <a:off x="5986273" y="5672431"/>
              <a:ext cx="560940" cy="534012"/>
            </a:xfrm>
            <a:prstGeom prst="rect">
              <a:avLst/>
            </a:prstGeom>
            <a:noFill/>
          </p:spPr>
          <p:txBody>
            <a:bodyPr wrap="square" rtlCol="0">
              <a:spAutoFit/>
            </a:bodyPr>
            <a:lstStyle/>
            <a:p>
              <a:pPr algn="ctr" rtl="0"/>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4</a:t>
              </a:r>
            </a:p>
          </p:txBody>
        </p:sp>
        <p:sp>
          <p:nvSpPr>
            <p:cNvPr id="28" name="TextBox 27">
              <a:extLst>
                <a:ext uri="{FF2B5EF4-FFF2-40B4-BE49-F238E27FC236}">
                  <a16:creationId xmlns:a16="http://schemas.microsoft.com/office/drawing/2014/main" id="{F1E7060A-8076-18EA-4B69-7C9EC18AEF32}"/>
                </a:ext>
              </a:extLst>
            </p:cNvPr>
            <p:cNvSpPr txBox="1"/>
            <p:nvPr/>
          </p:nvSpPr>
          <p:spPr>
            <a:xfrm flipH="1">
              <a:off x="4944938" y="5689386"/>
              <a:ext cx="560940" cy="534012"/>
            </a:xfrm>
            <a:prstGeom prst="rect">
              <a:avLst/>
            </a:prstGeom>
            <a:noFill/>
          </p:spPr>
          <p:txBody>
            <a:bodyPr wrap="square" rtlCol="0">
              <a:spAutoFit/>
            </a:bodyPr>
            <a:lstStyle/>
            <a:p>
              <a:pPr algn="ctr" rtl="0"/>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5</a:t>
              </a:r>
            </a:p>
          </p:txBody>
        </p:sp>
        <p:sp>
          <p:nvSpPr>
            <p:cNvPr id="29" name="TextBox 28">
              <a:extLst>
                <a:ext uri="{FF2B5EF4-FFF2-40B4-BE49-F238E27FC236}">
                  <a16:creationId xmlns:a16="http://schemas.microsoft.com/office/drawing/2014/main" id="{9BD42E58-0C0D-4C99-C439-688A1C6096E2}"/>
                </a:ext>
              </a:extLst>
            </p:cNvPr>
            <p:cNvSpPr txBox="1"/>
            <p:nvPr/>
          </p:nvSpPr>
          <p:spPr>
            <a:xfrm flipH="1">
              <a:off x="4292259" y="4787066"/>
              <a:ext cx="560940" cy="534012"/>
            </a:xfrm>
            <a:prstGeom prst="rect">
              <a:avLst/>
            </a:prstGeom>
            <a:noFill/>
          </p:spPr>
          <p:txBody>
            <a:bodyPr wrap="square" rtlCol="0">
              <a:spAutoFit/>
            </a:bodyPr>
            <a:lstStyle/>
            <a:p>
              <a:pPr algn="ctr" rtl="0"/>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6</a:t>
              </a:r>
            </a:p>
          </p:txBody>
        </p:sp>
        <p:sp>
          <p:nvSpPr>
            <p:cNvPr id="30" name="TextBox 29">
              <a:extLst>
                <a:ext uri="{FF2B5EF4-FFF2-40B4-BE49-F238E27FC236}">
                  <a16:creationId xmlns:a16="http://schemas.microsoft.com/office/drawing/2014/main" id="{E16E85EB-A0EB-B162-86B8-759866662A25}"/>
                </a:ext>
              </a:extLst>
            </p:cNvPr>
            <p:cNvSpPr txBox="1"/>
            <p:nvPr/>
          </p:nvSpPr>
          <p:spPr>
            <a:xfrm flipH="1">
              <a:off x="4506710" y="3778359"/>
              <a:ext cx="560940" cy="534012"/>
            </a:xfrm>
            <a:prstGeom prst="rect">
              <a:avLst/>
            </a:prstGeom>
            <a:noFill/>
          </p:spPr>
          <p:txBody>
            <a:bodyPr wrap="square" rtlCol="0">
              <a:spAutoFit/>
            </a:bodyPr>
            <a:lstStyle/>
            <a:p>
              <a:pPr algn="ctr" rtl="0"/>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7</a:t>
              </a:r>
            </a:p>
          </p:txBody>
        </p:sp>
      </p:grpSp>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23950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6" name="Textplatzhalter 1">
            <a:extLst>
              <a:ext uri="{FF2B5EF4-FFF2-40B4-BE49-F238E27FC236}">
                <a16:creationId xmlns:a16="http://schemas.microsoft.com/office/drawing/2014/main" id="{1706CAA4-7AF8-AB5A-EFB2-DF405B76C26B}"/>
              </a:ext>
            </a:extLst>
          </p:cNvPr>
          <p:cNvSpPr txBox="1">
            <a:spLocks/>
          </p:cNvSpPr>
          <p:nvPr/>
        </p:nvSpPr>
        <p:spPr>
          <a:xfrm>
            <a:off x="0" y="370865"/>
            <a:ext cx="12192000"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r>
              <a:rPr lang="en-GB" dirty="0">
                <a:solidFill>
                  <a:schemeClr val="bg1"/>
                </a:solidFill>
              </a:rPr>
              <a:t>Resumen simple de liderazgo: 7Cs</a:t>
            </a:r>
          </a:p>
        </p:txBody>
      </p:sp>
    </p:spTree>
    <p:extLst>
      <p:ext uri="{BB962C8B-B14F-4D97-AF65-F5344CB8AC3E}">
        <p14:creationId xmlns:p14="http://schemas.microsoft.com/office/powerpoint/2010/main" val="25497404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2" name="Straight Connector 241">
            <a:extLst>
              <a:ext uri="{FF2B5EF4-FFF2-40B4-BE49-F238E27FC236}">
                <a16:creationId xmlns:a16="http://schemas.microsoft.com/office/drawing/2014/main" id="{5D42419B-38C9-FF97-1BB3-EAE256AEF850}"/>
              </a:ext>
            </a:extLst>
          </p:cNvPr>
          <p:cNvCxnSpPr>
            <a:cxnSpLocks/>
          </p:cNvCxnSpPr>
          <p:nvPr/>
        </p:nvCxnSpPr>
        <p:spPr>
          <a:xfrm flipV="1">
            <a:off x="5817721" y="2448392"/>
            <a:ext cx="716766" cy="25444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6850B946-6A3D-FDF6-641F-0232E35FB245}"/>
              </a:ext>
            </a:extLst>
          </p:cNvPr>
          <p:cNvCxnSpPr>
            <a:cxnSpLocks/>
          </p:cNvCxnSpPr>
          <p:nvPr/>
        </p:nvCxnSpPr>
        <p:spPr>
          <a:xfrm>
            <a:off x="5812830" y="3869528"/>
            <a:ext cx="821610" cy="343394"/>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4BAB812-B522-3461-4A4C-494B2217B69E}"/>
              </a:ext>
            </a:extLst>
          </p:cNvPr>
          <p:cNvCxnSpPr>
            <a:cxnSpLocks/>
          </p:cNvCxnSpPr>
          <p:nvPr/>
        </p:nvCxnSpPr>
        <p:spPr>
          <a:xfrm flipV="1">
            <a:off x="5103226" y="921439"/>
            <a:ext cx="297626" cy="659098"/>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FDD9F6B-4DF6-C77E-69F4-7B68C1A1E743}"/>
              </a:ext>
            </a:extLst>
          </p:cNvPr>
          <p:cNvCxnSpPr>
            <a:cxnSpLocks/>
          </p:cNvCxnSpPr>
          <p:nvPr/>
        </p:nvCxnSpPr>
        <p:spPr>
          <a:xfrm flipV="1">
            <a:off x="5621028" y="1657354"/>
            <a:ext cx="624913" cy="464003"/>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516B614-2FEC-A3CA-F325-3D8D4AE8CC95}"/>
              </a:ext>
            </a:extLst>
          </p:cNvPr>
          <p:cNvCxnSpPr>
            <a:cxnSpLocks/>
            <a:endCxn id="62" idx="1"/>
          </p:cNvCxnSpPr>
          <p:nvPr/>
        </p:nvCxnSpPr>
        <p:spPr>
          <a:xfrm>
            <a:off x="5933484" y="3325600"/>
            <a:ext cx="874265"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130BF5D-B69C-D4B3-3F7C-5D8CBF0406AD}"/>
              </a:ext>
            </a:extLst>
          </p:cNvPr>
          <p:cNvCxnSpPr>
            <a:cxnSpLocks/>
          </p:cNvCxnSpPr>
          <p:nvPr/>
        </p:nvCxnSpPr>
        <p:spPr>
          <a:xfrm>
            <a:off x="5534841" y="4390168"/>
            <a:ext cx="705824" cy="600171"/>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6A90408-5CDC-A67E-BBCF-2685382AD867}"/>
              </a:ext>
            </a:extLst>
          </p:cNvPr>
          <p:cNvCxnSpPr>
            <a:cxnSpLocks/>
          </p:cNvCxnSpPr>
          <p:nvPr/>
        </p:nvCxnSpPr>
        <p:spPr>
          <a:xfrm>
            <a:off x="5145134" y="4949522"/>
            <a:ext cx="309088" cy="62635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sp>
        <p:nvSpPr>
          <p:cNvPr id="9" name="Freeform 8">
            <a:extLst>
              <a:ext uri="{FF2B5EF4-FFF2-40B4-BE49-F238E27FC236}">
                <a16:creationId xmlns:a16="http://schemas.microsoft.com/office/drawing/2014/main" id="{0C34D404-B7C4-5835-BBA0-BDF4A42340D6}"/>
              </a:ext>
            </a:extLst>
          </p:cNvPr>
          <p:cNvSpPr/>
          <p:nvPr/>
        </p:nvSpPr>
        <p:spPr>
          <a:xfrm>
            <a:off x="3888857" y="1285772"/>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pPr algn="l" rtl="0"/>
            <a:endParaRPr lang="en-US"/>
          </a:p>
        </p:txBody>
      </p:sp>
      <p:grpSp>
        <p:nvGrpSpPr>
          <p:cNvPr id="11" name="Group 10">
            <a:extLst>
              <a:ext uri="{FF2B5EF4-FFF2-40B4-BE49-F238E27FC236}">
                <a16:creationId xmlns:a16="http://schemas.microsoft.com/office/drawing/2014/main" id="{237DC7B7-87AD-5BDD-3B58-DDB8F07A8454}"/>
              </a:ext>
            </a:extLst>
          </p:cNvPr>
          <p:cNvGrpSpPr/>
          <p:nvPr/>
        </p:nvGrpSpPr>
        <p:grpSpPr>
          <a:xfrm>
            <a:off x="4921216" y="1524744"/>
            <a:ext cx="230346" cy="230551"/>
            <a:chOff x="1073516" y="1527833"/>
            <a:chExt cx="230346" cy="230551"/>
          </a:xfrm>
        </p:grpSpPr>
        <p:sp>
          <p:nvSpPr>
            <p:cNvPr id="52" name="Freeform 51">
              <a:extLst>
                <a:ext uri="{FF2B5EF4-FFF2-40B4-BE49-F238E27FC236}">
                  <a16:creationId xmlns:a16="http://schemas.microsoft.com/office/drawing/2014/main" id="{33636165-DFB5-F569-08BF-8B016273D56C}"/>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53" name="Freeform 52">
              <a:extLst>
                <a:ext uri="{FF2B5EF4-FFF2-40B4-BE49-F238E27FC236}">
                  <a16:creationId xmlns:a16="http://schemas.microsoft.com/office/drawing/2014/main" id="{DA04CE63-B5CF-54B5-07AC-DAB4F35C7E9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sp>
        <p:nvSpPr>
          <p:cNvPr id="50" name="Freeform 49">
            <a:extLst>
              <a:ext uri="{FF2B5EF4-FFF2-40B4-BE49-F238E27FC236}">
                <a16:creationId xmlns:a16="http://schemas.microsoft.com/office/drawing/2014/main" id="{6192E524-49F3-17DC-B214-680AA7E493E4}"/>
              </a:ext>
            </a:extLst>
          </p:cNvPr>
          <p:cNvSpPr/>
          <p:nvPr/>
        </p:nvSpPr>
        <p:spPr>
          <a:xfrm>
            <a:off x="5407850" y="2032692"/>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51" name="Freeform 50">
            <a:extLst>
              <a:ext uri="{FF2B5EF4-FFF2-40B4-BE49-F238E27FC236}">
                <a16:creationId xmlns:a16="http://schemas.microsoft.com/office/drawing/2014/main" id="{0EBB4964-8117-B6DD-5D11-9BF3A7FAA686}"/>
              </a:ext>
            </a:extLst>
          </p:cNvPr>
          <p:cNvSpPr/>
          <p:nvPr/>
        </p:nvSpPr>
        <p:spPr>
          <a:xfrm>
            <a:off x="5455944" y="2080829"/>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nvGrpSpPr>
          <p:cNvPr id="13" name="Group 12">
            <a:extLst>
              <a:ext uri="{FF2B5EF4-FFF2-40B4-BE49-F238E27FC236}">
                <a16:creationId xmlns:a16="http://schemas.microsoft.com/office/drawing/2014/main" id="{0EE81F01-E06D-29E5-BA17-E772968EAC1B}"/>
              </a:ext>
            </a:extLst>
          </p:cNvPr>
          <p:cNvGrpSpPr/>
          <p:nvPr/>
        </p:nvGrpSpPr>
        <p:grpSpPr>
          <a:xfrm>
            <a:off x="5781746" y="3200965"/>
            <a:ext cx="230346" cy="230551"/>
            <a:chOff x="1073516" y="1527833"/>
            <a:chExt cx="230346" cy="230551"/>
          </a:xfrm>
        </p:grpSpPr>
        <p:sp>
          <p:nvSpPr>
            <p:cNvPr id="48" name="Freeform 47">
              <a:extLst>
                <a:ext uri="{FF2B5EF4-FFF2-40B4-BE49-F238E27FC236}">
                  <a16:creationId xmlns:a16="http://schemas.microsoft.com/office/drawing/2014/main" id="{2FA6533C-7A98-231A-511D-8A276C0B6001}"/>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49" name="Freeform 48">
              <a:extLst>
                <a:ext uri="{FF2B5EF4-FFF2-40B4-BE49-F238E27FC236}">
                  <a16:creationId xmlns:a16="http://schemas.microsoft.com/office/drawing/2014/main" id="{B4FEA326-E6D8-C3A5-7657-C6FE750C01F4}"/>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14" name="Group 13">
            <a:extLst>
              <a:ext uri="{FF2B5EF4-FFF2-40B4-BE49-F238E27FC236}">
                <a16:creationId xmlns:a16="http://schemas.microsoft.com/office/drawing/2014/main" id="{E4902CA2-0772-9224-24FC-90B076827099}"/>
              </a:ext>
            </a:extLst>
          </p:cNvPr>
          <p:cNvGrpSpPr/>
          <p:nvPr/>
        </p:nvGrpSpPr>
        <p:grpSpPr>
          <a:xfrm>
            <a:off x="4973568" y="4747228"/>
            <a:ext cx="230346" cy="230551"/>
            <a:chOff x="1073516" y="1527833"/>
            <a:chExt cx="230346" cy="230551"/>
          </a:xfrm>
        </p:grpSpPr>
        <p:sp>
          <p:nvSpPr>
            <p:cNvPr id="46" name="Freeform 45">
              <a:extLst>
                <a:ext uri="{FF2B5EF4-FFF2-40B4-BE49-F238E27FC236}">
                  <a16:creationId xmlns:a16="http://schemas.microsoft.com/office/drawing/2014/main" id="{EFAEDAFE-6687-894C-37C4-77C5BED1A108}"/>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47" name="Freeform 46">
              <a:extLst>
                <a:ext uri="{FF2B5EF4-FFF2-40B4-BE49-F238E27FC236}">
                  <a16:creationId xmlns:a16="http://schemas.microsoft.com/office/drawing/2014/main" id="{50FC10D2-4DBB-88C2-EF10-EB977063F63F}"/>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15" name="Group 14">
            <a:extLst>
              <a:ext uri="{FF2B5EF4-FFF2-40B4-BE49-F238E27FC236}">
                <a16:creationId xmlns:a16="http://schemas.microsoft.com/office/drawing/2014/main" id="{EF964300-DAF6-80BE-D63B-1DC35DF220EF}"/>
              </a:ext>
            </a:extLst>
          </p:cNvPr>
          <p:cNvGrpSpPr/>
          <p:nvPr/>
        </p:nvGrpSpPr>
        <p:grpSpPr>
          <a:xfrm>
            <a:off x="5429574" y="4297178"/>
            <a:ext cx="230346" cy="230551"/>
            <a:chOff x="1073516" y="1527833"/>
            <a:chExt cx="230346" cy="230551"/>
          </a:xfrm>
        </p:grpSpPr>
        <p:sp>
          <p:nvSpPr>
            <p:cNvPr id="44" name="Freeform 43">
              <a:extLst>
                <a:ext uri="{FF2B5EF4-FFF2-40B4-BE49-F238E27FC236}">
                  <a16:creationId xmlns:a16="http://schemas.microsoft.com/office/drawing/2014/main" id="{D4D412EB-A9A6-77D8-AC7D-DF625C895AA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45" name="Freeform 44">
              <a:extLst>
                <a:ext uri="{FF2B5EF4-FFF2-40B4-BE49-F238E27FC236}">
                  <a16:creationId xmlns:a16="http://schemas.microsoft.com/office/drawing/2014/main" id="{8A59F832-D100-FB62-7275-4A26936737A9}"/>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sp>
        <p:nvSpPr>
          <p:cNvPr id="332" name="Rectangle 331">
            <a:extLst>
              <a:ext uri="{FF2B5EF4-FFF2-40B4-BE49-F238E27FC236}">
                <a16:creationId xmlns:a16="http://schemas.microsoft.com/office/drawing/2014/main" id="{4AD1CC34-EF04-776A-97D1-6B2C495C81FB}"/>
              </a:ext>
            </a:extLst>
          </p:cNvPr>
          <p:cNvSpPr/>
          <p:nvPr/>
        </p:nvSpPr>
        <p:spPr>
          <a:xfrm>
            <a:off x="0" y="0"/>
            <a:ext cx="4774997"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538194" y="430173"/>
            <a:ext cx="3707231" cy="581244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dirty="0">
                <a:solidFill>
                  <a:schemeClr val="bg1"/>
                </a:solidFill>
              </a:rPr>
              <a:t>7 tácticas de pensamiento crítico que usan los líderes de alto rendimiento para tomar decisiones informadas</a:t>
            </a:r>
          </a:p>
          <a:p>
            <a:pPr algn="l" rtl="0"/>
            <a:endParaRPr lang="en-US" dirty="0">
              <a:solidFill>
                <a:schemeClr val="bg1"/>
              </a:solidFill>
            </a:endParaRPr>
          </a:p>
          <a:p>
            <a:pPr algn="l" rtl="0">
              <a:lnSpc>
                <a:spcPts val="2220"/>
              </a:lnSpc>
              <a:spcBef>
                <a:spcPts val="0"/>
              </a:spcBef>
            </a:pPr>
            <a:r>
              <a:rPr lang="en-US" sz="2200" dirty="0">
                <a:solidFill>
                  <a:schemeClr val="bg1"/>
                </a:solidFill>
              </a:rPr>
              <a:t>El pensamiento crítico permite a los líderes en todos los niveles evaluar su toma de decisiones y cómo estas decisiones finalmente impactan en los resultados.</a:t>
            </a:r>
          </a:p>
          <a:p>
            <a:pPr algn="l" rtl="0">
              <a:lnSpc>
                <a:spcPts val="2220"/>
              </a:lnSpc>
              <a:spcBef>
                <a:spcPts val="0"/>
              </a:spcBef>
            </a:pPr>
            <a:endParaRPr lang="en-US" sz="2200" dirty="0">
              <a:solidFill>
                <a:schemeClr val="bg1"/>
              </a:solidFill>
            </a:endParaRPr>
          </a:p>
        </p:txBody>
      </p:sp>
      <p:grpSp>
        <p:nvGrpSpPr>
          <p:cNvPr id="195" name="Group 194">
            <a:extLst>
              <a:ext uri="{FF2B5EF4-FFF2-40B4-BE49-F238E27FC236}">
                <a16:creationId xmlns:a16="http://schemas.microsoft.com/office/drawing/2014/main" id="{321BF6F3-8A9C-898A-8A52-50B1306BB7FA}"/>
              </a:ext>
            </a:extLst>
          </p:cNvPr>
          <p:cNvGrpSpPr/>
          <p:nvPr/>
        </p:nvGrpSpPr>
        <p:grpSpPr>
          <a:xfrm>
            <a:off x="5103226" y="430173"/>
            <a:ext cx="4934696" cy="712320"/>
            <a:chOff x="1416598" y="919839"/>
            <a:chExt cx="4934696" cy="712320"/>
          </a:xfrm>
        </p:grpSpPr>
        <p:sp>
          <p:nvSpPr>
            <p:cNvPr id="196" name="Rounded Rectangle 195">
              <a:extLst>
                <a:ext uri="{FF2B5EF4-FFF2-40B4-BE49-F238E27FC236}">
                  <a16:creationId xmlns:a16="http://schemas.microsoft.com/office/drawing/2014/main" id="{36CA3738-B7DD-A7C5-A01B-24040B52F966}"/>
                </a:ext>
              </a:extLst>
            </p:cNvPr>
            <p:cNvSpPr/>
            <p:nvPr/>
          </p:nvSpPr>
          <p:spPr>
            <a:xfrm>
              <a:off x="1517286" y="930435"/>
              <a:ext cx="4774185"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97" name="TextBox 49">
              <a:extLst>
                <a:ext uri="{FF2B5EF4-FFF2-40B4-BE49-F238E27FC236}">
                  <a16:creationId xmlns:a16="http://schemas.microsoft.com/office/drawing/2014/main" id="{5D99419C-0210-C879-2517-1BC6E9ED54D6}"/>
                </a:ext>
              </a:extLst>
            </p:cNvPr>
            <p:cNvSpPr txBox="1"/>
            <p:nvPr/>
          </p:nvSpPr>
          <p:spPr>
            <a:xfrm>
              <a:off x="2178413" y="1134461"/>
              <a:ext cx="4172881" cy="326371"/>
            </a:xfrm>
            <a:prstGeom prst="rect">
              <a:avLst/>
            </a:prstGeom>
            <a:noFill/>
          </p:spPr>
          <p:txBody>
            <a:bodyPr wrap="square" numCol="1" rtlCol="0" anchor="ctr">
              <a:spAutoFit/>
            </a:bodyPr>
            <a:lstStyle/>
            <a:p>
              <a:pPr algn="l" rtl="0">
                <a:lnSpc>
                  <a:spcPts val="1800"/>
                </a:lnSpc>
                <a:defRPr/>
              </a:pPr>
              <a:r>
                <a:rPr lang="en-GB" dirty="0">
                  <a:solidFill>
                    <a:schemeClr val="bg1"/>
                  </a:solidFill>
                  <a:ea typeface="Lato Light" panose="020F0502020204030203" pitchFamily="34" charset="0"/>
                  <a:cs typeface="Poppins" pitchFamily="2" charset="77"/>
                </a:rPr>
                <a:t>Sea de mente abierta y manténgase curioso.</a:t>
              </a:r>
            </a:p>
          </p:txBody>
        </p:sp>
        <p:grpSp>
          <p:nvGrpSpPr>
            <p:cNvPr id="198" name="Graphic 8">
              <a:extLst>
                <a:ext uri="{FF2B5EF4-FFF2-40B4-BE49-F238E27FC236}">
                  <a16:creationId xmlns:a16="http://schemas.microsoft.com/office/drawing/2014/main" id="{A99B5BF8-1926-C55E-B2D4-CFDF628005D9}"/>
                </a:ext>
              </a:extLst>
            </p:cNvPr>
            <p:cNvGrpSpPr/>
            <p:nvPr/>
          </p:nvGrpSpPr>
          <p:grpSpPr>
            <a:xfrm>
              <a:off x="1416598" y="919839"/>
              <a:ext cx="701992" cy="701724"/>
              <a:chOff x="4817897" y="694433"/>
              <a:chExt cx="1446392" cy="1445841"/>
            </a:xfrm>
          </p:grpSpPr>
          <p:sp>
            <p:nvSpPr>
              <p:cNvPr id="200" name="Freeform 199">
                <a:extLst>
                  <a:ext uri="{FF2B5EF4-FFF2-40B4-BE49-F238E27FC236}">
                    <a16:creationId xmlns:a16="http://schemas.microsoft.com/office/drawing/2014/main" id="{AA6FF4E1-984F-DF58-BB68-61EAE84344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201" name="Freeform 200">
                <a:extLst>
                  <a:ext uri="{FF2B5EF4-FFF2-40B4-BE49-F238E27FC236}">
                    <a16:creationId xmlns:a16="http://schemas.microsoft.com/office/drawing/2014/main" id="{318BCA59-E276-F06F-5B78-E79564E7F5C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199" name="TextBox 198">
              <a:extLst>
                <a:ext uri="{FF2B5EF4-FFF2-40B4-BE49-F238E27FC236}">
                  <a16:creationId xmlns:a16="http://schemas.microsoft.com/office/drawing/2014/main" id="{7A3B81BF-BC0E-1D84-F82A-747DBD71BCA3}"/>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sp>
        <p:nvSpPr>
          <p:cNvPr id="2" name="Rectangle 1">
            <a:extLst>
              <a:ext uri="{FF2B5EF4-FFF2-40B4-BE49-F238E27FC236}">
                <a16:creationId xmlns:a16="http://schemas.microsoft.com/office/drawing/2014/main" id="{67D77CEC-A6B5-80B9-806C-9686FBF34ED7}"/>
              </a:ext>
            </a:extLst>
          </p:cNvPr>
          <p:cNvSpPr/>
          <p:nvPr/>
        </p:nvSpPr>
        <p:spPr>
          <a:xfrm>
            <a:off x="567962" y="3744685"/>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grpSp>
        <p:nvGrpSpPr>
          <p:cNvPr id="8" name="Group 7">
            <a:extLst>
              <a:ext uri="{FF2B5EF4-FFF2-40B4-BE49-F238E27FC236}">
                <a16:creationId xmlns:a16="http://schemas.microsoft.com/office/drawing/2014/main" id="{12F5E59B-85E2-6F54-A0B5-A94A7551CED1}"/>
              </a:ext>
            </a:extLst>
          </p:cNvPr>
          <p:cNvGrpSpPr/>
          <p:nvPr/>
        </p:nvGrpSpPr>
        <p:grpSpPr>
          <a:xfrm>
            <a:off x="5884908" y="1279131"/>
            <a:ext cx="4934696" cy="712320"/>
            <a:chOff x="1416598" y="919839"/>
            <a:chExt cx="4934696" cy="712320"/>
          </a:xfrm>
        </p:grpSpPr>
        <p:sp>
          <p:nvSpPr>
            <p:cNvPr id="10" name="Rounded Rectangle 9">
              <a:extLst>
                <a:ext uri="{FF2B5EF4-FFF2-40B4-BE49-F238E27FC236}">
                  <a16:creationId xmlns:a16="http://schemas.microsoft.com/office/drawing/2014/main" id="{C9868929-A9C8-6CC2-5FB8-EC98C8EE9139}"/>
                </a:ext>
              </a:extLst>
            </p:cNvPr>
            <p:cNvSpPr/>
            <p:nvPr/>
          </p:nvSpPr>
          <p:spPr>
            <a:xfrm>
              <a:off x="1517286" y="930435"/>
              <a:ext cx="4774185"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2" name="TextBox 49">
              <a:extLst>
                <a:ext uri="{FF2B5EF4-FFF2-40B4-BE49-F238E27FC236}">
                  <a16:creationId xmlns:a16="http://schemas.microsoft.com/office/drawing/2014/main" id="{9546C228-6899-94C9-1820-443B0DB162A7}"/>
                </a:ext>
              </a:extLst>
            </p:cNvPr>
            <p:cNvSpPr txBox="1"/>
            <p:nvPr/>
          </p:nvSpPr>
          <p:spPr>
            <a:xfrm>
              <a:off x="2178413" y="1134461"/>
              <a:ext cx="4172881" cy="326371"/>
            </a:xfrm>
            <a:prstGeom prst="rect">
              <a:avLst/>
            </a:prstGeom>
            <a:noFill/>
          </p:spPr>
          <p:txBody>
            <a:bodyPr wrap="square" numCol="1" rtlCol="0" anchor="ctr">
              <a:spAutoFit/>
            </a:bodyPr>
            <a:lstStyle/>
            <a:p>
              <a:pPr algn="l" rtl="0">
                <a:lnSpc>
                  <a:spcPts val="1800"/>
                </a:lnSpc>
                <a:defRPr/>
              </a:pPr>
              <a:r>
                <a:rPr lang="en-GB" dirty="0">
                  <a:solidFill>
                    <a:schemeClr val="bg1"/>
                  </a:solidFill>
                  <a:ea typeface="Lato Light" panose="020F0502020204030203" pitchFamily="34" charset="0"/>
                  <a:cs typeface="Poppins" pitchFamily="2" charset="77"/>
                </a:rPr>
                <a:t>Sea un observador y escuche atentamente.</a:t>
              </a:r>
            </a:p>
          </p:txBody>
        </p:sp>
        <p:grpSp>
          <p:nvGrpSpPr>
            <p:cNvPr id="17" name="Graphic 8">
              <a:extLst>
                <a:ext uri="{FF2B5EF4-FFF2-40B4-BE49-F238E27FC236}">
                  <a16:creationId xmlns:a16="http://schemas.microsoft.com/office/drawing/2014/main" id="{1140E144-5EBE-60D2-547F-43DF4A3F5D2E}"/>
                </a:ext>
              </a:extLst>
            </p:cNvPr>
            <p:cNvGrpSpPr/>
            <p:nvPr/>
          </p:nvGrpSpPr>
          <p:grpSpPr>
            <a:xfrm>
              <a:off x="1416598" y="919839"/>
              <a:ext cx="701992" cy="701724"/>
              <a:chOff x="4817897" y="694433"/>
              <a:chExt cx="1446392" cy="1445841"/>
            </a:xfrm>
          </p:grpSpPr>
          <p:sp>
            <p:nvSpPr>
              <p:cNvPr id="33" name="Freeform 32">
                <a:extLst>
                  <a:ext uri="{FF2B5EF4-FFF2-40B4-BE49-F238E27FC236}">
                    <a16:creationId xmlns:a16="http://schemas.microsoft.com/office/drawing/2014/main" id="{3854300A-1A5E-FC0C-C62C-75B5B0E473F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34" name="Freeform 33">
                <a:extLst>
                  <a:ext uri="{FF2B5EF4-FFF2-40B4-BE49-F238E27FC236}">
                    <a16:creationId xmlns:a16="http://schemas.microsoft.com/office/drawing/2014/main" id="{6440DD07-9EEE-BAA9-FDD0-110923277C5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32" name="TextBox 31">
              <a:extLst>
                <a:ext uri="{FF2B5EF4-FFF2-40B4-BE49-F238E27FC236}">
                  <a16:creationId xmlns:a16="http://schemas.microsoft.com/office/drawing/2014/main" id="{1E3BDCF5-939C-269D-227F-B7427CC84C0E}"/>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35" name="Group 34">
            <a:extLst>
              <a:ext uri="{FF2B5EF4-FFF2-40B4-BE49-F238E27FC236}">
                <a16:creationId xmlns:a16="http://schemas.microsoft.com/office/drawing/2014/main" id="{1D2A611C-76F8-C6E7-DE5A-899E906D1EA5}"/>
              </a:ext>
            </a:extLst>
          </p:cNvPr>
          <p:cNvGrpSpPr/>
          <p:nvPr/>
        </p:nvGrpSpPr>
        <p:grpSpPr>
          <a:xfrm>
            <a:off x="6308706" y="2128089"/>
            <a:ext cx="4934696" cy="712320"/>
            <a:chOff x="1416598" y="919839"/>
            <a:chExt cx="4934696" cy="712320"/>
          </a:xfrm>
        </p:grpSpPr>
        <p:sp>
          <p:nvSpPr>
            <p:cNvPr id="36" name="Rounded Rectangle 35">
              <a:extLst>
                <a:ext uri="{FF2B5EF4-FFF2-40B4-BE49-F238E27FC236}">
                  <a16:creationId xmlns:a16="http://schemas.microsoft.com/office/drawing/2014/main" id="{64B89EDC-F931-71B6-97B6-133F54A0A539}"/>
                </a:ext>
              </a:extLst>
            </p:cNvPr>
            <p:cNvSpPr/>
            <p:nvPr/>
          </p:nvSpPr>
          <p:spPr>
            <a:xfrm>
              <a:off x="1517286" y="930435"/>
              <a:ext cx="4774185"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7" name="TextBox 49">
              <a:extLst>
                <a:ext uri="{FF2B5EF4-FFF2-40B4-BE49-F238E27FC236}">
                  <a16:creationId xmlns:a16="http://schemas.microsoft.com/office/drawing/2014/main" id="{6501B9AD-73B3-BF21-8CC1-4C362200D033}"/>
                </a:ext>
              </a:extLst>
            </p:cNvPr>
            <p:cNvSpPr txBox="1"/>
            <p:nvPr/>
          </p:nvSpPr>
          <p:spPr>
            <a:xfrm>
              <a:off x="2178413" y="1134461"/>
              <a:ext cx="4172881" cy="326371"/>
            </a:xfrm>
            <a:prstGeom prst="rect">
              <a:avLst/>
            </a:prstGeom>
            <a:noFill/>
          </p:spPr>
          <p:txBody>
            <a:bodyPr wrap="square" numCol="1" rtlCol="0" anchor="ctr">
              <a:spAutoFit/>
            </a:bodyPr>
            <a:lstStyle/>
            <a:p>
              <a:pPr algn="l" rtl="0">
                <a:lnSpc>
                  <a:spcPts val="1800"/>
                </a:lnSpc>
                <a:defRPr/>
              </a:pPr>
              <a:r>
                <a:rPr lang="en-GB" dirty="0">
                  <a:solidFill>
                    <a:schemeClr val="bg1"/>
                  </a:solidFill>
                  <a:ea typeface="Lato Light" panose="020F0502020204030203" pitchFamily="34" charset="0"/>
                  <a:cs typeface="Poppins" pitchFamily="2" charset="77"/>
                </a:rPr>
                <a:t>Reflexionar sobre el aprendizaje.</a:t>
              </a:r>
            </a:p>
          </p:txBody>
        </p:sp>
        <p:grpSp>
          <p:nvGrpSpPr>
            <p:cNvPr id="54" name="Graphic 8">
              <a:extLst>
                <a:ext uri="{FF2B5EF4-FFF2-40B4-BE49-F238E27FC236}">
                  <a16:creationId xmlns:a16="http://schemas.microsoft.com/office/drawing/2014/main" id="{D0A2EFCA-A71C-DB07-3479-0A5605FD1DDE}"/>
                </a:ext>
              </a:extLst>
            </p:cNvPr>
            <p:cNvGrpSpPr/>
            <p:nvPr/>
          </p:nvGrpSpPr>
          <p:grpSpPr>
            <a:xfrm>
              <a:off x="1416598" y="919839"/>
              <a:ext cx="701992" cy="701724"/>
              <a:chOff x="4817897" y="694433"/>
              <a:chExt cx="1446392" cy="1445841"/>
            </a:xfrm>
          </p:grpSpPr>
          <p:sp>
            <p:nvSpPr>
              <p:cNvPr id="56" name="Freeform 55">
                <a:extLst>
                  <a:ext uri="{FF2B5EF4-FFF2-40B4-BE49-F238E27FC236}">
                    <a16:creationId xmlns:a16="http://schemas.microsoft.com/office/drawing/2014/main" id="{AE4FD722-B95C-938E-7AA0-43D6B1D84D97}"/>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57" name="Freeform 56">
                <a:extLst>
                  <a:ext uri="{FF2B5EF4-FFF2-40B4-BE49-F238E27FC236}">
                    <a16:creationId xmlns:a16="http://schemas.microsoft.com/office/drawing/2014/main" id="{FEE88A97-9313-87B9-AE50-49D81D391D6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55" name="TextBox 54">
              <a:extLst>
                <a:ext uri="{FF2B5EF4-FFF2-40B4-BE49-F238E27FC236}">
                  <a16:creationId xmlns:a16="http://schemas.microsoft.com/office/drawing/2014/main" id="{EE4BAFB6-4450-CE4E-906A-8CD622AADE8F}"/>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58" name="Group 57">
            <a:extLst>
              <a:ext uri="{FF2B5EF4-FFF2-40B4-BE49-F238E27FC236}">
                <a16:creationId xmlns:a16="http://schemas.microsoft.com/office/drawing/2014/main" id="{3647FB4B-11B2-FA8B-98F8-31A7FD2ED232}"/>
              </a:ext>
            </a:extLst>
          </p:cNvPr>
          <p:cNvGrpSpPr/>
          <p:nvPr/>
        </p:nvGrpSpPr>
        <p:grpSpPr>
          <a:xfrm>
            <a:off x="6719110" y="2977047"/>
            <a:ext cx="5153342" cy="712320"/>
            <a:chOff x="1416598" y="919839"/>
            <a:chExt cx="5153342" cy="712320"/>
          </a:xfrm>
        </p:grpSpPr>
        <p:sp>
          <p:nvSpPr>
            <p:cNvPr id="59" name="Rounded Rectangle 58">
              <a:extLst>
                <a:ext uri="{FF2B5EF4-FFF2-40B4-BE49-F238E27FC236}">
                  <a16:creationId xmlns:a16="http://schemas.microsoft.com/office/drawing/2014/main" id="{4B1E85AD-D707-D4EE-348C-A9FD4C441D0F}"/>
                </a:ext>
              </a:extLst>
            </p:cNvPr>
            <p:cNvSpPr/>
            <p:nvPr/>
          </p:nvSpPr>
          <p:spPr>
            <a:xfrm>
              <a:off x="1517286" y="930435"/>
              <a:ext cx="5052654"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60" name="TextBox 49">
              <a:extLst>
                <a:ext uri="{FF2B5EF4-FFF2-40B4-BE49-F238E27FC236}">
                  <a16:creationId xmlns:a16="http://schemas.microsoft.com/office/drawing/2014/main" id="{AB542332-AF2B-CFF4-861B-588F894A92AC}"/>
                </a:ext>
              </a:extLst>
            </p:cNvPr>
            <p:cNvSpPr txBox="1"/>
            <p:nvPr/>
          </p:nvSpPr>
          <p:spPr>
            <a:xfrm>
              <a:off x="2178413" y="1134459"/>
              <a:ext cx="4391527" cy="326371"/>
            </a:xfrm>
            <a:prstGeom prst="rect">
              <a:avLst/>
            </a:prstGeom>
            <a:noFill/>
          </p:spPr>
          <p:txBody>
            <a:bodyPr wrap="square" numCol="1" rtlCol="0" anchor="ctr">
              <a:spAutoFit/>
            </a:bodyPr>
            <a:lstStyle/>
            <a:p>
              <a:pPr algn="l" rtl="0">
                <a:lnSpc>
                  <a:spcPts val="1800"/>
                </a:lnSpc>
                <a:defRPr/>
              </a:pPr>
              <a:r>
                <a:rPr lang="en-GB" dirty="0">
                  <a:solidFill>
                    <a:schemeClr val="bg1"/>
                  </a:solidFill>
                  <a:ea typeface="Lato Light" panose="020F0502020204030203" pitchFamily="34" charset="0"/>
                  <a:cs typeface="Poppins" pitchFamily="2" charset="77"/>
                </a:rPr>
                <a:t>Asimilar nuevos conocimientos y experiencias.</a:t>
              </a:r>
            </a:p>
          </p:txBody>
        </p:sp>
        <p:grpSp>
          <p:nvGrpSpPr>
            <p:cNvPr id="61" name="Graphic 8">
              <a:extLst>
                <a:ext uri="{FF2B5EF4-FFF2-40B4-BE49-F238E27FC236}">
                  <a16:creationId xmlns:a16="http://schemas.microsoft.com/office/drawing/2014/main" id="{28339DF6-5642-6B3D-47B1-9EDFD2A25545}"/>
                </a:ext>
              </a:extLst>
            </p:cNvPr>
            <p:cNvGrpSpPr/>
            <p:nvPr/>
          </p:nvGrpSpPr>
          <p:grpSpPr>
            <a:xfrm>
              <a:off x="1416598" y="919839"/>
              <a:ext cx="701992" cy="701724"/>
              <a:chOff x="4817897" y="694433"/>
              <a:chExt cx="1446392" cy="1445841"/>
            </a:xfrm>
          </p:grpSpPr>
          <p:sp>
            <p:nvSpPr>
              <p:cNvPr id="63" name="Freeform 62">
                <a:extLst>
                  <a:ext uri="{FF2B5EF4-FFF2-40B4-BE49-F238E27FC236}">
                    <a16:creationId xmlns:a16="http://schemas.microsoft.com/office/drawing/2014/main" id="{B5303BD2-3C19-E7F6-EA76-AB08F9D2CD3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192" name="Freeform 191">
                <a:extLst>
                  <a:ext uri="{FF2B5EF4-FFF2-40B4-BE49-F238E27FC236}">
                    <a16:creationId xmlns:a16="http://schemas.microsoft.com/office/drawing/2014/main" id="{6AA04615-373D-5DEF-DFDF-FD18A974245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62" name="TextBox 61">
              <a:extLst>
                <a:ext uri="{FF2B5EF4-FFF2-40B4-BE49-F238E27FC236}">
                  <a16:creationId xmlns:a16="http://schemas.microsoft.com/office/drawing/2014/main" id="{403C415A-45A2-104E-D28D-16C04FF448C4}"/>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grpSp>
        <p:nvGrpSpPr>
          <p:cNvPr id="193" name="Group 192">
            <a:extLst>
              <a:ext uri="{FF2B5EF4-FFF2-40B4-BE49-F238E27FC236}">
                <a16:creationId xmlns:a16="http://schemas.microsoft.com/office/drawing/2014/main" id="{FF021776-7E31-BC16-3ADF-48B57EC72A7C}"/>
              </a:ext>
            </a:extLst>
          </p:cNvPr>
          <p:cNvGrpSpPr/>
          <p:nvPr/>
        </p:nvGrpSpPr>
        <p:grpSpPr>
          <a:xfrm>
            <a:off x="5884908" y="4674963"/>
            <a:ext cx="4934696" cy="712320"/>
            <a:chOff x="1416598" y="919839"/>
            <a:chExt cx="4934696" cy="712320"/>
          </a:xfrm>
        </p:grpSpPr>
        <p:sp>
          <p:nvSpPr>
            <p:cNvPr id="194" name="Rounded Rectangle 193">
              <a:extLst>
                <a:ext uri="{FF2B5EF4-FFF2-40B4-BE49-F238E27FC236}">
                  <a16:creationId xmlns:a16="http://schemas.microsoft.com/office/drawing/2014/main" id="{0E053648-ED64-FE77-6656-2F3D658AAC47}"/>
                </a:ext>
              </a:extLst>
            </p:cNvPr>
            <p:cNvSpPr/>
            <p:nvPr/>
          </p:nvSpPr>
          <p:spPr>
            <a:xfrm>
              <a:off x="1517286" y="930435"/>
              <a:ext cx="4774185"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02" name="TextBox 49">
              <a:extLst>
                <a:ext uri="{FF2B5EF4-FFF2-40B4-BE49-F238E27FC236}">
                  <a16:creationId xmlns:a16="http://schemas.microsoft.com/office/drawing/2014/main" id="{4AE670C9-AF1F-2473-A91B-3996AB6723AF}"/>
                </a:ext>
              </a:extLst>
            </p:cNvPr>
            <p:cNvSpPr txBox="1"/>
            <p:nvPr/>
          </p:nvSpPr>
          <p:spPr>
            <a:xfrm>
              <a:off x="2178413" y="1134460"/>
              <a:ext cx="4172881" cy="326371"/>
            </a:xfrm>
            <a:prstGeom prst="rect">
              <a:avLst/>
            </a:prstGeom>
            <a:noFill/>
          </p:spPr>
          <p:txBody>
            <a:bodyPr wrap="square" numCol="1" rtlCol="0" anchor="ctr">
              <a:spAutoFit/>
            </a:bodyPr>
            <a:lstStyle/>
            <a:p>
              <a:pPr algn="l" rtl="0">
                <a:lnSpc>
                  <a:spcPts val="1800"/>
                </a:lnSpc>
                <a:defRPr/>
              </a:pPr>
              <a:r>
                <a:rPr lang="en-GB" dirty="0">
                  <a:solidFill>
                    <a:schemeClr val="bg1"/>
                  </a:solidFill>
                  <a:ea typeface="Lato Light" panose="020F0502020204030203" pitchFamily="34" charset="0"/>
                  <a:cs typeface="Poppins" pitchFamily="2" charset="77"/>
                </a:rPr>
                <a:t>Lluvia de ideas centradas en soluciones.</a:t>
              </a:r>
            </a:p>
          </p:txBody>
        </p:sp>
        <p:grpSp>
          <p:nvGrpSpPr>
            <p:cNvPr id="203" name="Graphic 8">
              <a:extLst>
                <a:ext uri="{FF2B5EF4-FFF2-40B4-BE49-F238E27FC236}">
                  <a16:creationId xmlns:a16="http://schemas.microsoft.com/office/drawing/2014/main" id="{03DEDB80-C4A2-4705-225C-4393293337E4}"/>
                </a:ext>
              </a:extLst>
            </p:cNvPr>
            <p:cNvGrpSpPr/>
            <p:nvPr/>
          </p:nvGrpSpPr>
          <p:grpSpPr>
            <a:xfrm>
              <a:off x="1416598" y="919839"/>
              <a:ext cx="701992" cy="701724"/>
              <a:chOff x="4817897" y="694433"/>
              <a:chExt cx="1446392" cy="1445841"/>
            </a:xfrm>
          </p:grpSpPr>
          <p:sp>
            <p:nvSpPr>
              <p:cNvPr id="205" name="Freeform 204">
                <a:extLst>
                  <a:ext uri="{FF2B5EF4-FFF2-40B4-BE49-F238E27FC236}">
                    <a16:creationId xmlns:a16="http://schemas.microsoft.com/office/drawing/2014/main" id="{B75F68FF-5410-E05B-409C-DA7532A391D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206" name="Freeform 205">
                <a:extLst>
                  <a:ext uri="{FF2B5EF4-FFF2-40B4-BE49-F238E27FC236}">
                    <a16:creationId xmlns:a16="http://schemas.microsoft.com/office/drawing/2014/main" id="{05B2650E-98B2-247E-7B23-50D936DEF2D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204" name="TextBox 203">
              <a:extLst>
                <a:ext uri="{FF2B5EF4-FFF2-40B4-BE49-F238E27FC236}">
                  <a16:creationId xmlns:a16="http://schemas.microsoft.com/office/drawing/2014/main" id="{A37E2B73-9F3F-DFE7-FFF3-9D88089298D2}"/>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6</a:t>
              </a:r>
            </a:p>
          </p:txBody>
        </p:sp>
      </p:grpSp>
      <p:grpSp>
        <p:nvGrpSpPr>
          <p:cNvPr id="207" name="Group 206">
            <a:extLst>
              <a:ext uri="{FF2B5EF4-FFF2-40B4-BE49-F238E27FC236}">
                <a16:creationId xmlns:a16="http://schemas.microsoft.com/office/drawing/2014/main" id="{925322E9-2E6D-CB38-0D40-99B1F490E6BE}"/>
              </a:ext>
            </a:extLst>
          </p:cNvPr>
          <p:cNvGrpSpPr/>
          <p:nvPr/>
        </p:nvGrpSpPr>
        <p:grpSpPr>
          <a:xfrm>
            <a:off x="6308706" y="3826005"/>
            <a:ext cx="4874873" cy="712320"/>
            <a:chOff x="1416598" y="919839"/>
            <a:chExt cx="4874873" cy="712320"/>
          </a:xfrm>
        </p:grpSpPr>
        <p:sp>
          <p:nvSpPr>
            <p:cNvPr id="208" name="Rounded Rectangle 207">
              <a:extLst>
                <a:ext uri="{FF2B5EF4-FFF2-40B4-BE49-F238E27FC236}">
                  <a16:creationId xmlns:a16="http://schemas.microsoft.com/office/drawing/2014/main" id="{AF8ECEE2-DD69-100C-9EAA-AC41986C5567}"/>
                </a:ext>
              </a:extLst>
            </p:cNvPr>
            <p:cNvSpPr/>
            <p:nvPr/>
          </p:nvSpPr>
          <p:spPr>
            <a:xfrm>
              <a:off x="1517286" y="930435"/>
              <a:ext cx="4774185"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14" name="TextBox 49">
              <a:extLst>
                <a:ext uri="{FF2B5EF4-FFF2-40B4-BE49-F238E27FC236}">
                  <a16:creationId xmlns:a16="http://schemas.microsoft.com/office/drawing/2014/main" id="{88EF7C0C-2860-FDDC-7C45-6C444FCFC494}"/>
                </a:ext>
              </a:extLst>
            </p:cNvPr>
            <p:cNvSpPr txBox="1"/>
            <p:nvPr/>
          </p:nvSpPr>
          <p:spPr>
            <a:xfrm>
              <a:off x="2178413" y="1019044"/>
              <a:ext cx="3749083" cy="557204"/>
            </a:xfrm>
            <a:prstGeom prst="rect">
              <a:avLst/>
            </a:prstGeom>
            <a:noFill/>
          </p:spPr>
          <p:txBody>
            <a:bodyPr wrap="square" numCol="1" rtlCol="0" anchor="ctr">
              <a:spAutoFit/>
            </a:bodyPr>
            <a:lstStyle/>
            <a:p>
              <a:pPr algn="l" rtl="0">
                <a:lnSpc>
                  <a:spcPts val="1800"/>
                </a:lnSpc>
                <a:defRPr/>
              </a:pPr>
              <a:r>
                <a:rPr lang="en-GB" dirty="0">
                  <a:solidFill>
                    <a:schemeClr val="bg1"/>
                  </a:solidFill>
                  <a:ea typeface="Lato Light" panose="020F0502020204030203" pitchFamily="34" charset="0"/>
                  <a:cs typeface="Poppins" pitchFamily="2" charset="77"/>
                </a:rPr>
                <a:t>Inicie conversaciones con otros para obtener una perspectiva diferente.</a:t>
              </a:r>
            </a:p>
          </p:txBody>
        </p:sp>
        <p:grpSp>
          <p:nvGrpSpPr>
            <p:cNvPr id="216" name="Graphic 8">
              <a:extLst>
                <a:ext uri="{FF2B5EF4-FFF2-40B4-BE49-F238E27FC236}">
                  <a16:creationId xmlns:a16="http://schemas.microsoft.com/office/drawing/2014/main" id="{CE05CE42-718E-D233-4C48-871AB1954A6F}"/>
                </a:ext>
              </a:extLst>
            </p:cNvPr>
            <p:cNvGrpSpPr/>
            <p:nvPr/>
          </p:nvGrpSpPr>
          <p:grpSpPr>
            <a:xfrm>
              <a:off x="1416598" y="919839"/>
              <a:ext cx="701992" cy="701724"/>
              <a:chOff x="4817897" y="694433"/>
              <a:chExt cx="1446392" cy="1445841"/>
            </a:xfrm>
          </p:grpSpPr>
          <p:sp>
            <p:nvSpPr>
              <p:cNvPr id="220" name="Freeform 219">
                <a:extLst>
                  <a:ext uri="{FF2B5EF4-FFF2-40B4-BE49-F238E27FC236}">
                    <a16:creationId xmlns:a16="http://schemas.microsoft.com/office/drawing/2014/main" id="{51A0662C-30DC-6C70-360F-FC1A1C7AA8C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221" name="Freeform 220">
                <a:extLst>
                  <a:ext uri="{FF2B5EF4-FFF2-40B4-BE49-F238E27FC236}">
                    <a16:creationId xmlns:a16="http://schemas.microsoft.com/office/drawing/2014/main" id="{DB2E2E09-9029-86B5-EADA-F92A344E9D2C}"/>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217" name="TextBox 216">
              <a:extLst>
                <a:ext uri="{FF2B5EF4-FFF2-40B4-BE49-F238E27FC236}">
                  <a16:creationId xmlns:a16="http://schemas.microsoft.com/office/drawing/2014/main" id="{5469DD9B-90CC-5DDD-9422-D0474812F660}"/>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nvGrpSpPr>
          <p:cNvPr id="222" name="Group 221">
            <a:extLst>
              <a:ext uri="{FF2B5EF4-FFF2-40B4-BE49-F238E27FC236}">
                <a16:creationId xmlns:a16="http://schemas.microsoft.com/office/drawing/2014/main" id="{6BB9BA09-6221-D34C-DC21-C56A7472B5C6}"/>
              </a:ext>
            </a:extLst>
          </p:cNvPr>
          <p:cNvGrpSpPr/>
          <p:nvPr/>
        </p:nvGrpSpPr>
        <p:grpSpPr>
          <a:xfrm>
            <a:off x="5103226" y="5523924"/>
            <a:ext cx="4874873" cy="712320"/>
            <a:chOff x="1416598" y="919839"/>
            <a:chExt cx="4874873" cy="712320"/>
          </a:xfrm>
        </p:grpSpPr>
        <p:sp>
          <p:nvSpPr>
            <p:cNvPr id="223" name="Rounded Rectangle 222">
              <a:extLst>
                <a:ext uri="{FF2B5EF4-FFF2-40B4-BE49-F238E27FC236}">
                  <a16:creationId xmlns:a16="http://schemas.microsoft.com/office/drawing/2014/main" id="{EA90B2F7-3B03-E272-D2A0-69AA27D3779F}"/>
                </a:ext>
              </a:extLst>
            </p:cNvPr>
            <p:cNvSpPr/>
            <p:nvPr/>
          </p:nvSpPr>
          <p:spPr>
            <a:xfrm>
              <a:off x="1517286" y="930435"/>
              <a:ext cx="4774185"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24" name="TextBox 49">
              <a:extLst>
                <a:ext uri="{FF2B5EF4-FFF2-40B4-BE49-F238E27FC236}">
                  <a16:creationId xmlns:a16="http://schemas.microsoft.com/office/drawing/2014/main" id="{C3AE97F6-390D-8FA2-5906-D8789F614B61}"/>
                </a:ext>
              </a:extLst>
            </p:cNvPr>
            <p:cNvSpPr txBox="1"/>
            <p:nvPr/>
          </p:nvSpPr>
          <p:spPr>
            <a:xfrm>
              <a:off x="2178414" y="1019044"/>
              <a:ext cx="3913140" cy="557204"/>
            </a:xfrm>
            <a:prstGeom prst="rect">
              <a:avLst/>
            </a:prstGeom>
            <a:noFill/>
          </p:spPr>
          <p:txBody>
            <a:bodyPr wrap="square" numCol="1" rtlCol="0" anchor="ctr">
              <a:spAutoFit/>
            </a:bodyPr>
            <a:lstStyle/>
            <a:p>
              <a:pPr algn="l" rtl="0">
                <a:lnSpc>
                  <a:spcPts val="1800"/>
                </a:lnSpc>
                <a:defRPr/>
              </a:pPr>
              <a:r>
                <a:rPr lang="en-GB" dirty="0">
                  <a:solidFill>
                    <a:schemeClr val="bg1"/>
                  </a:solidFill>
                  <a:ea typeface="Lato Light" panose="020F0502020204030203" pitchFamily="34" charset="0"/>
                  <a:cs typeface="Poppins" pitchFamily="2" charset="77"/>
                </a:rPr>
                <a:t>Evaluar las opiniones, juicios y decisiones de los demás.</a:t>
              </a:r>
            </a:p>
          </p:txBody>
        </p:sp>
        <p:grpSp>
          <p:nvGrpSpPr>
            <p:cNvPr id="225" name="Graphic 8">
              <a:extLst>
                <a:ext uri="{FF2B5EF4-FFF2-40B4-BE49-F238E27FC236}">
                  <a16:creationId xmlns:a16="http://schemas.microsoft.com/office/drawing/2014/main" id="{6AF7DF20-2605-8D13-266B-0CA3FA0B9D35}"/>
                </a:ext>
              </a:extLst>
            </p:cNvPr>
            <p:cNvGrpSpPr/>
            <p:nvPr/>
          </p:nvGrpSpPr>
          <p:grpSpPr>
            <a:xfrm>
              <a:off x="1416598" y="919839"/>
              <a:ext cx="701992" cy="701724"/>
              <a:chOff x="4817897" y="694433"/>
              <a:chExt cx="1446392" cy="1445841"/>
            </a:xfrm>
          </p:grpSpPr>
          <p:sp>
            <p:nvSpPr>
              <p:cNvPr id="227" name="Freeform 226">
                <a:extLst>
                  <a:ext uri="{FF2B5EF4-FFF2-40B4-BE49-F238E27FC236}">
                    <a16:creationId xmlns:a16="http://schemas.microsoft.com/office/drawing/2014/main" id="{99A32D5E-1B94-1357-C967-E118488C0CCA}"/>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228" name="Freeform 227">
                <a:extLst>
                  <a:ext uri="{FF2B5EF4-FFF2-40B4-BE49-F238E27FC236}">
                    <a16:creationId xmlns:a16="http://schemas.microsoft.com/office/drawing/2014/main" id="{C225AC36-9940-4824-843E-FCA018E3EC1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226" name="TextBox 225">
              <a:extLst>
                <a:ext uri="{FF2B5EF4-FFF2-40B4-BE49-F238E27FC236}">
                  <a16:creationId xmlns:a16="http://schemas.microsoft.com/office/drawing/2014/main" id="{21C55162-F78C-1714-D0D9-A1D3617252A9}"/>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7</a:t>
              </a:r>
            </a:p>
          </p:txBody>
        </p:sp>
      </p:grpSp>
      <p:sp>
        <p:nvSpPr>
          <p:cNvPr id="229" name="Text Placeholder 2">
            <a:extLst>
              <a:ext uri="{FF2B5EF4-FFF2-40B4-BE49-F238E27FC236}">
                <a16:creationId xmlns:a16="http://schemas.microsoft.com/office/drawing/2014/main" id="{A7336234-5238-F893-40DD-6C8930BBAAA8}"/>
              </a:ext>
            </a:extLst>
          </p:cNvPr>
          <p:cNvSpPr txBox="1">
            <a:spLocks/>
          </p:cNvSpPr>
          <p:nvPr/>
        </p:nvSpPr>
        <p:spPr>
          <a:xfrm>
            <a:off x="567962" y="5948083"/>
            <a:ext cx="3972718" cy="658866"/>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288" indent="-14288" algn="l" rtl="0"/>
            <a:r>
              <a:rPr lang="en-US" sz="1400" dirty="0"/>
              <a:t>Fuente: Forbes, 2020: https://www.forbes.com/sites/forbescoachescouncil/2020/11/03/seven-critical-thinking-tactics-high-performing-leaders-to-make-informed-decisions/?sh =2ed7b3ce24f7</a:t>
            </a:r>
          </a:p>
        </p:txBody>
      </p:sp>
      <p:grpSp>
        <p:nvGrpSpPr>
          <p:cNvPr id="232" name="Group 231">
            <a:extLst>
              <a:ext uri="{FF2B5EF4-FFF2-40B4-BE49-F238E27FC236}">
                <a16:creationId xmlns:a16="http://schemas.microsoft.com/office/drawing/2014/main" id="{71F51CB9-58ED-46B8-5031-77628761E5C2}"/>
              </a:ext>
            </a:extLst>
          </p:cNvPr>
          <p:cNvGrpSpPr/>
          <p:nvPr/>
        </p:nvGrpSpPr>
        <p:grpSpPr>
          <a:xfrm>
            <a:off x="5703138" y="3760370"/>
            <a:ext cx="230346" cy="230551"/>
            <a:chOff x="1073516" y="1527833"/>
            <a:chExt cx="230346" cy="230551"/>
          </a:xfrm>
        </p:grpSpPr>
        <p:sp>
          <p:nvSpPr>
            <p:cNvPr id="233" name="Freeform 232">
              <a:extLst>
                <a:ext uri="{FF2B5EF4-FFF2-40B4-BE49-F238E27FC236}">
                  <a16:creationId xmlns:a16="http://schemas.microsoft.com/office/drawing/2014/main" id="{21D5F348-C3B0-8E87-57FB-800DCD03C589}"/>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234" name="Freeform 233">
              <a:extLst>
                <a:ext uri="{FF2B5EF4-FFF2-40B4-BE49-F238E27FC236}">
                  <a16:creationId xmlns:a16="http://schemas.microsoft.com/office/drawing/2014/main" id="{271F246C-3ADD-2C8A-A294-FBD4094F7630}"/>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236" name="Group 235">
            <a:extLst>
              <a:ext uri="{FF2B5EF4-FFF2-40B4-BE49-F238E27FC236}">
                <a16:creationId xmlns:a16="http://schemas.microsoft.com/office/drawing/2014/main" id="{83F513E8-F87F-19B9-44F2-5A75E594604C}"/>
              </a:ext>
            </a:extLst>
          </p:cNvPr>
          <p:cNvGrpSpPr/>
          <p:nvPr/>
        </p:nvGrpSpPr>
        <p:grpSpPr>
          <a:xfrm>
            <a:off x="5687399" y="2589645"/>
            <a:ext cx="230346" cy="230551"/>
            <a:chOff x="1073516" y="1527833"/>
            <a:chExt cx="230346" cy="230551"/>
          </a:xfrm>
        </p:grpSpPr>
        <p:sp>
          <p:nvSpPr>
            <p:cNvPr id="237" name="Freeform 236">
              <a:extLst>
                <a:ext uri="{FF2B5EF4-FFF2-40B4-BE49-F238E27FC236}">
                  <a16:creationId xmlns:a16="http://schemas.microsoft.com/office/drawing/2014/main" id="{FC3CF6FB-C4BB-C6DE-649F-47F7F073969D}"/>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238" name="Freeform 237">
              <a:extLst>
                <a:ext uri="{FF2B5EF4-FFF2-40B4-BE49-F238E27FC236}">
                  <a16:creationId xmlns:a16="http://schemas.microsoft.com/office/drawing/2014/main" id="{D9FC32B7-FA5A-1328-7AB6-A0894F7E5CCC}"/>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spTree>
    <p:extLst>
      <p:ext uri="{BB962C8B-B14F-4D97-AF65-F5344CB8AC3E}">
        <p14:creationId xmlns:p14="http://schemas.microsoft.com/office/powerpoint/2010/main" val="1266324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 name="Text Placeholder 2">
            <a:extLst>
              <a:ext uri="{FF2B5EF4-FFF2-40B4-BE49-F238E27FC236}">
                <a16:creationId xmlns:a16="http://schemas.microsoft.com/office/drawing/2014/main" id="{816DEE1E-7145-ABE3-709F-6073509D6351}"/>
              </a:ext>
            </a:extLst>
          </p:cNvPr>
          <p:cNvSpPr>
            <a:spLocks noGrp="1"/>
          </p:cNvSpPr>
          <p:nvPr>
            <p:ph type="body" sz="quarter" idx="18"/>
          </p:nvPr>
        </p:nvSpPr>
        <p:spPr>
          <a:xfrm>
            <a:off x="420236" y="2686432"/>
            <a:ext cx="3355267" cy="4171568"/>
          </a:xfrm>
        </p:spPr>
        <p:txBody>
          <a:bodyPr>
            <a:normAutofit/>
          </a:bodyPr>
          <a:lstStyle/>
          <a:p>
            <a:pPr marL="15875" indent="-15875" algn="l" rtl="0"/>
            <a:r>
              <a:rPr lang="en-US" dirty="0">
                <a:solidFill>
                  <a:schemeClr val="bg1"/>
                </a:solidFill>
              </a:rPr>
              <a:t>El liderazgo adaptativo es un modelo de liderazgo que fue presentado por Ronald Heifetz y Marty</a:t>
            </a:r>
            <a:r>
              <a:rPr lang="en-US" dirty="0" err="1">
                <a:solidFill>
                  <a:schemeClr val="bg1"/>
                </a:solidFill>
              </a:rPr>
              <a:t>Linsky</a:t>
            </a:r>
            <a:r>
              <a:rPr lang="en-US" dirty="0">
                <a:solidFill>
                  <a:schemeClr val="bg1"/>
                </a:solidFill>
              </a:rPr>
              <a:t>. Heifetz lo define como el acto de</a:t>
            </a:r>
            <a:r>
              <a:rPr lang="en-US" dirty="0" err="1">
                <a:solidFill>
                  <a:schemeClr val="bg1"/>
                </a:solidFill>
              </a:rPr>
              <a:t>movilizando</a:t>
            </a:r>
            <a:r>
              <a:rPr lang="en-US" dirty="0">
                <a:solidFill>
                  <a:schemeClr val="bg1"/>
                </a:solidFill>
              </a:rPr>
              <a:t>un grupo de individuos para manejar desafíos difíciles y salir triunfantes al final</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3"/>
            <a:ext cx="3249234" cy="1875850"/>
          </a:xfrm>
        </p:spPr>
        <p:txBody>
          <a:bodyPr>
            <a:normAutofit fontScale="92500" lnSpcReduction="10000"/>
          </a:bodyPr>
          <a:lstStyle/>
          <a:p>
            <a:pPr algn="l" rtl="0"/>
            <a:r>
              <a:rPr lang="en-GB" dirty="0">
                <a:solidFill>
                  <a:schemeClr val="bg1"/>
                </a:solidFill>
              </a:rPr>
              <a:t>Cuatro principios fundamentales del liderazgo adaptativo</a:t>
            </a:r>
          </a:p>
        </p:txBody>
      </p:sp>
      <p:sp>
        <p:nvSpPr>
          <p:cNvPr id="104" name="TextBox 40">
            <a:extLst>
              <a:ext uri="{FF2B5EF4-FFF2-40B4-BE49-F238E27FC236}">
                <a16:creationId xmlns:a16="http://schemas.microsoft.com/office/drawing/2014/main" id="{BC99318B-D0FF-4921-B814-4CD6119D1E35}"/>
              </a:ext>
            </a:extLst>
          </p:cNvPr>
          <p:cNvSpPr txBox="1"/>
          <p:nvPr/>
        </p:nvSpPr>
        <p:spPr>
          <a:xfrm>
            <a:off x="5452533" y="491603"/>
            <a:ext cx="6492666" cy="7540526"/>
          </a:xfrm>
          <a:prstGeom prst="rect">
            <a:avLst/>
          </a:prstGeom>
          <a:noFill/>
        </p:spPr>
        <p:txBody>
          <a:bodyPr wrap="square" rtlCol="0">
            <a:spAutoFit/>
          </a:bodyPr>
          <a:lstStyle/>
          <a:p>
            <a:pPr algn="l" rtl="0">
              <a:defRPr/>
            </a:pPr>
            <a:r>
              <a:rPr lang="en-US" sz="2800" dirty="0">
                <a:solidFill>
                  <a:srgbClr val="F16924"/>
                </a:solidFill>
              </a:rPr>
              <a:t>01</a:t>
            </a:r>
            <a:r>
              <a:rPr lang="en-GB" sz="2800" b="1" dirty="0">
                <a:solidFill>
                  <a:srgbClr val="B41F7A"/>
                </a:solidFill>
                <a:ea typeface="Roboto" charset="0"/>
                <a:cs typeface="Roboto" charset="0"/>
              </a:rPr>
              <a:t>Inteligencia emocional</a:t>
            </a:r>
            <a:endParaRPr kumimoji="0" lang="en-GB" sz="2800" b="1" i="0" u="none" strike="noStrike" kern="1200" cap="none" spc="0" normalizeH="0" baseline="0" noProof="0" dirty="0">
              <a:ln>
                <a:noFill/>
              </a:ln>
              <a:solidFill>
                <a:srgbClr val="B41F7A"/>
              </a:solidFill>
              <a:effectLst/>
              <a:uLnTx/>
              <a:uFillTx/>
              <a:ea typeface="Roboto" charset="0"/>
              <a:cs typeface="Roboto" charset="0"/>
            </a:endParaRPr>
          </a:p>
          <a:p>
            <a:pPr algn="l" rtl="0">
              <a:defRPr/>
            </a:pPr>
            <a:r>
              <a:rPr lang="en-GB" sz="2200" dirty="0">
                <a:solidFill>
                  <a:srgbClr val="595959"/>
                </a:solidFill>
                <a:ea typeface="Lato Light" charset="0"/>
                <a:cs typeface="Lato Light" charset="0"/>
              </a:rPr>
              <a:t>La inteligencia emocional es la capacidad de reconocer los propios sentimientos y los de otras personas. Con esta conciencia, un líder adaptativo puede generar confianza con otros participantes y fomentar relaciones de calidad.</a:t>
            </a:r>
          </a:p>
          <a:p>
            <a:pPr algn="l" rtl="0">
              <a:defRPr/>
            </a:pPr>
            <a:endParaRPr lang="en-GB" sz="2200" dirty="0">
              <a:solidFill>
                <a:srgbClr val="595959"/>
              </a:solidFill>
              <a:ea typeface="Lato Light" charset="0"/>
              <a:cs typeface="Lato Light"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3200" b="1" dirty="0">
              <a:solidFill>
                <a:srgbClr val="595959"/>
              </a:solidFill>
              <a:ea typeface="Roboto" charset="0"/>
              <a:cs typeface="Roboto" charset="0"/>
            </a:endParaRPr>
          </a:p>
          <a:p>
            <a:pPr lvl="0" algn="l" rtl="0">
              <a:defRPr/>
            </a:pPr>
            <a:r>
              <a:rPr lang="en-US" sz="2800" dirty="0">
                <a:solidFill>
                  <a:srgbClr val="F16924"/>
                </a:solidFill>
              </a:rPr>
              <a:t>02</a:t>
            </a:r>
            <a:r>
              <a:rPr lang="en-GB" sz="2800" b="1" dirty="0">
                <a:solidFill>
                  <a:srgbClr val="B41F7A"/>
                </a:solidFill>
                <a:ea typeface="Roboto" charset="0"/>
                <a:cs typeface="Roboto" charset="0"/>
              </a:rPr>
              <a:t>justicia organizacional</a:t>
            </a:r>
          </a:p>
          <a:p>
            <a:pPr lvl="0" algn="l" rtl="0">
              <a:defRPr/>
            </a:pPr>
            <a:r>
              <a:rPr lang="en-GB" sz="2200" dirty="0">
                <a:solidFill>
                  <a:srgbClr val="595959"/>
                </a:solidFill>
                <a:ea typeface="Roboto" charset="0"/>
                <a:cs typeface="Roboto" charset="0"/>
              </a:rPr>
              <a:t>Otro principio fundamental del liderazgo adaptativo es fomentar una cultura de honestidad. Los líderes adaptativos conocen las mejores políticas para introducir por el bien de la organización. También conocen las mejores formas de introducir estos cambios para que la gente los adopte. Los líderes adaptativos están dispuestos a adaptarse a los puntos de vista de otras personas, por lo tanto, asegurándoles que son valorados y respetados.</a:t>
            </a:r>
          </a:p>
          <a:p>
            <a:pPr lvl="0" algn="l" rtl="0">
              <a:defRPr/>
            </a:pPr>
            <a:endParaRPr lang="en-GB" sz="2200" b="1" dirty="0">
              <a:solidFill>
                <a:srgbClr val="595959"/>
              </a:solidFill>
              <a:ea typeface="Roboto" charset="0"/>
              <a:cs typeface="Roboto" charset="0"/>
            </a:endParaRPr>
          </a:p>
          <a:p>
            <a:pPr lvl="0" algn="l" rtl="0">
              <a:defRPr/>
            </a:pPr>
            <a:r>
              <a:rPr lang="en-GB" sz="2200" b="1" dirty="0">
                <a:solidFill>
                  <a:srgbClr val="595959"/>
                </a:solidFill>
                <a:ea typeface="Roboto" charset="0"/>
                <a:cs typeface="Roboto" charset="0"/>
              </a:rPr>
              <a:t> </a:t>
            </a:r>
          </a:p>
          <a:p>
            <a:pPr lvl="0" algn="l" rtl="0">
              <a:defRPr/>
            </a:pPr>
            <a:endParaRPr lang="en-GB" sz="2200" b="1" dirty="0">
              <a:solidFill>
                <a:srgbClr val="595959"/>
              </a:solidFill>
              <a:ea typeface="Roboto" charset="0"/>
              <a:cs typeface="Roboto" charset="0"/>
            </a:endParaRPr>
          </a:p>
          <a:p>
            <a:pPr lvl="0" algn="l" rtl="0">
              <a:defRPr/>
            </a:pPr>
            <a:endParaRPr lang="en-GB" sz="2200" b="1" dirty="0">
              <a:solidFill>
                <a:srgbClr val="595959"/>
              </a:solidFill>
              <a:ea typeface="Roboto" charset="0"/>
              <a:cs typeface="Roboto"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200" b="1" i="0" u="none" strike="noStrike" kern="1200" cap="none" spc="0" normalizeH="0" baseline="0" noProof="0" dirty="0">
              <a:ln>
                <a:noFill/>
              </a:ln>
              <a:solidFill>
                <a:srgbClr val="595959"/>
              </a:solidFill>
              <a:effectLst/>
              <a:uLnTx/>
              <a:uFillTx/>
              <a:ea typeface="Roboto" charset="0"/>
              <a:cs typeface="Roboto" charset="0"/>
            </a:endParaRPr>
          </a:p>
        </p:txBody>
      </p:sp>
      <p:sp>
        <p:nvSpPr>
          <p:cNvPr id="8" name="Rectangle 7">
            <a:extLst>
              <a:ext uri="{FF2B5EF4-FFF2-40B4-BE49-F238E27FC236}">
                <a16:creationId xmlns:a16="http://schemas.microsoft.com/office/drawing/2014/main" id="{14F9744D-3107-97CB-5B61-61E5B24B2E44}"/>
              </a:ext>
            </a:extLst>
          </p:cNvPr>
          <p:cNvSpPr/>
          <p:nvPr/>
        </p:nvSpPr>
        <p:spPr>
          <a:xfrm>
            <a:off x="378756" y="2443311"/>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Calibri" panose="020F0502020204030204" pitchFamily="34" charset="0"/>
              <a:cs typeface="Calibri" panose="020F0502020204030204" pitchFamily="34" charset="0"/>
            </a:endParaRPr>
          </a:p>
        </p:txBody>
      </p:sp>
      <p:cxnSp>
        <p:nvCxnSpPr>
          <p:cNvPr id="85" name="Straight Connector 84">
            <a:extLst>
              <a:ext uri="{FF2B5EF4-FFF2-40B4-BE49-F238E27FC236}">
                <a16:creationId xmlns:a16="http://schemas.microsoft.com/office/drawing/2014/main" id="{A96EBBC0-F6AA-755D-0C02-D21D3B310FF0}"/>
              </a:ext>
            </a:extLst>
          </p:cNvPr>
          <p:cNvCxnSpPr>
            <a:cxnSpLocks/>
          </p:cNvCxnSpPr>
          <p:nvPr/>
        </p:nvCxnSpPr>
        <p:spPr>
          <a:xfrm>
            <a:off x="4201097" y="2781226"/>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4" name="Graphic 2">
            <a:extLst>
              <a:ext uri="{FF2B5EF4-FFF2-40B4-BE49-F238E27FC236}">
                <a16:creationId xmlns:a16="http://schemas.microsoft.com/office/drawing/2014/main" id="{0D50C8A6-D78A-A1F6-7F68-3875C485B648}"/>
              </a:ext>
            </a:extLst>
          </p:cNvPr>
          <p:cNvGrpSpPr/>
          <p:nvPr/>
        </p:nvGrpSpPr>
        <p:grpSpPr>
          <a:xfrm>
            <a:off x="4409355" y="3089745"/>
            <a:ext cx="893172" cy="951060"/>
            <a:chOff x="3918554" y="774528"/>
            <a:chExt cx="868197" cy="924466"/>
          </a:xfrm>
          <a:solidFill>
            <a:srgbClr val="595959"/>
          </a:solidFill>
        </p:grpSpPr>
        <p:grpSp>
          <p:nvGrpSpPr>
            <p:cNvPr id="5" name="Graphic 2">
              <a:extLst>
                <a:ext uri="{FF2B5EF4-FFF2-40B4-BE49-F238E27FC236}">
                  <a16:creationId xmlns:a16="http://schemas.microsoft.com/office/drawing/2014/main" id="{2F54F8D6-3DEF-B991-48DD-1424D6B20C5A}"/>
                </a:ext>
              </a:extLst>
            </p:cNvPr>
            <p:cNvGrpSpPr/>
            <p:nvPr/>
          </p:nvGrpSpPr>
          <p:grpSpPr>
            <a:xfrm>
              <a:off x="3918554" y="774528"/>
              <a:ext cx="868197" cy="924466"/>
              <a:chOff x="3918554" y="774528"/>
              <a:chExt cx="868197" cy="924466"/>
            </a:xfrm>
            <a:grpFill/>
          </p:grpSpPr>
          <p:sp>
            <p:nvSpPr>
              <p:cNvPr id="49" name="Freeform 48">
                <a:extLst>
                  <a:ext uri="{FF2B5EF4-FFF2-40B4-BE49-F238E27FC236}">
                    <a16:creationId xmlns:a16="http://schemas.microsoft.com/office/drawing/2014/main" id="{D470FD77-186E-AA84-1CD3-CF227BE957A3}"/>
                  </a:ext>
                </a:extLst>
              </p:cNvPr>
              <p:cNvSpPr/>
              <p:nvPr/>
            </p:nvSpPr>
            <p:spPr>
              <a:xfrm>
                <a:off x="3918554" y="774528"/>
                <a:ext cx="868197" cy="924466"/>
              </a:xfrm>
              <a:custGeom>
                <a:avLst/>
                <a:gdLst>
                  <a:gd name="connsiteX0" fmla="*/ 859428 w 868197"/>
                  <a:gd name="connsiteY0" fmla="*/ 489969 h 924466"/>
                  <a:gd name="connsiteX1" fmla="*/ 762772 w 868197"/>
                  <a:gd name="connsiteY1" fmla="*/ 322855 h 924466"/>
                  <a:gd name="connsiteX2" fmla="*/ 770902 w 868197"/>
                  <a:gd name="connsiteY2" fmla="*/ 318338 h 924466"/>
                  <a:gd name="connsiteX3" fmla="*/ 805228 w 868197"/>
                  <a:gd name="connsiteY3" fmla="*/ 274075 h 924466"/>
                  <a:gd name="connsiteX4" fmla="*/ 798002 w 868197"/>
                  <a:gd name="connsiteY4" fmla="*/ 218973 h 924466"/>
                  <a:gd name="connsiteX5" fmla="*/ 698636 w 868197"/>
                  <a:gd name="connsiteY5" fmla="*/ 192776 h 924466"/>
                  <a:gd name="connsiteX6" fmla="*/ 690507 w 868197"/>
                  <a:gd name="connsiteY6" fmla="*/ 197293 h 924466"/>
                  <a:gd name="connsiteX7" fmla="*/ 593851 w 868197"/>
                  <a:gd name="connsiteY7" fmla="*/ 29275 h 924466"/>
                  <a:gd name="connsiteX8" fmla="*/ 557718 w 868197"/>
                  <a:gd name="connsiteY8" fmla="*/ 2176 h 924466"/>
                  <a:gd name="connsiteX9" fmla="*/ 512552 w 868197"/>
                  <a:gd name="connsiteY9" fmla="*/ 8499 h 924466"/>
                  <a:gd name="connsiteX10" fmla="*/ 485452 w 868197"/>
                  <a:gd name="connsiteY10" fmla="*/ 44632 h 924466"/>
                  <a:gd name="connsiteX11" fmla="*/ 485452 w 868197"/>
                  <a:gd name="connsiteY11" fmla="*/ 76248 h 924466"/>
                  <a:gd name="connsiteX12" fmla="*/ 393314 w 868197"/>
                  <a:gd name="connsiteY12" fmla="*/ 178324 h 924466"/>
                  <a:gd name="connsiteX13" fmla="*/ 395120 w 868197"/>
                  <a:gd name="connsiteY13" fmla="*/ 203616 h 924466"/>
                  <a:gd name="connsiteX14" fmla="*/ 420413 w 868197"/>
                  <a:gd name="connsiteY14" fmla="*/ 201810 h 924466"/>
                  <a:gd name="connsiteX15" fmla="*/ 503519 w 868197"/>
                  <a:gd name="connsiteY15" fmla="*/ 107865 h 924466"/>
                  <a:gd name="connsiteX16" fmla="*/ 745609 w 868197"/>
                  <a:gd name="connsiteY16" fmla="*/ 527005 h 924466"/>
                  <a:gd name="connsiteX17" fmla="*/ 340921 w 868197"/>
                  <a:gd name="connsiteY17" fmla="*/ 613725 h 924466"/>
                  <a:gd name="connsiteX18" fmla="*/ 228006 w 868197"/>
                  <a:gd name="connsiteY18" fmla="*/ 417704 h 924466"/>
                  <a:gd name="connsiteX19" fmla="*/ 312015 w 868197"/>
                  <a:gd name="connsiteY19" fmla="*/ 322855 h 924466"/>
                  <a:gd name="connsiteX20" fmla="*/ 310208 w 868197"/>
                  <a:gd name="connsiteY20" fmla="*/ 297562 h 924466"/>
                  <a:gd name="connsiteX21" fmla="*/ 284915 w 868197"/>
                  <a:gd name="connsiteY21" fmla="*/ 299369 h 924466"/>
                  <a:gd name="connsiteX22" fmla="*/ 193680 w 868197"/>
                  <a:gd name="connsiteY22" fmla="*/ 401444 h 924466"/>
                  <a:gd name="connsiteX23" fmla="*/ 42825 w 868197"/>
                  <a:gd name="connsiteY23" fmla="*/ 489066 h 924466"/>
                  <a:gd name="connsiteX24" fmla="*/ 3079 w 868197"/>
                  <a:gd name="connsiteY24" fmla="*/ 541459 h 924466"/>
                  <a:gd name="connsiteX25" fmla="*/ 12112 w 868197"/>
                  <a:gd name="connsiteY25" fmla="*/ 606498 h 924466"/>
                  <a:gd name="connsiteX26" fmla="*/ 69925 w 868197"/>
                  <a:gd name="connsiteY26" fmla="*/ 706767 h 924466"/>
                  <a:gd name="connsiteX27" fmla="*/ 144900 w 868197"/>
                  <a:gd name="connsiteY27" fmla="*/ 750126 h 924466"/>
                  <a:gd name="connsiteX28" fmla="*/ 188260 w 868197"/>
                  <a:gd name="connsiteY28" fmla="*/ 738383 h 924466"/>
                  <a:gd name="connsiteX29" fmla="*/ 231619 w 868197"/>
                  <a:gd name="connsiteY29" fmla="*/ 713993 h 924466"/>
                  <a:gd name="connsiteX30" fmla="*/ 420413 w 868197"/>
                  <a:gd name="connsiteY30" fmla="*/ 902787 h 924466"/>
                  <a:gd name="connsiteX31" fmla="*/ 471903 w 868197"/>
                  <a:gd name="connsiteY31" fmla="*/ 924467 h 924466"/>
                  <a:gd name="connsiteX32" fmla="*/ 508036 w 868197"/>
                  <a:gd name="connsiteY32" fmla="*/ 914531 h 924466"/>
                  <a:gd name="connsiteX33" fmla="*/ 544168 w 868197"/>
                  <a:gd name="connsiteY33" fmla="*/ 860331 h 924466"/>
                  <a:gd name="connsiteX34" fmla="*/ 523392 w 868197"/>
                  <a:gd name="connsiteY34" fmla="*/ 798905 h 924466"/>
                  <a:gd name="connsiteX35" fmla="*/ 458353 w 868197"/>
                  <a:gd name="connsiteY35" fmla="*/ 733866 h 924466"/>
                  <a:gd name="connsiteX36" fmla="*/ 476419 w 868197"/>
                  <a:gd name="connsiteY36" fmla="*/ 723930 h 924466"/>
                  <a:gd name="connsiteX37" fmla="*/ 500809 w 868197"/>
                  <a:gd name="connsiteY37" fmla="*/ 686893 h 924466"/>
                  <a:gd name="connsiteX38" fmla="*/ 485452 w 868197"/>
                  <a:gd name="connsiteY38" fmla="*/ 645341 h 924466"/>
                  <a:gd name="connsiteX39" fmla="*/ 463773 w 868197"/>
                  <a:gd name="connsiteY39" fmla="*/ 625468 h 924466"/>
                  <a:gd name="connsiteX40" fmla="*/ 768192 w 868197"/>
                  <a:gd name="connsiteY40" fmla="*/ 560428 h 924466"/>
                  <a:gd name="connsiteX41" fmla="*/ 795292 w 868197"/>
                  <a:gd name="connsiteY41" fmla="*/ 575785 h 924466"/>
                  <a:gd name="connsiteX42" fmla="*/ 810648 w 868197"/>
                  <a:gd name="connsiteY42" fmla="*/ 577592 h 924466"/>
                  <a:gd name="connsiteX43" fmla="*/ 840458 w 868197"/>
                  <a:gd name="connsiteY43" fmla="*/ 569462 h 924466"/>
                  <a:gd name="connsiteX44" fmla="*/ 867557 w 868197"/>
                  <a:gd name="connsiteY44" fmla="*/ 533329 h 924466"/>
                  <a:gd name="connsiteX45" fmla="*/ 859428 w 868197"/>
                  <a:gd name="connsiteY45" fmla="*/ 489969 h 924466"/>
                  <a:gd name="connsiteX46" fmla="*/ 859428 w 868197"/>
                  <a:gd name="connsiteY46" fmla="*/ 489969 h 924466"/>
                  <a:gd name="connsiteX47" fmla="*/ 707670 w 868197"/>
                  <a:gd name="connsiteY47" fmla="*/ 228006 h 924466"/>
                  <a:gd name="connsiteX48" fmla="*/ 715799 w 868197"/>
                  <a:gd name="connsiteY48" fmla="*/ 223490 h 924466"/>
                  <a:gd name="connsiteX49" fmla="*/ 765482 w 868197"/>
                  <a:gd name="connsiteY49" fmla="*/ 237039 h 924466"/>
                  <a:gd name="connsiteX50" fmla="*/ 751932 w 868197"/>
                  <a:gd name="connsiteY50" fmla="*/ 286722 h 924466"/>
                  <a:gd name="connsiteX51" fmla="*/ 743802 w 868197"/>
                  <a:gd name="connsiteY51" fmla="*/ 291239 h 924466"/>
                  <a:gd name="connsiteX52" fmla="*/ 707670 w 868197"/>
                  <a:gd name="connsiteY52" fmla="*/ 228909 h 924466"/>
                  <a:gd name="connsiteX53" fmla="*/ 707670 w 868197"/>
                  <a:gd name="connsiteY53" fmla="*/ 228006 h 924466"/>
                  <a:gd name="connsiteX54" fmla="*/ 169290 w 868197"/>
                  <a:gd name="connsiteY54" fmla="*/ 708573 h 924466"/>
                  <a:gd name="connsiteX55" fmla="*/ 100637 w 868197"/>
                  <a:gd name="connsiteY55" fmla="*/ 690507 h 924466"/>
                  <a:gd name="connsiteX56" fmla="*/ 42825 w 868197"/>
                  <a:gd name="connsiteY56" fmla="*/ 590238 h 924466"/>
                  <a:gd name="connsiteX57" fmla="*/ 37405 w 868197"/>
                  <a:gd name="connsiteY57" fmla="*/ 552299 h 924466"/>
                  <a:gd name="connsiteX58" fmla="*/ 60891 w 868197"/>
                  <a:gd name="connsiteY58" fmla="*/ 521586 h 924466"/>
                  <a:gd name="connsiteX59" fmla="*/ 199100 w 868197"/>
                  <a:gd name="connsiteY59" fmla="*/ 442093 h 924466"/>
                  <a:gd name="connsiteX60" fmla="*/ 307498 w 868197"/>
                  <a:gd name="connsiteY60" fmla="*/ 629081 h 924466"/>
                  <a:gd name="connsiteX61" fmla="*/ 169290 w 868197"/>
                  <a:gd name="connsiteY61" fmla="*/ 708573 h 924466"/>
                  <a:gd name="connsiteX62" fmla="*/ 507132 w 868197"/>
                  <a:gd name="connsiteY62" fmla="*/ 856718 h 924466"/>
                  <a:gd name="connsiteX63" fmla="*/ 489066 w 868197"/>
                  <a:gd name="connsiteY63" fmla="*/ 883817 h 924466"/>
                  <a:gd name="connsiteX64" fmla="*/ 444803 w 868197"/>
                  <a:gd name="connsiteY64" fmla="*/ 877495 h 924466"/>
                  <a:gd name="connsiteX65" fmla="*/ 263235 w 868197"/>
                  <a:gd name="connsiteY65" fmla="*/ 695927 h 924466"/>
                  <a:gd name="connsiteX66" fmla="*/ 329178 w 868197"/>
                  <a:gd name="connsiteY66" fmla="*/ 657987 h 924466"/>
                  <a:gd name="connsiteX67" fmla="*/ 497196 w 868197"/>
                  <a:gd name="connsiteY67" fmla="*/ 826005 h 924466"/>
                  <a:gd name="connsiteX68" fmla="*/ 507132 w 868197"/>
                  <a:gd name="connsiteY68" fmla="*/ 856718 h 924466"/>
                  <a:gd name="connsiteX69" fmla="*/ 507132 w 868197"/>
                  <a:gd name="connsiteY69" fmla="*/ 856718 h 924466"/>
                  <a:gd name="connsiteX70" fmla="*/ 459256 w 868197"/>
                  <a:gd name="connsiteY70" fmla="*/ 672440 h 924466"/>
                  <a:gd name="connsiteX71" fmla="*/ 462869 w 868197"/>
                  <a:gd name="connsiteY71" fmla="*/ 683280 h 924466"/>
                  <a:gd name="connsiteX72" fmla="*/ 456546 w 868197"/>
                  <a:gd name="connsiteY72" fmla="*/ 693217 h 924466"/>
                  <a:gd name="connsiteX73" fmla="*/ 430350 w 868197"/>
                  <a:gd name="connsiteY73" fmla="*/ 708573 h 924466"/>
                  <a:gd name="connsiteX74" fmla="*/ 368021 w 868197"/>
                  <a:gd name="connsiteY74" fmla="*/ 646244 h 924466"/>
                  <a:gd name="connsiteX75" fmla="*/ 418607 w 868197"/>
                  <a:gd name="connsiteY75" fmla="*/ 635404 h 924466"/>
                  <a:gd name="connsiteX76" fmla="*/ 459256 w 868197"/>
                  <a:gd name="connsiteY76" fmla="*/ 672440 h 924466"/>
                  <a:gd name="connsiteX77" fmla="*/ 830521 w 868197"/>
                  <a:gd name="connsiteY77" fmla="*/ 525199 h 924466"/>
                  <a:gd name="connsiteX78" fmla="*/ 819681 w 868197"/>
                  <a:gd name="connsiteY78" fmla="*/ 538749 h 924466"/>
                  <a:gd name="connsiteX79" fmla="*/ 802518 w 868197"/>
                  <a:gd name="connsiteY79" fmla="*/ 541459 h 924466"/>
                  <a:gd name="connsiteX80" fmla="*/ 788969 w 868197"/>
                  <a:gd name="connsiteY80" fmla="*/ 530619 h 924466"/>
                  <a:gd name="connsiteX81" fmla="*/ 523392 w 868197"/>
                  <a:gd name="connsiteY81" fmla="*/ 69925 h 924466"/>
                  <a:gd name="connsiteX82" fmla="*/ 520682 w 868197"/>
                  <a:gd name="connsiteY82" fmla="*/ 52762 h 924466"/>
                  <a:gd name="connsiteX83" fmla="*/ 531522 w 868197"/>
                  <a:gd name="connsiteY83" fmla="*/ 39212 h 924466"/>
                  <a:gd name="connsiteX84" fmla="*/ 543265 w 868197"/>
                  <a:gd name="connsiteY84" fmla="*/ 36502 h 924466"/>
                  <a:gd name="connsiteX85" fmla="*/ 549588 w 868197"/>
                  <a:gd name="connsiteY85" fmla="*/ 37405 h 924466"/>
                  <a:gd name="connsiteX86" fmla="*/ 563138 w 868197"/>
                  <a:gd name="connsiteY86" fmla="*/ 48245 h 924466"/>
                  <a:gd name="connsiteX87" fmla="*/ 828715 w 868197"/>
                  <a:gd name="connsiteY87" fmla="*/ 508939 h 924466"/>
                  <a:gd name="connsiteX88" fmla="*/ 830521 w 868197"/>
                  <a:gd name="connsiteY88" fmla="*/ 525199 h 92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68197" h="924466">
                    <a:moveTo>
                      <a:pt x="859428" y="489969"/>
                    </a:moveTo>
                    <a:lnTo>
                      <a:pt x="762772" y="322855"/>
                    </a:lnTo>
                    <a:lnTo>
                      <a:pt x="770902" y="318338"/>
                    </a:lnTo>
                    <a:cubicBezTo>
                      <a:pt x="788065" y="308402"/>
                      <a:pt x="799808" y="293045"/>
                      <a:pt x="805228" y="274075"/>
                    </a:cubicBezTo>
                    <a:cubicBezTo>
                      <a:pt x="810648" y="255106"/>
                      <a:pt x="807938" y="236136"/>
                      <a:pt x="798002" y="218973"/>
                    </a:cubicBezTo>
                    <a:cubicBezTo>
                      <a:pt x="778129" y="184647"/>
                      <a:pt x="732963" y="172000"/>
                      <a:pt x="698636" y="192776"/>
                    </a:cubicBezTo>
                    <a:lnTo>
                      <a:pt x="690507" y="197293"/>
                    </a:lnTo>
                    <a:lnTo>
                      <a:pt x="593851" y="29275"/>
                    </a:lnTo>
                    <a:cubicBezTo>
                      <a:pt x="585721" y="15726"/>
                      <a:pt x="573075" y="5789"/>
                      <a:pt x="557718" y="2176"/>
                    </a:cubicBezTo>
                    <a:cubicBezTo>
                      <a:pt x="542362" y="-2341"/>
                      <a:pt x="527005" y="369"/>
                      <a:pt x="512552" y="8499"/>
                    </a:cubicBezTo>
                    <a:cubicBezTo>
                      <a:pt x="498099" y="16629"/>
                      <a:pt x="489066" y="29275"/>
                      <a:pt x="485452" y="44632"/>
                    </a:cubicBezTo>
                    <a:cubicBezTo>
                      <a:pt x="482742" y="55472"/>
                      <a:pt x="482742" y="65408"/>
                      <a:pt x="485452" y="76248"/>
                    </a:cubicBezTo>
                    <a:lnTo>
                      <a:pt x="393314" y="178324"/>
                    </a:lnTo>
                    <a:cubicBezTo>
                      <a:pt x="386990" y="185550"/>
                      <a:pt x="386990" y="197293"/>
                      <a:pt x="395120" y="203616"/>
                    </a:cubicBezTo>
                    <a:cubicBezTo>
                      <a:pt x="402347" y="209940"/>
                      <a:pt x="414090" y="209940"/>
                      <a:pt x="420413" y="201810"/>
                    </a:cubicBezTo>
                    <a:lnTo>
                      <a:pt x="503519" y="107865"/>
                    </a:lnTo>
                    <a:lnTo>
                      <a:pt x="745609" y="527005"/>
                    </a:lnTo>
                    <a:lnTo>
                      <a:pt x="340921" y="613725"/>
                    </a:lnTo>
                    <a:lnTo>
                      <a:pt x="228006" y="417704"/>
                    </a:lnTo>
                    <a:lnTo>
                      <a:pt x="312015" y="322855"/>
                    </a:lnTo>
                    <a:cubicBezTo>
                      <a:pt x="318338" y="315628"/>
                      <a:pt x="318338" y="303885"/>
                      <a:pt x="310208" y="297562"/>
                    </a:cubicBezTo>
                    <a:cubicBezTo>
                      <a:pt x="302982" y="291239"/>
                      <a:pt x="291238" y="291239"/>
                      <a:pt x="284915" y="299369"/>
                    </a:cubicBezTo>
                    <a:lnTo>
                      <a:pt x="193680" y="401444"/>
                    </a:lnTo>
                    <a:lnTo>
                      <a:pt x="42825" y="489066"/>
                    </a:lnTo>
                    <a:cubicBezTo>
                      <a:pt x="22952" y="500809"/>
                      <a:pt x="8499" y="518876"/>
                      <a:pt x="3079" y="541459"/>
                    </a:cubicBezTo>
                    <a:cubicBezTo>
                      <a:pt x="-3245" y="564042"/>
                      <a:pt x="369" y="586625"/>
                      <a:pt x="12112" y="606498"/>
                    </a:cubicBezTo>
                    <a:lnTo>
                      <a:pt x="69925" y="706767"/>
                    </a:lnTo>
                    <a:cubicBezTo>
                      <a:pt x="86184" y="734769"/>
                      <a:pt x="115091" y="750126"/>
                      <a:pt x="144900" y="750126"/>
                    </a:cubicBezTo>
                    <a:cubicBezTo>
                      <a:pt x="159353" y="750126"/>
                      <a:pt x="174710" y="746513"/>
                      <a:pt x="188260" y="738383"/>
                    </a:cubicBezTo>
                    <a:lnTo>
                      <a:pt x="231619" y="713993"/>
                    </a:lnTo>
                    <a:lnTo>
                      <a:pt x="420413" y="902787"/>
                    </a:lnTo>
                    <a:cubicBezTo>
                      <a:pt x="434866" y="917240"/>
                      <a:pt x="452933" y="924467"/>
                      <a:pt x="471903" y="924467"/>
                    </a:cubicBezTo>
                    <a:cubicBezTo>
                      <a:pt x="484549" y="924467"/>
                      <a:pt x="497196" y="920854"/>
                      <a:pt x="508036" y="914531"/>
                    </a:cubicBezTo>
                    <a:cubicBezTo>
                      <a:pt x="527909" y="902787"/>
                      <a:pt x="540555" y="883817"/>
                      <a:pt x="544168" y="860331"/>
                    </a:cubicBezTo>
                    <a:cubicBezTo>
                      <a:pt x="546878" y="837748"/>
                      <a:pt x="539652" y="815165"/>
                      <a:pt x="523392" y="798905"/>
                    </a:cubicBezTo>
                    <a:lnTo>
                      <a:pt x="458353" y="733866"/>
                    </a:lnTo>
                    <a:lnTo>
                      <a:pt x="476419" y="723930"/>
                    </a:lnTo>
                    <a:cubicBezTo>
                      <a:pt x="489969" y="715800"/>
                      <a:pt x="499002" y="702250"/>
                      <a:pt x="500809" y="686893"/>
                    </a:cubicBezTo>
                    <a:cubicBezTo>
                      <a:pt x="502616" y="671537"/>
                      <a:pt x="497196" y="656181"/>
                      <a:pt x="485452" y="645341"/>
                    </a:cubicBezTo>
                    <a:lnTo>
                      <a:pt x="463773" y="625468"/>
                    </a:lnTo>
                    <a:lnTo>
                      <a:pt x="768192" y="560428"/>
                    </a:lnTo>
                    <a:cubicBezTo>
                      <a:pt x="775419" y="567655"/>
                      <a:pt x="784452" y="573075"/>
                      <a:pt x="795292" y="575785"/>
                    </a:cubicBezTo>
                    <a:cubicBezTo>
                      <a:pt x="800712" y="577592"/>
                      <a:pt x="805228" y="577592"/>
                      <a:pt x="810648" y="577592"/>
                    </a:cubicBezTo>
                    <a:cubicBezTo>
                      <a:pt x="820585" y="577592"/>
                      <a:pt x="830521" y="574882"/>
                      <a:pt x="840458" y="569462"/>
                    </a:cubicBezTo>
                    <a:cubicBezTo>
                      <a:pt x="854008" y="561332"/>
                      <a:pt x="863944" y="548685"/>
                      <a:pt x="867557" y="533329"/>
                    </a:cubicBezTo>
                    <a:cubicBezTo>
                      <a:pt x="869364" y="518876"/>
                      <a:pt x="867557" y="503519"/>
                      <a:pt x="859428" y="489969"/>
                    </a:cubicBezTo>
                    <a:lnTo>
                      <a:pt x="859428" y="489969"/>
                    </a:lnTo>
                    <a:close/>
                    <a:moveTo>
                      <a:pt x="707670" y="228006"/>
                    </a:moveTo>
                    <a:lnTo>
                      <a:pt x="715799" y="223490"/>
                    </a:lnTo>
                    <a:cubicBezTo>
                      <a:pt x="732963" y="213553"/>
                      <a:pt x="755546" y="218973"/>
                      <a:pt x="765482" y="237039"/>
                    </a:cubicBezTo>
                    <a:cubicBezTo>
                      <a:pt x="775419" y="254203"/>
                      <a:pt x="769999" y="276786"/>
                      <a:pt x="751932" y="286722"/>
                    </a:cubicBezTo>
                    <a:lnTo>
                      <a:pt x="743802" y="291239"/>
                    </a:lnTo>
                    <a:lnTo>
                      <a:pt x="707670" y="228909"/>
                    </a:lnTo>
                    <a:lnTo>
                      <a:pt x="707670" y="228006"/>
                    </a:lnTo>
                    <a:close/>
                    <a:moveTo>
                      <a:pt x="169290" y="708573"/>
                    </a:moveTo>
                    <a:cubicBezTo>
                      <a:pt x="145804" y="722123"/>
                      <a:pt x="115091" y="713993"/>
                      <a:pt x="100637" y="690507"/>
                    </a:cubicBezTo>
                    <a:lnTo>
                      <a:pt x="42825" y="590238"/>
                    </a:lnTo>
                    <a:cubicBezTo>
                      <a:pt x="36502" y="578495"/>
                      <a:pt x="34695" y="564945"/>
                      <a:pt x="37405" y="552299"/>
                    </a:cubicBezTo>
                    <a:cubicBezTo>
                      <a:pt x="40115" y="539652"/>
                      <a:pt x="49148" y="528812"/>
                      <a:pt x="60891" y="521586"/>
                    </a:cubicBezTo>
                    <a:lnTo>
                      <a:pt x="199100" y="442093"/>
                    </a:lnTo>
                    <a:lnTo>
                      <a:pt x="307498" y="629081"/>
                    </a:lnTo>
                    <a:lnTo>
                      <a:pt x="169290" y="708573"/>
                    </a:lnTo>
                    <a:close/>
                    <a:moveTo>
                      <a:pt x="507132" y="856718"/>
                    </a:moveTo>
                    <a:cubicBezTo>
                      <a:pt x="505326" y="868461"/>
                      <a:pt x="499002" y="878398"/>
                      <a:pt x="489066" y="883817"/>
                    </a:cubicBezTo>
                    <a:cubicBezTo>
                      <a:pt x="474613" y="891947"/>
                      <a:pt x="456546" y="890141"/>
                      <a:pt x="444803" y="877495"/>
                    </a:cubicBezTo>
                    <a:lnTo>
                      <a:pt x="263235" y="695927"/>
                    </a:lnTo>
                    <a:lnTo>
                      <a:pt x="329178" y="657987"/>
                    </a:lnTo>
                    <a:lnTo>
                      <a:pt x="497196" y="826005"/>
                    </a:lnTo>
                    <a:cubicBezTo>
                      <a:pt x="504422" y="833232"/>
                      <a:pt x="508939" y="844975"/>
                      <a:pt x="507132" y="856718"/>
                    </a:cubicBezTo>
                    <a:lnTo>
                      <a:pt x="507132" y="856718"/>
                    </a:lnTo>
                    <a:close/>
                    <a:moveTo>
                      <a:pt x="459256" y="672440"/>
                    </a:moveTo>
                    <a:cubicBezTo>
                      <a:pt x="461966" y="675150"/>
                      <a:pt x="463773" y="678764"/>
                      <a:pt x="462869" y="683280"/>
                    </a:cubicBezTo>
                    <a:cubicBezTo>
                      <a:pt x="461966" y="687797"/>
                      <a:pt x="460159" y="690507"/>
                      <a:pt x="456546" y="693217"/>
                    </a:cubicBezTo>
                    <a:lnTo>
                      <a:pt x="430350" y="708573"/>
                    </a:lnTo>
                    <a:lnTo>
                      <a:pt x="368021" y="646244"/>
                    </a:lnTo>
                    <a:lnTo>
                      <a:pt x="418607" y="635404"/>
                    </a:lnTo>
                    <a:lnTo>
                      <a:pt x="459256" y="672440"/>
                    </a:lnTo>
                    <a:close/>
                    <a:moveTo>
                      <a:pt x="830521" y="525199"/>
                    </a:moveTo>
                    <a:cubicBezTo>
                      <a:pt x="828715" y="531522"/>
                      <a:pt x="825101" y="536039"/>
                      <a:pt x="819681" y="538749"/>
                    </a:cubicBezTo>
                    <a:cubicBezTo>
                      <a:pt x="814261" y="541459"/>
                      <a:pt x="807938" y="542362"/>
                      <a:pt x="802518" y="541459"/>
                    </a:cubicBezTo>
                    <a:cubicBezTo>
                      <a:pt x="796195" y="539652"/>
                      <a:pt x="791678" y="536039"/>
                      <a:pt x="788969" y="530619"/>
                    </a:cubicBezTo>
                    <a:lnTo>
                      <a:pt x="523392" y="69925"/>
                    </a:lnTo>
                    <a:cubicBezTo>
                      <a:pt x="520682" y="64505"/>
                      <a:pt x="519779" y="58182"/>
                      <a:pt x="520682" y="52762"/>
                    </a:cubicBezTo>
                    <a:cubicBezTo>
                      <a:pt x="522489" y="46439"/>
                      <a:pt x="526102" y="41922"/>
                      <a:pt x="531522" y="39212"/>
                    </a:cubicBezTo>
                    <a:cubicBezTo>
                      <a:pt x="535135" y="37405"/>
                      <a:pt x="538748" y="36502"/>
                      <a:pt x="543265" y="36502"/>
                    </a:cubicBezTo>
                    <a:cubicBezTo>
                      <a:pt x="545072" y="36502"/>
                      <a:pt x="546878" y="36502"/>
                      <a:pt x="549588" y="37405"/>
                    </a:cubicBezTo>
                    <a:cubicBezTo>
                      <a:pt x="555912" y="39212"/>
                      <a:pt x="560428" y="42825"/>
                      <a:pt x="563138" y="48245"/>
                    </a:cubicBezTo>
                    <a:lnTo>
                      <a:pt x="828715" y="508939"/>
                    </a:lnTo>
                    <a:cubicBezTo>
                      <a:pt x="831424" y="513456"/>
                      <a:pt x="832328" y="518876"/>
                      <a:pt x="830521" y="525199"/>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50" name="Freeform 49">
                <a:extLst>
                  <a:ext uri="{FF2B5EF4-FFF2-40B4-BE49-F238E27FC236}">
                    <a16:creationId xmlns:a16="http://schemas.microsoft.com/office/drawing/2014/main" id="{1B60C2F8-2688-533E-E96F-095D5928ABC1}"/>
                  </a:ext>
                </a:extLst>
              </p:cNvPr>
              <p:cNvSpPr/>
              <p:nvPr/>
            </p:nvSpPr>
            <p:spPr>
              <a:xfrm>
                <a:off x="4253152" y="1007954"/>
                <a:ext cx="36132" cy="36132"/>
              </a:xfrm>
              <a:custGeom>
                <a:avLst/>
                <a:gdLst>
                  <a:gd name="connsiteX0" fmla="*/ 18066 w 36132"/>
                  <a:gd name="connsiteY0" fmla="*/ 36133 h 36132"/>
                  <a:gd name="connsiteX1" fmla="*/ 30713 w 36132"/>
                  <a:gd name="connsiteY1" fmla="*/ 30713 h 36132"/>
                  <a:gd name="connsiteX2" fmla="*/ 36133 w 36132"/>
                  <a:gd name="connsiteY2" fmla="*/ 18066 h 36132"/>
                  <a:gd name="connsiteX3" fmla="*/ 30713 w 36132"/>
                  <a:gd name="connsiteY3" fmla="*/ 5420 h 36132"/>
                  <a:gd name="connsiteX4" fmla="*/ 18066 w 36132"/>
                  <a:gd name="connsiteY4" fmla="*/ 0 h 36132"/>
                  <a:gd name="connsiteX5" fmla="*/ 5420 w 36132"/>
                  <a:gd name="connsiteY5" fmla="*/ 5420 h 36132"/>
                  <a:gd name="connsiteX6" fmla="*/ 0 w 36132"/>
                  <a:gd name="connsiteY6" fmla="*/ 18066 h 36132"/>
                  <a:gd name="connsiteX7" fmla="*/ 5420 w 36132"/>
                  <a:gd name="connsiteY7" fmla="*/ 30713 h 36132"/>
                  <a:gd name="connsiteX8" fmla="*/ 18066 w 36132"/>
                  <a:gd name="connsiteY8" fmla="*/ 36133 h 3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32" h="36132">
                    <a:moveTo>
                      <a:pt x="18066" y="36133"/>
                    </a:moveTo>
                    <a:cubicBezTo>
                      <a:pt x="22583" y="36133"/>
                      <a:pt x="27100" y="34327"/>
                      <a:pt x="30713" y="30713"/>
                    </a:cubicBezTo>
                    <a:cubicBezTo>
                      <a:pt x="34326" y="27100"/>
                      <a:pt x="36133" y="22583"/>
                      <a:pt x="36133" y="18066"/>
                    </a:cubicBezTo>
                    <a:cubicBezTo>
                      <a:pt x="36133" y="13550"/>
                      <a:pt x="34326" y="9033"/>
                      <a:pt x="30713" y="5420"/>
                    </a:cubicBezTo>
                    <a:cubicBezTo>
                      <a:pt x="27100" y="1807"/>
                      <a:pt x="22583" y="0"/>
                      <a:pt x="18066" y="0"/>
                    </a:cubicBezTo>
                    <a:cubicBezTo>
                      <a:pt x="13550" y="0"/>
                      <a:pt x="9033" y="1807"/>
                      <a:pt x="5420" y="5420"/>
                    </a:cubicBezTo>
                    <a:cubicBezTo>
                      <a:pt x="1807" y="9033"/>
                      <a:pt x="0" y="13550"/>
                      <a:pt x="0" y="18066"/>
                    </a:cubicBezTo>
                    <a:cubicBezTo>
                      <a:pt x="0" y="22583"/>
                      <a:pt x="1807" y="27100"/>
                      <a:pt x="5420" y="30713"/>
                    </a:cubicBezTo>
                    <a:cubicBezTo>
                      <a:pt x="8130" y="34327"/>
                      <a:pt x="13550" y="36133"/>
                      <a:pt x="18066" y="36133"/>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grpSp>
        <p:grpSp>
          <p:nvGrpSpPr>
            <p:cNvPr id="7" name="Graphic 2">
              <a:extLst>
                <a:ext uri="{FF2B5EF4-FFF2-40B4-BE49-F238E27FC236}">
                  <a16:creationId xmlns:a16="http://schemas.microsoft.com/office/drawing/2014/main" id="{A2F25393-41BC-2F55-75A7-F92CCD78011E}"/>
                </a:ext>
              </a:extLst>
            </p:cNvPr>
            <p:cNvGrpSpPr/>
            <p:nvPr/>
          </p:nvGrpSpPr>
          <p:grpSpPr>
            <a:xfrm>
              <a:off x="3958353" y="890522"/>
              <a:ext cx="708520" cy="605461"/>
              <a:chOff x="3958353" y="890522"/>
              <a:chExt cx="708520" cy="605461"/>
            </a:xfrm>
            <a:grpFill/>
          </p:grpSpPr>
          <p:sp>
            <p:nvSpPr>
              <p:cNvPr id="47" name="Freeform 46">
                <a:extLst>
                  <a:ext uri="{FF2B5EF4-FFF2-40B4-BE49-F238E27FC236}">
                    <a16:creationId xmlns:a16="http://schemas.microsoft.com/office/drawing/2014/main" id="{305C524D-C60E-5CE8-7BBA-D5E300D7F3B7}"/>
                  </a:ext>
                </a:extLst>
              </p:cNvPr>
              <p:cNvSpPr/>
              <p:nvPr/>
            </p:nvSpPr>
            <p:spPr>
              <a:xfrm>
                <a:off x="4150173" y="890522"/>
                <a:ext cx="516699" cy="505860"/>
              </a:xfrm>
              <a:custGeom>
                <a:avLst/>
                <a:gdLst>
                  <a:gd name="connsiteX0" fmla="*/ 274610 w 516699"/>
                  <a:gd name="connsiteY0" fmla="*/ 0 h 505860"/>
                  <a:gd name="connsiteX1" fmla="*/ 516700 w 516699"/>
                  <a:gd name="connsiteY1" fmla="*/ 419141 h 505860"/>
                  <a:gd name="connsiteX2" fmla="*/ 112915 w 516699"/>
                  <a:gd name="connsiteY2" fmla="*/ 505860 h 505860"/>
                  <a:gd name="connsiteX3" fmla="*/ 0 w 516699"/>
                  <a:gd name="connsiteY3" fmla="*/ 309840 h 505860"/>
                </a:gdLst>
                <a:ahLst/>
                <a:cxnLst>
                  <a:cxn ang="0">
                    <a:pos x="connsiteX0" y="connsiteY0"/>
                  </a:cxn>
                  <a:cxn ang="0">
                    <a:pos x="connsiteX1" y="connsiteY1"/>
                  </a:cxn>
                  <a:cxn ang="0">
                    <a:pos x="connsiteX2" y="connsiteY2"/>
                  </a:cxn>
                  <a:cxn ang="0">
                    <a:pos x="connsiteX3" y="connsiteY3"/>
                  </a:cxn>
                </a:cxnLst>
                <a:rect l="l" t="t" r="r" b="b"/>
                <a:pathLst>
                  <a:path w="516699" h="505860">
                    <a:moveTo>
                      <a:pt x="274610" y="0"/>
                    </a:moveTo>
                    <a:lnTo>
                      <a:pt x="516700" y="419141"/>
                    </a:lnTo>
                    <a:lnTo>
                      <a:pt x="112915" y="505860"/>
                    </a:lnTo>
                    <a:lnTo>
                      <a:pt x="0" y="309840"/>
                    </a:lnTo>
                  </a:path>
                </a:pathLst>
              </a:custGeom>
              <a:solidFill>
                <a:srgbClr val="F16924"/>
              </a:solid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48" name="Freeform 47">
                <a:extLst>
                  <a:ext uri="{FF2B5EF4-FFF2-40B4-BE49-F238E27FC236}">
                    <a16:creationId xmlns:a16="http://schemas.microsoft.com/office/drawing/2014/main" id="{C66506FD-60EE-7EAC-BC1F-961ABCD6C1E8}"/>
                  </a:ext>
                </a:extLst>
              </p:cNvPr>
              <p:cNvSpPr/>
              <p:nvPr/>
            </p:nvSpPr>
            <p:spPr>
              <a:xfrm>
                <a:off x="3958353" y="1222945"/>
                <a:ext cx="271312" cy="273038"/>
              </a:xfrm>
              <a:custGeom>
                <a:avLst/>
                <a:gdLst>
                  <a:gd name="connsiteX0" fmla="*/ 133104 w 271312"/>
                  <a:gd name="connsiteY0" fmla="*/ 266480 h 273038"/>
                  <a:gd name="connsiteX1" fmla="*/ 64452 w 271312"/>
                  <a:gd name="connsiteY1" fmla="*/ 248413 h 273038"/>
                  <a:gd name="connsiteX2" fmla="*/ 6639 w 271312"/>
                  <a:gd name="connsiteY2" fmla="*/ 148144 h 273038"/>
                  <a:gd name="connsiteX3" fmla="*/ 1220 w 271312"/>
                  <a:gd name="connsiteY3" fmla="*/ 110205 h 273038"/>
                  <a:gd name="connsiteX4" fmla="*/ 24706 w 271312"/>
                  <a:gd name="connsiteY4" fmla="*/ 79492 h 273038"/>
                  <a:gd name="connsiteX5" fmla="*/ 162914 w 271312"/>
                  <a:gd name="connsiteY5" fmla="*/ 0 h 273038"/>
                  <a:gd name="connsiteX6" fmla="*/ 271313 w 271312"/>
                  <a:gd name="connsiteY6" fmla="*/ 186987 h 273038"/>
                  <a:gd name="connsiteX7" fmla="*/ 133104 w 271312"/>
                  <a:gd name="connsiteY7" fmla="*/ 266480 h 27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312" h="273038">
                    <a:moveTo>
                      <a:pt x="133104" y="266480"/>
                    </a:moveTo>
                    <a:cubicBezTo>
                      <a:pt x="109618" y="280030"/>
                      <a:pt x="78905" y="271900"/>
                      <a:pt x="64452" y="248413"/>
                    </a:cubicBezTo>
                    <a:lnTo>
                      <a:pt x="6639" y="148144"/>
                    </a:lnTo>
                    <a:cubicBezTo>
                      <a:pt x="316" y="136401"/>
                      <a:pt x="-1490" y="122852"/>
                      <a:pt x="1220" y="110205"/>
                    </a:cubicBezTo>
                    <a:cubicBezTo>
                      <a:pt x="4833" y="97559"/>
                      <a:pt x="12963" y="86719"/>
                      <a:pt x="24706" y="79492"/>
                    </a:cubicBezTo>
                    <a:lnTo>
                      <a:pt x="162914" y="0"/>
                    </a:lnTo>
                    <a:lnTo>
                      <a:pt x="271313" y="186987"/>
                    </a:lnTo>
                    <a:lnTo>
                      <a:pt x="133104" y="266480"/>
                    </a:lnTo>
                    <a:close/>
                  </a:path>
                </a:pathLst>
              </a:custGeom>
              <a:solidFill>
                <a:srgbClr val="F16924"/>
              </a:solid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grpSp>
      </p:grpSp>
      <p:grpSp>
        <p:nvGrpSpPr>
          <p:cNvPr id="51" name="Group 50">
            <a:extLst>
              <a:ext uri="{FF2B5EF4-FFF2-40B4-BE49-F238E27FC236}">
                <a16:creationId xmlns:a16="http://schemas.microsoft.com/office/drawing/2014/main" id="{55BF5329-AF7F-0CF5-5B0C-037DC77587B9}"/>
              </a:ext>
            </a:extLst>
          </p:cNvPr>
          <p:cNvGrpSpPr/>
          <p:nvPr/>
        </p:nvGrpSpPr>
        <p:grpSpPr>
          <a:xfrm>
            <a:off x="4412937" y="526006"/>
            <a:ext cx="851397" cy="988098"/>
            <a:chOff x="8360213" y="3458151"/>
            <a:chExt cx="853935" cy="991043"/>
          </a:xfrm>
          <a:solidFill>
            <a:srgbClr val="595959"/>
          </a:solidFill>
        </p:grpSpPr>
        <p:grpSp>
          <p:nvGrpSpPr>
            <p:cNvPr id="52" name="Graphic 2">
              <a:extLst>
                <a:ext uri="{FF2B5EF4-FFF2-40B4-BE49-F238E27FC236}">
                  <a16:creationId xmlns:a16="http://schemas.microsoft.com/office/drawing/2014/main" id="{D3E474DF-E89B-893F-DFF2-5B96F1F1A31A}"/>
                </a:ext>
              </a:extLst>
            </p:cNvPr>
            <p:cNvGrpSpPr/>
            <p:nvPr userDrawn="1"/>
          </p:nvGrpSpPr>
          <p:grpSpPr>
            <a:xfrm>
              <a:off x="8599192" y="3595917"/>
              <a:ext cx="375982" cy="204367"/>
              <a:chOff x="2642504" y="3763150"/>
              <a:chExt cx="375982" cy="204367"/>
            </a:xfrm>
            <a:grpFill/>
          </p:grpSpPr>
          <p:sp>
            <p:nvSpPr>
              <p:cNvPr id="58" name="Freeform 57">
                <a:extLst>
                  <a:ext uri="{FF2B5EF4-FFF2-40B4-BE49-F238E27FC236}">
                    <a16:creationId xmlns:a16="http://schemas.microsoft.com/office/drawing/2014/main" id="{3A843F1D-A4A8-6506-653F-B30E0587F723}"/>
                  </a:ext>
                </a:extLst>
              </p:cNvPr>
              <p:cNvSpPr/>
              <p:nvPr/>
            </p:nvSpPr>
            <p:spPr>
              <a:xfrm>
                <a:off x="2813454" y="3763150"/>
                <a:ext cx="205031" cy="204367"/>
              </a:xfrm>
              <a:custGeom>
                <a:avLst/>
                <a:gdLst>
                  <a:gd name="connsiteX0" fmla="*/ 204168 w 205031"/>
                  <a:gd name="connsiteY0" fmla="*/ 204367 h 204367"/>
                  <a:gd name="connsiteX1" fmla="*/ 384 w 205031"/>
                  <a:gd name="connsiteY1" fmla="*/ 204367 h 204367"/>
                  <a:gd name="connsiteX2" fmla="*/ 0 w 205031"/>
                  <a:gd name="connsiteY2" fmla="*/ 193999 h 204367"/>
                  <a:gd name="connsiteX3" fmla="*/ 0 w 205031"/>
                  <a:gd name="connsiteY3" fmla="*/ 90707 h 204367"/>
                  <a:gd name="connsiteX4" fmla="*/ 90187 w 205031"/>
                  <a:gd name="connsiteY4" fmla="*/ 85 h 204367"/>
                  <a:gd name="connsiteX5" fmla="*/ 138159 w 205031"/>
                  <a:gd name="connsiteY5" fmla="*/ 2389 h 204367"/>
                  <a:gd name="connsiteX6" fmla="*/ 204552 w 205031"/>
                  <a:gd name="connsiteY6" fmla="*/ 82259 h 204367"/>
                  <a:gd name="connsiteX7" fmla="*/ 204936 w 205031"/>
                  <a:gd name="connsiteY7" fmla="*/ 199375 h 204367"/>
                  <a:gd name="connsiteX8" fmla="*/ 204168 w 205031"/>
                  <a:gd name="connsiteY8" fmla="*/ 204367 h 204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031" h="204367">
                    <a:moveTo>
                      <a:pt x="204168" y="204367"/>
                    </a:moveTo>
                    <a:cubicBezTo>
                      <a:pt x="135856" y="204367"/>
                      <a:pt x="68696" y="204367"/>
                      <a:pt x="384" y="204367"/>
                    </a:cubicBezTo>
                    <a:cubicBezTo>
                      <a:pt x="384" y="200527"/>
                      <a:pt x="0" y="197071"/>
                      <a:pt x="0" y="193999"/>
                    </a:cubicBezTo>
                    <a:cubicBezTo>
                      <a:pt x="0" y="159440"/>
                      <a:pt x="0" y="124882"/>
                      <a:pt x="0" y="90707"/>
                    </a:cubicBezTo>
                    <a:cubicBezTo>
                      <a:pt x="0" y="36564"/>
                      <a:pt x="36075" y="85"/>
                      <a:pt x="90187" y="85"/>
                    </a:cubicBezTo>
                    <a:cubicBezTo>
                      <a:pt x="106306" y="85"/>
                      <a:pt x="122808" y="-683"/>
                      <a:pt x="138159" y="2389"/>
                    </a:cubicBezTo>
                    <a:cubicBezTo>
                      <a:pt x="176153" y="9301"/>
                      <a:pt x="204168" y="43476"/>
                      <a:pt x="204552" y="82259"/>
                    </a:cubicBezTo>
                    <a:cubicBezTo>
                      <a:pt x="205320" y="121426"/>
                      <a:pt x="204936" y="160208"/>
                      <a:pt x="204936" y="199375"/>
                    </a:cubicBezTo>
                    <a:cubicBezTo>
                      <a:pt x="204936" y="200527"/>
                      <a:pt x="204552" y="202063"/>
                      <a:pt x="204168" y="204367"/>
                    </a:cubicBezTo>
                    <a:close/>
                  </a:path>
                </a:pathLst>
              </a:custGeom>
              <a:solidFill>
                <a:srgbClr val="F16924"/>
              </a:solidFill>
              <a:ln w="3834" cap="flat">
                <a:noFill/>
                <a:prstDash val="solid"/>
                <a:miter/>
              </a:ln>
            </p:spPr>
            <p:txBody>
              <a:bodyPr rtlCol="0" anchor="ctr"/>
              <a:lstStyle/>
              <a:p>
                <a:pPr algn="l" rtl="0"/>
                <a:endParaRPr lang="en-US"/>
              </a:p>
            </p:txBody>
          </p:sp>
          <p:sp>
            <p:nvSpPr>
              <p:cNvPr id="59" name="Freeform 58">
                <a:extLst>
                  <a:ext uri="{FF2B5EF4-FFF2-40B4-BE49-F238E27FC236}">
                    <a16:creationId xmlns:a16="http://schemas.microsoft.com/office/drawing/2014/main" id="{D08DD00F-11DD-CF95-55E3-CF74699279B6}"/>
                  </a:ext>
                </a:extLst>
              </p:cNvPr>
              <p:cNvSpPr/>
              <p:nvPr/>
            </p:nvSpPr>
            <p:spPr>
              <a:xfrm>
                <a:off x="2642504" y="3763235"/>
                <a:ext cx="161142" cy="204281"/>
              </a:xfrm>
              <a:custGeom>
                <a:avLst/>
                <a:gdLst>
                  <a:gd name="connsiteX0" fmla="*/ 137178 w 161142"/>
                  <a:gd name="connsiteY0" fmla="*/ 204282 h 204281"/>
                  <a:gd name="connsiteX1" fmla="*/ 938 w 161142"/>
                  <a:gd name="connsiteY1" fmla="*/ 204282 h 204281"/>
                  <a:gd name="connsiteX2" fmla="*/ 171 w 161142"/>
                  <a:gd name="connsiteY2" fmla="*/ 196602 h 204281"/>
                  <a:gd name="connsiteX3" fmla="*/ 171 w 161142"/>
                  <a:gd name="connsiteY3" fmla="*/ 86397 h 204281"/>
                  <a:gd name="connsiteX4" fmla="*/ 85753 w 161142"/>
                  <a:gd name="connsiteY4" fmla="*/ 0 h 204281"/>
                  <a:gd name="connsiteX5" fmla="*/ 137946 w 161142"/>
                  <a:gd name="connsiteY5" fmla="*/ 2304 h 204281"/>
                  <a:gd name="connsiteX6" fmla="*/ 160972 w 161142"/>
                  <a:gd name="connsiteY6" fmla="*/ 9984 h 204281"/>
                  <a:gd name="connsiteX7" fmla="*/ 160972 w 161142"/>
                  <a:gd name="connsiteY7" fmla="*/ 13440 h 204281"/>
                  <a:gd name="connsiteX8" fmla="*/ 137178 w 161142"/>
                  <a:gd name="connsiteY8" fmla="*/ 99069 h 204281"/>
                  <a:gd name="connsiteX9" fmla="*/ 137562 w 161142"/>
                  <a:gd name="connsiteY9" fmla="*/ 193146 h 204281"/>
                  <a:gd name="connsiteX10" fmla="*/ 137178 w 161142"/>
                  <a:gd name="connsiteY10" fmla="*/ 204282 h 20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142" h="204281">
                    <a:moveTo>
                      <a:pt x="137178" y="204282"/>
                    </a:moveTo>
                    <a:cubicBezTo>
                      <a:pt x="91125" y="204282"/>
                      <a:pt x="46224" y="204282"/>
                      <a:pt x="938" y="204282"/>
                    </a:cubicBezTo>
                    <a:cubicBezTo>
                      <a:pt x="554" y="201210"/>
                      <a:pt x="171" y="198906"/>
                      <a:pt x="171" y="196602"/>
                    </a:cubicBezTo>
                    <a:cubicBezTo>
                      <a:pt x="171" y="159739"/>
                      <a:pt x="-213" y="122876"/>
                      <a:pt x="171" y="86397"/>
                    </a:cubicBezTo>
                    <a:cubicBezTo>
                      <a:pt x="554" y="37631"/>
                      <a:pt x="37013" y="768"/>
                      <a:pt x="85753" y="0"/>
                    </a:cubicBezTo>
                    <a:cubicBezTo>
                      <a:pt x="103022" y="0"/>
                      <a:pt x="120676" y="384"/>
                      <a:pt x="137946" y="2304"/>
                    </a:cubicBezTo>
                    <a:cubicBezTo>
                      <a:pt x="146005" y="3072"/>
                      <a:pt x="153681" y="7296"/>
                      <a:pt x="160972" y="9984"/>
                    </a:cubicBezTo>
                    <a:cubicBezTo>
                      <a:pt x="160972" y="12288"/>
                      <a:pt x="161356" y="13056"/>
                      <a:pt x="160972" y="13440"/>
                    </a:cubicBezTo>
                    <a:cubicBezTo>
                      <a:pt x="142167" y="39167"/>
                      <a:pt x="136027" y="67966"/>
                      <a:pt x="137178" y="99069"/>
                    </a:cubicBezTo>
                    <a:cubicBezTo>
                      <a:pt x="137946" y="130172"/>
                      <a:pt x="137562" y="161659"/>
                      <a:pt x="137562" y="193146"/>
                    </a:cubicBezTo>
                    <a:cubicBezTo>
                      <a:pt x="137178" y="195834"/>
                      <a:pt x="137178" y="199674"/>
                      <a:pt x="137178" y="204282"/>
                    </a:cubicBezTo>
                    <a:close/>
                  </a:path>
                </a:pathLst>
              </a:custGeom>
              <a:solidFill>
                <a:srgbClr val="F16924"/>
              </a:solidFill>
              <a:ln w="3834" cap="flat">
                <a:noFill/>
                <a:prstDash val="solid"/>
                <a:miter/>
              </a:ln>
            </p:spPr>
            <p:txBody>
              <a:bodyPr rtlCol="0" anchor="ctr"/>
              <a:lstStyle/>
              <a:p>
                <a:pPr algn="l" rtl="0"/>
                <a:endParaRPr lang="en-US"/>
              </a:p>
            </p:txBody>
          </p:sp>
        </p:grpSp>
        <p:grpSp>
          <p:nvGrpSpPr>
            <p:cNvPr id="53" name="Graphic 2">
              <a:extLst>
                <a:ext uri="{FF2B5EF4-FFF2-40B4-BE49-F238E27FC236}">
                  <a16:creationId xmlns:a16="http://schemas.microsoft.com/office/drawing/2014/main" id="{2287FE16-1A32-D19D-33A4-98A59533FA83}"/>
                </a:ext>
              </a:extLst>
            </p:cNvPr>
            <p:cNvGrpSpPr/>
            <p:nvPr userDrawn="1"/>
          </p:nvGrpSpPr>
          <p:grpSpPr>
            <a:xfrm>
              <a:off x="8360213" y="3458151"/>
              <a:ext cx="853935" cy="991043"/>
              <a:chOff x="2403525" y="3625384"/>
              <a:chExt cx="853935" cy="991043"/>
            </a:xfrm>
            <a:grpFill/>
          </p:grpSpPr>
          <p:sp>
            <p:nvSpPr>
              <p:cNvPr id="54" name="Freeform 53">
                <a:extLst>
                  <a:ext uri="{FF2B5EF4-FFF2-40B4-BE49-F238E27FC236}">
                    <a16:creationId xmlns:a16="http://schemas.microsoft.com/office/drawing/2014/main" id="{DCF84E17-EBE5-8D3F-E266-DEE973D7D6C7}"/>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pPr algn="l" rtl="0"/>
                <a:endParaRPr lang="en-US"/>
              </a:p>
            </p:txBody>
          </p:sp>
          <p:sp>
            <p:nvSpPr>
              <p:cNvPr id="55" name="Freeform 54">
                <a:extLst>
                  <a:ext uri="{FF2B5EF4-FFF2-40B4-BE49-F238E27FC236}">
                    <a16:creationId xmlns:a16="http://schemas.microsoft.com/office/drawing/2014/main" id="{FADD1D31-0254-DB4D-0EB8-0936E6A6BF50}"/>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pPr algn="l" rtl="0"/>
                <a:endParaRPr lang="en-US"/>
              </a:p>
            </p:txBody>
          </p:sp>
          <p:sp>
            <p:nvSpPr>
              <p:cNvPr id="56" name="Freeform 55">
                <a:extLst>
                  <a:ext uri="{FF2B5EF4-FFF2-40B4-BE49-F238E27FC236}">
                    <a16:creationId xmlns:a16="http://schemas.microsoft.com/office/drawing/2014/main" id="{6510D275-27B5-36FC-33EC-C0C3267886E8}"/>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pPr algn="l" rtl="0"/>
                <a:endParaRPr lang="en-US"/>
              </a:p>
            </p:txBody>
          </p:sp>
          <p:sp>
            <p:nvSpPr>
              <p:cNvPr id="57" name="Freeform 56">
                <a:extLst>
                  <a:ext uri="{FF2B5EF4-FFF2-40B4-BE49-F238E27FC236}">
                    <a16:creationId xmlns:a16="http://schemas.microsoft.com/office/drawing/2014/main" id="{482619C3-753D-E585-5816-9E9C74930D37}"/>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pPr algn="l" rtl="0"/>
                <a:endParaRPr lang="en-US"/>
              </a:p>
            </p:txBody>
          </p:sp>
        </p:grpSp>
      </p:grpSp>
    </p:spTree>
    <p:extLst>
      <p:ext uri="{BB962C8B-B14F-4D97-AF65-F5344CB8AC3E}">
        <p14:creationId xmlns:p14="http://schemas.microsoft.com/office/powerpoint/2010/main" val="30317787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7234C30-EA0A-6728-B0E3-D704E9CD12FD}"/>
              </a:ext>
            </a:extLst>
          </p:cNvPr>
          <p:cNvSpPr/>
          <p:nvPr/>
        </p:nvSpPr>
        <p:spPr>
          <a:xfrm>
            <a:off x="2668249" y="0"/>
            <a:ext cx="952375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 name="Text Placeholder 3">
            <a:extLst>
              <a:ext uri="{FF2B5EF4-FFF2-40B4-BE49-F238E27FC236}">
                <a16:creationId xmlns:a16="http://schemas.microsoft.com/office/drawing/2014/main" id="{1E27B37E-3361-AC46-9DD3-9E11E0F319D4}"/>
              </a:ext>
            </a:extLst>
          </p:cNvPr>
          <p:cNvSpPr>
            <a:spLocks noGrp="1"/>
          </p:cNvSpPr>
          <p:nvPr>
            <p:ph type="body" sz="quarter" idx="16"/>
          </p:nvPr>
        </p:nvSpPr>
        <p:spPr>
          <a:xfrm>
            <a:off x="356219" y="400655"/>
            <a:ext cx="2207099" cy="5458587"/>
          </a:xfrm>
          <a:solidFill>
            <a:schemeClr val="bg1"/>
          </a:solidFill>
          <a:ln>
            <a:solidFill>
              <a:schemeClr val="bg1"/>
            </a:solidFill>
          </a:ln>
        </p:spPr>
        <p:txBody>
          <a:bodyPr>
            <a:normAutofit/>
          </a:bodyPr>
          <a:lstStyle/>
          <a:p>
            <a:pPr algn="l" rtl="0"/>
            <a:r>
              <a:rPr lang="en-IE" sz="2400" dirty="0">
                <a:effectLst/>
                <a:latin typeface="Calibri" panose="020F0502020204030204" pitchFamily="34" charset="0"/>
                <a:ea typeface="Calibri" panose="020F0502020204030204" pitchFamily="34" charset="0"/>
                <a:cs typeface="Calibri" panose="020F0502020204030204" pitchFamily="34" charset="0"/>
              </a:rPr>
              <a:t>Con base en los hallazgos de la</a:t>
            </a:r>
            <a:r>
              <a:rPr lang="en-IE" sz="24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Marco de aprendizaje del Sistema Internacional de Alerta Temprana SECure</a:t>
            </a:r>
            <a:r>
              <a:rPr lang="en-IE" sz="2400"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IO1)</a:t>
            </a:r>
            <a:r>
              <a:rPr lang="en-IE" sz="2400" dirty="0">
                <a:effectLst/>
                <a:latin typeface="Calibri" panose="020F0502020204030204" pitchFamily="34" charset="0"/>
                <a:ea typeface="Calibri" panose="020F0502020204030204" pitchFamily="34" charset="0"/>
                <a:cs typeface="Calibri" panose="020F0502020204030204" pitchFamily="34" charset="0"/>
              </a:rPr>
              <a:t>, el paquete SECure VET y el modelo de aprendizaje se han diseñado en seis módulos de formación atractivos:-</a:t>
            </a:r>
            <a:endParaRPr lang="en-IE" sz="2400" dirty="0">
              <a:effectLst/>
              <a:latin typeface="Calibri" panose="020F0502020204030204" pitchFamily="34" charset="0"/>
              <a:ea typeface="Calibri" panose="020F0502020204030204" pitchFamily="34" charset="0"/>
              <a:cs typeface="Times New Roman" panose="02020603050405020304" pitchFamily="18" charset="0"/>
            </a:endParaRPr>
          </a:p>
          <a:p>
            <a:pPr algn="l" rtl="0"/>
            <a:endParaRPr lang="en-US" dirty="0"/>
          </a:p>
        </p:txBody>
      </p:sp>
      <p:sp>
        <p:nvSpPr>
          <p:cNvPr id="17" name="Rounded Rectangle 16">
            <a:extLst>
              <a:ext uri="{FF2B5EF4-FFF2-40B4-BE49-F238E27FC236}">
                <a16:creationId xmlns:a16="http://schemas.microsoft.com/office/drawing/2014/main" id="{55EC57C1-33DE-1216-353C-2D3394601420}"/>
              </a:ext>
            </a:extLst>
          </p:cNvPr>
          <p:cNvSpPr/>
          <p:nvPr/>
        </p:nvSpPr>
        <p:spPr>
          <a:xfrm>
            <a:off x="2962494" y="166765"/>
            <a:ext cx="9009846" cy="1145020"/>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Calibri" panose="020F0502020204030204" pitchFamily="34" charset="0"/>
            </a:endParaRPr>
          </a:p>
        </p:txBody>
      </p:sp>
      <p:sp>
        <p:nvSpPr>
          <p:cNvPr id="19" name="Text Placeholder 5">
            <a:extLst>
              <a:ext uri="{FF2B5EF4-FFF2-40B4-BE49-F238E27FC236}">
                <a16:creationId xmlns:a16="http://schemas.microsoft.com/office/drawing/2014/main" id="{70A571B5-D1B8-88CE-9EAE-243C1C33F8BA}"/>
              </a:ext>
            </a:extLst>
          </p:cNvPr>
          <p:cNvSpPr txBox="1">
            <a:spLocks/>
          </p:cNvSpPr>
          <p:nvPr/>
        </p:nvSpPr>
        <p:spPr>
          <a:xfrm>
            <a:off x="3013348" y="557910"/>
            <a:ext cx="8944014"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285750" indent="-285750" algn="l" rtl="0">
              <a:lnSpc>
                <a:spcPts val="1520"/>
              </a:lnSpc>
              <a:buClr>
                <a:srgbClr val="94C33D"/>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Qué es una crisis empresarial y cuáles son los mecanismos de detección temprana?</a:t>
            </a:r>
          </a:p>
          <a:p>
            <a:pPr marL="285750" indent="-285750" algn="l" rtl="0">
              <a:lnSpc>
                <a:spcPts val="1520"/>
              </a:lnSpc>
              <a:buClr>
                <a:srgbClr val="94C33D"/>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Saber cuándo: una visión general de las 3 fases de la crisis de las pymes/empresas: etapas principales, la precrisis, la etapa de gestión y respuesta en sí y la postcrisis</a:t>
            </a:r>
          </a:p>
        </p:txBody>
      </p:sp>
      <p:sp>
        <p:nvSpPr>
          <p:cNvPr id="20" name="Rectangle 19">
            <a:extLst>
              <a:ext uri="{FF2B5EF4-FFF2-40B4-BE49-F238E27FC236}">
                <a16:creationId xmlns:a16="http://schemas.microsoft.com/office/drawing/2014/main" id="{F7F0EB08-604D-129F-741D-2948D51A8919}"/>
              </a:ext>
            </a:extLst>
          </p:cNvPr>
          <p:cNvSpPr/>
          <p:nvPr/>
        </p:nvSpPr>
        <p:spPr>
          <a:xfrm>
            <a:off x="5855677" y="189922"/>
            <a:ext cx="5975302" cy="353943"/>
          </a:xfrm>
          <a:prstGeom prst="rect">
            <a:avLst/>
          </a:prstGeom>
        </p:spPr>
        <p:txBody>
          <a:bodyPr wrap="square">
            <a:spAutoFit/>
          </a:bodyPr>
          <a:lstStyle/>
          <a:p>
            <a:pPr algn="l" rtl="0"/>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LOS FUNDAMENTOS</a:t>
            </a:r>
            <a:endParaRPr lang="en-US" sz="1700" b="1" dirty="0">
              <a:solidFill>
                <a:srgbClr val="B41F7A"/>
              </a:solidFill>
              <a:latin typeface="Calibri" panose="020F0502020204030204" pitchFamily="34" charset="0"/>
              <a:cs typeface="Calibri" panose="020F0502020204030204" pitchFamily="34" charset="0"/>
            </a:endParaRPr>
          </a:p>
        </p:txBody>
      </p:sp>
      <p:cxnSp>
        <p:nvCxnSpPr>
          <p:cNvPr id="21" name="Straight Connector 20">
            <a:extLst>
              <a:ext uri="{FF2B5EF4-FFF2-40B4-BE49-F238E27FC236}">
                <a16:creationId xmlns:a16="http://schemas.microsoft.com/office/drawing/2014/main" id="{1F37A575-2ED8-1EBC-F2B2-1449E8AAF1DB}"/>
              </a:ext>
            </a:extLst>
          </p:cNvPr>
          <p:cNvCxnSpPr>
            <a:cxnSpLocks/>
          </p:cNvCxnSpPr>
          <p:nvPr/>
        </p:nvCxnSpPr>
        <p:spPr>
          <a:xfrm>
            <a:off x="2962494" y="529444"/>
            <a:ext cx="9009845"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2" name="Rounded Rectangle 21">
            <a:extLst>
              <a:ext uri="{FF2B5EF4-FFF2-40B4-BE49-F238E27FC236}">
                <a16:creationId xmlns:a16="http://schemas.microsoft.com/office/drawing/2014/main" id="{7580A485-61BC-7608-B2CB-90500B2D835F}"/>
              </a:ext>
            </a:extLst>
          </p:cNvPr>
          <p:cNvSpPr/>
          <p:nvPr/>
        </p:nvSpPr>
        <p:spPr>
          <a:xfrm>
            <a:off x="2967295" y="1382668"/>
            <a:ext cx="9009846" cy="1094723"/>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Calibri" panose="020F0502020204030204" pitchFamily="34" charset="0"/>
            </a:endParaRPr>
          </a:p>
        </p:txBody>
      </p:sp>
      <p:sp>
        <p:nvSpPr>
          <p:cNvPr id="23" name="Text Placeholder 5">
            <a:extLst>
              <a:ext uri="{FF2B5EF4-FFF2-40B4-BE49-F238E27FC236}">
                <a16:creationId xmlns:a16="http://schemas.microsoft.com/office/drawing/2014/main" id="{EFB34814-D436-4A99-1CB4-0BF730F067F4}"/>
              </a:ext>
            </a:extLst>
          </p:cNvPr>
          <p:cNvSpPr txBox="1">
            <a:spLocks/>
          </p:cNvSpPr>
          <p:nvPr/>
        </p:nvSpPr>
        <p:spPr>
          <a:xfrm>
            <a:off x="3018449" y="1773812"/>
            <a:ext cx="8938417"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lgn="l" rtl="0">
              <a:lnSpc>
                <a:spcPts val="1520"/>
              </a:lnSpc>
              <a:buClr>
                <a:srgbClr val="94C33D"/>
              </a:buClr>
            </a:pPr>
            <a:r>
              <a:rPr lang="en-GB" sz="1600" dirty="0">
                <a:solidFill>
                  <a:srgbClr val="4B4B4B"/>
                </a:solidFill>
                <a:latin typeface="Calibri" panose="020F0502020204030204" pitchFamily="34" charset="0"/>
                <a:cs typeface="Calibri" panose="020F0502020204030204" pitchFamily="34" charset="0"/>
              </a:rPr>
              <a:t>No lo vio venir, por lo general no es algo para lo que esté preparado, pero una vez que sucede, desearía estarlo, por ejemplo, una crisis natural, una economía debilitada y calamidades, un entorno de mercado, por ejemplo, cadenas de suministro, cuestiones relacionadas con la tecnología.</a:t>
            </a:r>
          </a:p>
        </p:txBody>
      </p:sp>
      <p:sp>
        <p:nvSpPr>
          <p:cNvPr id="24" name="Rectangle 23">
            <a:extLst>
              <a:ext uri="{FF2B5EF4-FFF2-40B4-BE49-F238E27FC236}">
                <a16:creationId xmlns:a16="http://schemas.microsoft.com/office/drawing/2014/main" id="{D263234C-8544-8496-E925-CA8F026DDDAF}"/>
              </a:ext>
            </a:extLst>
          </p:cNvPr>
          <p:cNvSpPr/>
          <p:nvPr/>
        </p:nvSpPr>
        <p:spPr>
          <a:xfrm>
            <a:off x="5860478" y="1405824"/>
            <a:ext cx="5975302" cy="353943"/>
          </a:xfrm>
          <a:prstGeom prst="rect">
            <a:avLst/>
          </a:prstGeom>
        </p:spPr>
        <p:txBody>
          <a:bodyPr wrap="square">
            <a:spAutoFit/>
          </a:bodyPr>
          <a:lstStyle/>
          <a:p>
            <a:pPr algn="l" rtl="0"/>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UNA CRISIS QUE PROVIENE DE FACTORES EXTERNOS INEVITABLES</a:t>
            </a:r>
            <a:r>
              <a:rPr lang="en-IE" sz="1700" b="1" dirty="0">
                <a:solidFill>
                  <a:srgbClr val="B41F7A"/>
                </a:solidFill>
                <a:latin typeface="Calibri" panose="020F0502020204030204" pitchFamily="34" charset="0"/>
                <a:cs typeface="Calibri" panose="020F0502020204030204" pitchFamily="34" charset="0"/>
              </a:rPr>
              <a:t> </a:t>
            </a:r>
            <a:endParaRPr lang="en-US" sz="1700" b="1" dirty="0">
              <a:solidFill>
                <a:srgbClr val="B41F7A"/>
              </a:solidFill>
              <a:latin typeface="Calibri" panose="020F0502020204030204" pitchFamily="34" charset="0"/>
              <a:cs typeface="Calibri" panose="020F0502020204030204" pitchFamily="34" charset="0"/>
            </a:endParaRPr>
          </a:p>
        </p:txBody>
      </p:sp>
      <p:cxnSp>
        <p:nvCxnSpPr>
          <p:cNvPr id="25" name="Straight Connector 24">
            <a:extLst>
              <a:ext uri="{FF2B5EF4-FFF2-40B4-BE49-F238E27FC236}">
                <a16:creationId xmlns:a16="http://schemas.microsoft.com/office/drawing/2014/main" id="{920CF90D-E0D8-A668-9DCD-8727CE29DB81}"/>
              </a:ext>
            </a:extLst>
          </p:cNvPr>
          <p:cNvCxnSpPr>
            <a:cxnSpLocks/>
          </p:cNvCxnSpPr>
          <p:nvPr/>
        </p:nvCxnSpPr>
        <p:spPr>
          <a:xfrm>
            <a:off x="2962494" y="1745346"/>
            <a:ext cx="9060698"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7" name="Rounded Rectangle 26">
            <a:extLst>
              <a:ext uri="{FF2B5EF4-FFF2-40B4-BE49-F238E27FC236}">
                <a16:creationId xmlns:a16="http://schemas.microsoft.com/office/drawing/2014/main" id="{B25D18A4-7E7D-2EDA-6680-A7CBAB8377B4}"/>
              </a:ext>
            </a:extLst>
          </p:cNvPr>
          <p:cNvSpPr/>
          <p:nvPr/>
        </p:nvSpPr>
        <p:spPr>
          <a:xfrm>
            <a:off x="2968052" y="2572320"/>
            <a:ext cx="8989309" cy="1513058"/>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Calibri" panose="020F0502020204030204" pitchFamily="34" charset="0"/>
            </a:endParaRPr>
          </a:p>
        </p:txBody>
      </p:sp>
      <p:sp>
        <p:nvSpPr>
          <p:cNvPr id="28" name="Text Placeholder 5">
            <a:extLst>
              <a:ext uri="{FF2B5EF4-FFF2-40B4-BE49-F238E27FC236}">
                <a16:creationId xmlns:a16="http://schemas.microsoft.com/office/drawing/2014/main" id="{152C3B65-705B-FC5C-EDAD-B56FFE2E7561}"/>
              </a:ext>
            </a:extLst>
          </p:cNvPr>
          <p:cNvSpPr txBox="1">
            <a:spLocks/>
          </p:cNvSpPr>
          <p:nvPr/>
        </p:nvSpPr>
        <p:spPr>
          <a:xfrm>
            <a:off x="3017939" y="2963465"/>
            <a:ext cx="8947952"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71450" indent="-171450" algn="l" rtl="0">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Habilidades y cultura gerencial,</a:t>
            </a:r>
          </a:p>
          <a:p>
            <a:pPr marL="171450" indent="-171450" algn="l" rtl="0">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Crisis de venta de productos, base de clientes, dependencia, relaciones.</a:t>
            </a:r>
          </a:p>
          <a:p>
            <a:pPr marL="171450" indent="-171450" algn="l" rtl="0">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Sistemas de datos y herramientas de análisis interno y externo dentro del negocio</a:t>
            </a:r>
          </a:p>
          <a:p>
            <a:pPr marL="171450" indent="-171450" algn="l" rtl="0">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Crisis de ganancias y liquidez</a:t>
            </a:r>
          </a:p>
          <a:p>
            <a:pPr marL="171450" indent="-171450" algn="l" rtl="0">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Crisis operativa</a:t>
            </a:r>
          </a:p>
          <a:p>
            <a:pPr marL="171450" indent="-171450" algn="l" rtl="0">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Déficits tecnológicos: falta de habilidades y recursos</a:t>
            </a:r>
          </a:p>
          <a:p>
            <a:pPr marL="171450" indent="-171450" algn="l" rtl="0">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Crisis organizativa/personal</a:t>
            </a:r>
          </a:p>
        </p:txBody>
      </p:sp>
      <p:sp>
        <p:nvSpPr>
          <p:cNvPr id="29" name="Rectangle 28">
            <a:extLst>
              <a:ext uri="{FF2B5EF4-FFF2-40B4-BE49-F238E27FC236}">
                <a16:creationId xmlns:a16="http://schemas.microsoft.com/office/drawing/2014/main" id="{BDD3F0A1-DF76-3CC5-EA43-D7F0F2F8F0B1}"/>
              </a:ext>
            </a:extLst>
          </p:cNvPr>
          <p:cNvSpPr/>
          <p:nvPr/>
        </p:nvSpPr>
        <p:spPr>
          <a:xfrm>
            <a:off x="5860479" y="2595477"/>
            <a:ext cx="5975302" cy="353943"/>
          </a:xfrm>
          <a:prstGeom prst="rect">
            <a:avLst/>
          </a:prstGeom>
        </p:spPr>
        <p:txBody>
          <a:bodyPr wrap="square">
            <a:spAutoFit/>
          </a:bodyPr>
          <a:lstStyle/>
          <a:p>
            <a:pPr algn="l" rtl="0"/>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UNA CRISIS QUE PROVIENE DE FACTORES INTERNOS</a:t>
            </a:r>
            <a:endParaRPr lang="en-US" sz="1700" b="1" dirty="0">
              <a:solidFill>
                <a:srgbClr val="B41F7A"/>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2CAA178B-D257-47AD-3AE8-7D0126905FD7}"/>
              </a:ext>
            </a:extLst>
          </p:cNvPr>
          <p:cNvCxnSpPr>
            <a:cxnSpLocks/>
          </p:cNvCxnSpPr>
          <p:nvPr/>
        </p:nvCxnSpPr>
        <p:spPr>
          <a:xfrm>
            <a:off x="2944049" y="2934430"/>
            <a:ext cx="9012816"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44" name="Rounded Rectangle 43">
            <a:extLst>
              <a:ext uri="{FF2B5EF4-FFF2-40B4-BE49-F238E27FC236}">
                <a16:creationId xmlns:a16="http://schemas.microsoft.com/office/drawing/2014/main" id="{529FD0A8-E1E8-3716-5B14-A030FDBBBC6C}"/>
              </a:ext>
            </a:extLst>
          </p:cNvPr>
          <p:cNvSpPr/>
          <p:nvPr/>
        </p:nvSpPr>
        <p:spPr>
          <a:xfrm>
            <a:off x="2980442" y="4197308"/>
            <a:ext cx="9009846" cy="392400"/>
          </a:xfrm>
          <a:prstGeom prst="roundRect">
            <a:avLst>
              <a:gd name="adj" fmla="val 319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Calibri" panose="020F0502020204030204" pitchFamily="34" charset="0"/>
            </a:endParaRPr>
          </a:p>
        </p:txBody>
      </p:sp>
      <p:sp>
        <p:nvSpPr>
          <p:cNvPr id="46" name="Rectangle 45">
            <a:extLst>
              <a:ext uri="{FF2B5EF4-FFF2-40B4-BE49-F238E27FC236}">
                <a16:creationId xmlns:a16="http://schemas.microsoft.com/office/drawing/2014/main" id="{68030157-0956-DA93-62D7-1169188D5467}"/>
              </a:ext>
            </a:extLst>
          </p:cNvPr>
          <p:cNvSpPr/>
          <p:nvPr/>
        </p:nvSpPr>
        <p:spPr>
          <a:xfrm>
            <a:off x="3510035" y="4219575"/>
            <a:ext cx="8320943" cy="353943"/>
          </a:xfrm>
          <a:prstGeom prst="rect">
            <a:avLst/>
          </a:prstGeom>
        </p:spPr>
        <p:txBody>
          <a:bodyPr wrap="square">
            <a:spAutoFit/>
          </a:bodyPr>
          <a:lstStyle/>
          <a:p>
            <a:pPr algn="l" rtl="0"/>
            <a:r>
              <a:rPr lang="en-IE"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CULTURA DE LIDERAZGO, GESTIÓN DE GRUPOS DE INTERÉS Y COMUNICACIONES</a:t>
            </a:r>
          </a:p>
        </p:txBody>
      </p:sp>
      <p:sp>
        <p:nvSpPr>
          <p:cNvPr id="49" name="Rounded Rectangle 48">
            <a:extLst>
              <a:ext uri="{FF2B5EF4-FFF2-40B4-BE49-F238E27FC236}">
                <a16:creationId xmlns:a16="http://schemas.microsoft.com/office/drawing/2014/main" id="{777D8D7E-0D9A-0455-CBEF-1371A6716F34}"/>
              </a:ext>
            </a:extLst>
          </p:cNvPr>
          <p:cNvSpPr/>
          <p:nvPr/>
        </p:nvSpPr>
        <p:spPr>
          <a:xfrm>
            <a:off x="2980442" y="4701081"/>
            <a:ext cx="9009846" cy="518349"/>
          </a:xfrm>
          <a:prstGeom prst="roundRect">
            <a:avLst>
              <a:gd name="adj" fmla="val 309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Calibri" panose="020F0502020204030204" pitchFamily="34" charset="0"/>
            </a:endParaRPr>
          </a:p>
        </p:txBody>
      </p:sp>
      <p:sp>
        <p:nvSpPr>
          <p:cNvPr id="50" name="Rectangle 49">
            <a:extLst>
              <a:ext uri="{FF2B5EF4-FFF2-40B4-BE49-F238E27FC236}">
                <a16:creationId xmlns:a16="http://schemas.microsoft.com/office/drawing/2014/main" id="{ADF52507-0383-9169-CA75-DFEBCD0269F8}"/>
              </a:ext>
            </a:extLst>
          </p:cNvPr>
          <p:cNvSpPr/>
          <p:nvPr/>
        </p:nvSpPr>
        <p:spPr>
          <a:xfrm>
            <a:off x="5855676" y="4723452"/>
            <a:ext cx="6101189" cy="486543"/>
          </a:xfrm>
          <a:prstGeom prst="rect">
            <a:avLst/>
          </a:prstGeom>
        </p:spPr>
        <p:txBody>
          <a:bodyPr wrap="square">
            <a:spAutoFit/>
          </a:bodyPr>
          <a:lstStyle/>
          <a:p>
            <a:pPr algn="l" rtl="0">
              <a:lnSpc>
                <a:spcPts val="1540"/>
              </a:lnSpc>
            </a:pP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COMPRENSIÓN DE LOS RATIOS FINANCIEROS Y DE LIQUIDEZ E INSOLVENCIA COMO ENFOQUE DE REESTRUCTURACIÓN</a:t>
            </a:r>
          </a:p>
        </p:txBody>
      </p:sp>
      <p:sp>
        <p:nvSpPr>
          <p:cNvPr id="51" name="Rounded Rectangle 50">
            <a:extLst>
              <a:ext uri="{FF2B5EF4-FFF2-40B4-BE49-F238E27FC236}">
                <a16:creationId xmlns:a16="http://schemas.microsoft.com/office/drawing/2014/main" id="{9639D44A-E93B-DC5B-8D95-6C4C97BF0661}"/>
              </a:ext>
            </a:extLst>
          </p:cNvPr>
          <p:cNvSpPr/>
          <p:nvPr/>
        </p:nvSpPr>
        <p:spPr>
          <a:xfrm>
            <a:off x="3013347" y="5336331"/>
            <a:ext cx="9009846" cy="1366924"/>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latin typeface="Calibri" panose="020F0502020204030204" pitchFamily="34" charset="0"/>
            </a:endParaRPr>
          </a:p>
        </p:txBody>
      </p:sp>
      <p:sp>
        <p:nvSpPr>
          <p:cNvPr id="52" name="Text Placeholder 5">
            <a:extLst>
              <a:ext uri="{FF2B5EF4-FFF2-40B4-BE49-F238E27FC236}">
                <a16:creationId xmlns:a16="http://schemas.microsoft.com/office/drawing/2014/main" id="{78EF06B1-79E9-0704-E024-BFD25937B8B6}"/>
              </a:ext>
            </a:extLst>
          </p:cNvPr>
          <p:cNvSpPr txBox="1">
            <a:spLocks/>
          </p:cNvSpPr>
          <p:nvPr/>
        </p:nvSpPr>
        <p:spPr>
          <a:xfrm>
            <a:off x="3067106" y="5745569"/>
            <a:ext cx="8889760"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lgn="l" rtl="0">
              <a:lnSpc>
                <a:spcPts val="1520"/>
              </a:lnSpc>
              <a:buClr>
                <a:srgbClr val="F29E38"/>
              </a:buClr>
            </a:pPr>
            <a:r>
              <a:rPr lang="en-GB" sz="1600" dirty="0">
                <a:solidFill>
                  <a:srgbClr val="4B4B4B"/>
                </a:solidFill>
                <a:latin typeface="Calibri" panose="020F0502020204030204" pitchFamily="34" charset="0"/>
                <a:cs typeface="Calibri" panose="020F0502020204030204" pitchFamily="34" charset="0"/>
              </a:rPr>
              <a:t>Como PYME con recursos limitados, ¿cómo puede implementar sistemas de alerta temprana que le permitan detectar crisis en una etapa temprana antes de que tomen dimensiones que amenacen la existencia de la empresa?</a:t>
            </a:r>
          </a:p>
          <a:p>
            <a:pPr algn="l" rtl="0">
              <a:lnSpc>
                <a:spcPts val="1520"/>
              </a:lnSpc>
              <a:buClr>
                <a:srgbClr val="F29E38"/>
              </a:buClr>
            </a:pPr>
            <a:r>
              <a:rPr lang="en-GB" sz="1600" dirty="0">
                <a:solidFill>
                  <a:srgbClr val="4B4B4B"/>
                </a:solidFill>
                <a:latin typeface="Calibri" panose="020F0502020204030204" pitchFamily="34" charset="0"/>
                <a:cs typeface="Calibri" panose="020F0502020204030204" pitchFamily="34" charset="0"/>
              </a:rPr>
              <a:t>.</a:t>
            </a:r>
          </a:p>
        </p:txBody>
      </p:sp>
      <p:sp>
        <p:nvSpPr>
          <p:cNvPr id="53" name="Rectangle 52">
            <a:extLst>
              <a:ext uri="{FF2B5EF4-FFF2-40B4-BE49-F238E27FC236}">
                <a16:creationId xmlns:a16="http://schemas.microsoft.com/office/drawing/2014/main" id="{A6E1A3DB-C358-5E1A-FC80-75C73A25FF48}"/>
              </a:ext>
            </a:extLst>
          </p:cNvPr>
          <p:cNvSpPr/>
          <p:nvPr/>
        </p:nvSpPr>
        <p:spPr>
          <a:xfrm>
            <a:off x="3527984" y="5387397"/>
            <a:ext cx="8302994" cy="353943"/>
          </a:xfrm>
          <a:prstGeom prst="rect">
            <a:avLst/>
          </a:prstGeom>
        </p:spPr>
        <p:txBody>
          <a:bodyPr wrap="square">
            <a:spAutoFit/>
          </a:bodyPr>
          <a:lstStyle/>
          <a:p>
            <a:pPr algn="l" rtl="0"/>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SISTEMAS DE ALERTA TEMPRANA</a:t>
            </a:r>
          </a:p>
        </p:txBody>
      </p:sp>
      <p:cxnSp>
        <p:nvCxnSpPr>
          <p:cNvPr id="54" name="Straight Connector 53">
            <a:extLst>
              <a:ext uri="{FF2B5EF4-FFF2-40B4-BE49-F238E27FC236}">
                <a16:creationId xmlns:a16="http://schemas.microsoft.com/office/drawing/2014/main" id="{48E79B4A-2FC3-30C4-023E-4DA3AB0B8C49}"/>
              </a:ext>
            </a:extLst>
          </p:cNvPr>
          <p:cNvCxnSpPr>
            <a:cxnSpLocks/>
          </p:cNvCxnSpPr>
          <p:nvPr/>
        </p:nvCxnSpPr>
        <p:spPr>
          <a:xfrm>
            <a:off x="2944049" y="5709308"/>
            <a:ext cx="9079143"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57" name="Text Placeholder 4">
            <a:extLst>
              <a:ext uri="{FF2B5EF4-FFF2-40B4-BE49-F238E27FC236}">
                <a16:creationId xmlns:a16="http://schemas.microsoft.com/office/drawing/2014/main" id="{496F6F45-D811-6B5B-132C-DE6E739F8E65}"/>
              </a:ext>
            </a:extLst>
          </p:cNvPr>
          <p:cNvSpPr txBox="1">
            <a:spLocks/>
          </p:cNvSpPr>
          <p:nvPr/>
        </p:nvSpPr>
        <p:spPr>
          <a:xfrm>
            <a:off x="2569773" y="14237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lgn="l" rtl="0"/>
            <a:r>
              <a:rPr lang="en-IE" sz="1600" dirty="0">
                <a:solidFill>
                  <a:schemeClr val="bg1"/>
                </a:solidFill>
                <a:latin typeface="Calibri" panose="020F0502020204030204" pitchFamily="34" charset="0"/>
                <a:cs typeface="Calibri" panose="020F0502020204030204" pitchFamily="34" charset="0"/>
              </a:rPr>
              <a:t>MÓDULO 01</a:t>
            </a:r>
            <a:endParaRPr lang="en-US" sz="1600" dirty="0">
              <a:solidFill>
                <a:schemeClr val="bg1"/>
              </a:solidFill>
              <a:latin typeface="Calibri" panose="020F0502020204030204" pitchFamily="34" charset="0"/>
              <a:cs typeface="Calibri" panose="020F0502020204030204" pitchFamily="34" charset="0"/>
            </a:endParaRPr>
          </a:p>
        </p:txBody>
      </p:sp>
      <p:sp>
        <p:nvSpPr>
          <p:cNvPr id="62" name="Text Placeholder 4">
            <a:extLst>
              <a:ext uri="{FF2B5EF4-FFF2-40B4-BE49-F238E27FC236}">
                <a16:creationId xmlns:a16="http://schemas.microsoft.com/office/drawing/2014/main" id="{16534864-1C25-1182-C98F-DD21FEECF91E}"/>
              </a:ext>
            </a:extLst>
          </p:cNvPr>
          <p:cNvSpPr txBox="1">
            <a:spLocks/>
          </p:cNvSpPr>
          <p:nvPr/>
        </p:nvSpPr>
        <p:spPr>
          <a:xfrm>
            <a:off x="2569773" y="1377379"/>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lgn="l" rtl="0"/>
            <a:r>
              <a:rPr lang="en-IE" sz="1600" dirty="0">
                <a:solidFill>
                  <a:schemeClr val="bg1"/>
                </a:solidFill>
                <a:latin typeface="Calibri" panose="020F0502020204030204" pitchFamily="34" charset="0"/>
                <a:cs typeface="Calibri" panose="020F0502020204030204" pitchFamily="34" charset="0"/>
              </a:rPr>
              <a:t>MÓDULO 02</a:t>
            </a:r>
            <a:endParaRPr lang="en-US" sz="1600" dirty="0">
              <a:solidFill>
                <a:schemeClr val="bg1"/>
              </a:solidFill>
              <a:latin typeface="Calibri" panose="020F0502020204030204" pitchFamily="34" charset="0"/>
              <a:cs typeface="Calibri" panose="020F0502020204030204" pitchFamily="34" charset="0"/>
            </a:endParaRPr>
          </a:p>
        </p:txBody>
      </p:sp>
      <p:sp>
        <p:nvSpPr>
          <p:cNvPr id="64" name="Text Placeholder 4">
            <a:extLst>
              <a:ext uri="{FF2B5EF4-FFF2-40B4-BE49-F238E27FC236}">
                <a16:creationId xmlns:a16="http://schemas.microsoft.com/office/drawing/2014/main" id="{A5F664FE-7982-7DC0-7903-5F2A59708D6F}"/>
              </a:ext>
            </a:extLst>
          </p:cNvPr>
          <p:cNvSpPr txBox="1">
            <a:spLocks/>
          </p:cNvSpPr>
          <p:nvPr/>
        </p:nvSpPr>
        <p:spPr>
          <a:xfrm>
            <a:off x="2569773" y="2555744"/>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lgn="l" rtl="0"/>
            <a:r>
              <a:rPr lang="en-IE" sz="1600" dirty="0">
                <a:solidFill>
                  <a:schemeClr val="bg1"/>
                </a:solidFill>
                <a:latin typeface="Calibri" panose="020F0502020204030204" pitchFamily="34" charset="0"/>
                <a:cs typeface="Calibri" panose="020F0502020204030204" pitchFamily="34" charset="0"/>
              </a:rPr>
              <a:t>MÓDULO 03</a:t>
            </a:r>
            <a:endParaRPr lang="en-US" sz="1600" dirty="0">
              <a:solidFill>
                <a:schemeClr val="bg1"/>
              </a:solidFill>
              <a:latin typeface="Calibri" panose="020F0502020204030204" pitchFamily="34" charset="0"/>
              <a:cs typeface="Calibri" panose="020F0502020204030204" pitchFamily="34" charset="0"/>
            </a:endParaRPr>
          </a:p>
        </p:txBody>
      </p:sp>
      <p:sp>
        <p:nvSpPr>
          <p:cNvPr id="65" name="Text Placeholder 4">
            <a:extLst>
              <a:ext uri="{FF2B5EF4-FFF2-40B4-BE49-F238E27FC236}">
                <a16:creationId xmlns:a16="http://schemas.microsoft.com/office/drawing/2014/main" id="{CB0473A0-F62E-1EE0-F713-F5CC99DD5045}"/>
              </a:ext>
            </a:extLst>
          </p:cNvPr>
          <p:cNvSpPr txBox="1">
            <a:spLocks/>
          </p:cNvSpPr>
          <p:nvPr/>
        </p:nvSpPr>
        <p:spPr>
          <a:xfrm>
            <a:off x="2569773" y="4208602"/>
            <a:ext cx="1463952" cy="392400"/>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lgn="l" rtl="0"/>
            <a:r>
              <a:rPr lang="en-IE" sz="1600" dirty="0">
                <a:solidFill>
                  <a:schemeClr val="bg1"/>
                </a:solidFill>
                <a:latin typeface="Calibri" panose="020F0502020204030204" pitchFamily="34" charset="0"/>
                <a:cs typeface="Calibri" panose="020F0502020204030204" pitchFamily="34" charset="0"/>
              </a:rPr>
              <a:t>MÓDULO 04</a:t>
            </a:r>
            <a:endParaRPr lang="en-US" sz="1600" dirty="0">
              <a:solidFill>
                <a:schemeClr val="bg1"/>
              </a:solidFill>
              <a:latin typeface="Calibri" panose="020F0502020204030204" pitchFamily="34" charset="0"/>
              <a:cs typeface="Calibri" panose="020F0502020204030204" pitchFamily="34" charset="0"/>
            </a:endParaRPr>
          </a:p>
        </p:txBody>
      </p:sp>
      <p:sp>
        <p:nvSpPr>
          <p:cNvPr id="66" name="Text Placeholder 4">
            <a:extLst>
              <a:ext uri="{FF2B5EF4-FFF2-40B4-BE49-F238E27FC236}">
                <a16:creationId xmlns:a16="http://schemas.microsoft.com/office/drawing/2014/main" id="{0B100C19-528C-CBCC-D5B7-058C07509ECC}"/>
              </a:ext>
            </a:extLst>
          </p:cNvPr>
          <p:cNvSpPr txBox="1">
            <a:spLocks/>
          </p:cNvSpPr>
          <p:nvPr/>
        </p:nvSpPr>
        <p:spPr>
          <a:xfrm>
            <a:off x="2569773" y="4715494"/>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lgn="l" rtl="0"/>
            <a:r>
              <a:rPr lang="en-IE" sz="1600" dirty="0">
                <a:solidFill>
                  <a:schemeClr val="bg1"/>
                </a:solidFill>
                <a:latin typeface="Calibri" panose="020F0502020204030204" pitchFamily="34" charset="0"/>
                <a:cs typeface="Calibri" panose="020F0502020204030204" pitchFamily="34" charset="0"/>
              </a:rPr>
              <a:t>MÓDULO 05</a:t>
            </a:r>
            <a:endParaRPr lang="en-US" sz="1600" dirty="0">
              <a:solidFill>
                <a:schemeClr val="bg1"/>
              </a:solidFill>
              <a:latin typeface="Calibri" panose="020F0502020204030204" pitchFamily="34" charset="0"/>
              <a:cs typeface="Calibri" panose="020F0502020204030204" pitchFamily="34" charset="0"/>
            </a:endParaRPr>
          </a:p>
        </p:txBody>
      </p:sp>
      <p:sp>
        <p:nvSpPr>
          <p:cNvPr id="69" name="Text Placeholder 4">
            <a:extLst>
              <a:ext uri="{FF2B5EF4-FFF2-40B4-BE49-F238E27FC236}">
                <a16:creationId xmlns:a16="http://schemas.microsoft.com/office/drawing/2014/main" id="{43DCCEA6-6A2A-CCBA-2094-FA8DC0EC4CA1}"/>
              </a:ext>
            </a:extLst>
          </p:cNvPr>
          <p:cNvSpPr txBox="1">
            <a:spLocks/>
          </p:cNvSpPr>
          <p:nvPr/>
        </p:nvSpPr>
        <p:spPr>
          <a:xfrm>
            <a:off x="2559632" y="533367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lgn="l" rtl="0"/>
            <a:r>
              <a:rPr lang="en-IE" sz="1600" dirty="0">
                <a:solidFill>
                  <a:schemeClr val="bg1"/>
                </a:solidFill>
                <a:latin typeface="Calibri" panose="020F0502020204030204" pitchFamily="34" charset="0"/>
                <a:cs typeface="Calibri" panose="020F0502020204030204" pitchFamily="34" charset="0"/>
              </a:rPr>
              <a:t>MÓDULO 06</a:t>
            </a:r>
            <a:endParaRPr lang="en-US" sz="16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908334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3"/>
            <a:ext cx="3249234" cy="1875850"/>
          </a:xfrm>
        </p:spPr>
        <p:txBody>
          <a:bodyPr>
            <a:normAutofit fontScale="92500" lnSpcReduction="10000"/>
          </a:bodyPr>
          <a:lstStyle/>
          <a:p>
            <a:pPr algn="l" rtl="0"/>
            <a:r>
              <a:rPr lang="en-GB" dirty="0">
                <a:solidFill>
                  <a:schemeClr val="bg1"/>
                </a:solidFill>
              </a:rPr>
              <a:t>Cuatro principios fundamentales del liderazgo adaptativo</a:t>
            </a:r>
          </a:p>
        </p:txBody>
      </p:sp>
      <p:sp>
        <p:nvSpPr>
          <p:cNvPr id="104" name="TextBox 40">
            <a:extLst>
              <a:ext uri="{FF2B5EF4-FFF2-40B4-BE49-F238E27FC236}">
                <a16:creationId xmlns:a16="http://schemas.microsoft.com/office/drawing/2014/main" id="{BC99318B-D0FF-4921-B814-4CD6119D1E35}"/>
              </a:ext>
            </a:extLst>
          </p:cNvPr>
          <p:cNvSpPr txBox="1"/>
          <p:nvPr/>
        </p:nvSpPr>
        <p:spPr>
          <a:xfrm>
            <a:off x="5775375" y="491603"/>
            <a:ext cx="6169824" cy="7540526"/>
          </a:xfrm>
          <a:prstGeom prst="rect">
            <a:avLst/>
          </a:prstGeom>
          <a:noFill/>
        </p:spPr>
        <p:txBody>
          <a:bodyPr wrap="square" rtlCol="0">
            <a:spAutoFit/>
          </a:bodyPr>
          <a:lstStyle/>
          <a:p>
            <a:pPr lvl="0" algn="l" rtl="0">
              <a:defRPr/>
            </a:pPr>
            <a:r>
              <a:rPr lang="en-US" sz="2800" dirty="0">
                <a:solidFill>
                  <a:srgbClr val="F16924"/>
                </a:solidFill>
              </a:rPr>
              <a:t>03</a:t>
            </a:r>
            <a:r>
              <a:rPr lang="en-GB" sz="2800" b="1" dirty="0">
                <a:solidFill>
                  <a:srgbClr val="B41F7A"/>
                </a:solidFill>
                <a:ea typeface="Roboto" charset="0"/>
                <a:cs typeface="Roboto" charset="0"/>
              </a:rPr>
              <a:t>Desarrollo</a:t>
            </a:r>
          </a:p>
          <a:p>
            <a:pPr lvl="0" algn="l" rtl="0">
              <a:defRPr/>
            </a:pPr>
            <a:r>
              <a:rPr lang="en-GB" sz="2200" dirty="0">
                <a:solidFill>
                  <a:srgbClr val="595959"/>
                </a:solidFill>
                <a:ea typeface="Roboto" charset="0"/>
                <a:cs typeface="Roboto" charset="0"/>
              </a:rPr>
              <a:t>El liderazgo adaptativo implica aprender cosas nuevas. Si una técnica no está dando los resultados deseados, un líder adaptable hace todo lo posible para descubrir nuevas estrategias que puedan funcionar. Con las nuevas técnicas, tanto los empleados como la empresa en general experimentarán crecimiento y desarrollo.</a:t>
            </a:r>
          </a:p>
          <a:p>
            <a:pPr lvl="0" algn="l" rtl="0">
              <a:defRPr/>
            </a:pPr>
            <a:endParaRPr lang="en-GB" sz="2200" dirty="0">
              <a:solidFill>
                <a:srgbClr val="595959"/>
              </a:solidFill>
              <a:ea typeface="Roboto" charset="0"/>
              <a:cs typeface="Roboto" charset="0"/>
            </a:endParaRPr>
          </a:p>
          <a:p>
            <a:pPr lvl="0" algn="l" rtl="0">
              <a:defRPr/>
            </a:pPr>
            <a:endParaRPr lang="en-GB" sz="3200" dirty="0">
              <a:solidFill>
                <a:srgbClr val="595959"/>
              </a:solidFill>
              <a:ea typeface="Roboto" charset="0"/>
              <a:cs typeface="Roboto" charset="0"/>
            </a:endParaRPr>
          </a:p>
          <a:p>
            <a:pPr lvl="0" algn="l" rtl="0">
              <a:defRPr/>
            </a:pPr>
            <a:r>
              <a:rPr lang="en-US" sz="2800" dirty="0">
                <a:solidFill>
                  <a:srgbClr val="F16924"/>
                </a:solidFill>
              </a:rPr>
              <a:t>04</a:t>
            </a:r>
            <a:r>
              <a:rPr lang="en-GB" sz="2800" b="1" dirty="0">
                <a:solidFill>
                  <a:srgbClr val="B41F7A"/>
                </a:solidFill>
                <a:ea typeface="Roboto" charset="0"/>
                <a:cs typeface="Roboto" charset="0"/>
              </a:rPr>
              <a:t>Personaje</a:t>
            </a:r>
          </a:p>
          <a:p>
            <a:pPr lvl="0" algn="l" rtl="0">
              <a:defRPr/>
            </a:pPr>
            <a:r>
              <a:rPr lang="en-GB" sz="2200" dirty="0">
                <a:solidFill>
                  <a:srgbClr val="595959"/>
                </a:solidFill>
                <a:ea typeface="Roboto" charset="0"/>
                <a:cs typeface="Roboto" charset="0"/>
              </a:rPr>
              <a:t>El liderazgo adaptativo consiste en tener un profundo sentido del carácter, ser transparente y creativo. Es posible que los líderes adaptativos no siempre tengan razón, pero se ganan el respeto de aquellos con quienes trabajan y practican lo que recomiendan.</a:t>
            </a:r>
          </a:p>
          <a:p>
            <a:pPr lvl="0" algn="l" rtl="0">
              <a:defRPr/>
            </a:pPr>
            <a:endParaRPr lang="en-GB" sz="2200" b="1" dirty="0">
              <a:solidFill>
                <a:srgbClr val="595959"/>
              </a:solidFill>
              <a:ea typeface="Roboto" charset="0"/>
              <a:cs typeface="Roboto" charset="0"/>
            </a:endParaRPr>
          </a:p>
          <a:p>
            <a:pPr lvl="0" algn="l" rtl="0">
              <a:defRPr/>
            </a:pPr>
            <a:endParaRPr lang="en-GB" sz="2200" b="1" dirty="0">
              <a:solidFill>
                <a:srgbClr val="595959"/>
              </a:solidFill>
              <a:ea typeface="Roboto" charset="0"/>
              <a:cs typeface="Roboto" charset="0"/>
            </a:endParaRPr>
          </a:p>
          <a:p>
            <a:pPr lvl="0" algn="l" rtl="0">
              <a:defRPr/>
            </a:pPr>
            <a:r>
              <a:rPr lang="en-GB" sz="2200" b="1" dirty="0">
                <a:solidFill>
                  <a:srgbClr val="595959"/>
                </a:solidFill>
                <a:ea typeface="Roboto" charset="0"/>
                <a:cs typeface="Roboto" charset="0"/>
              </a:rPr>
              <a:t> </a:t>
            </a:r>
          </a:p>
          <a:p>
            <a:pPr lvl="0" algn="l" rtl="0">
              <a:defRPr/>
            </a:pPr>
            <a:endParaRPr lang="en-GB" sz="2200" b="1" dirty="0">
              <a:solidFill>
                <a:srgbClr val="595959"/>
              </a:solidFill>
              <a:ea typeface="Roboto" charset="0"/>
              <a:cs typeface="Roboto" charset="0"/>
            </a:endParaRPr>
          </a:p>
          <a:p>
            <a:pPr lvl="0" algn="l" rtl="0">
              <a:defRPr/>
            </a:pPr>
            <a:endParaRPr lang="en-GB" sz="2200" b="1" dirty="0">
              <a:solidFill>
                <a:srgbClr val="595959"/>
              </a:solidFill>
              <a:ea typeface="Roboto" charset="0"/>
              <a:cs typeface="Roboto"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200" b="1" i="0" u="none" strike="noStrike" kern="1200" cap="none" spc="0" normalizeH="0" baseline="0" noProof="0" dirty="0">
              <a:ln>
                <a:noFill/>
              </a:ln>
              <a:solidFill>
                <a:srgbClr val="595959"/>
              </a:solidFill>
              <a:effectLst/>
              <a:uLnTx/>
              <a:uFillTx/>
              <a:ea typeface="Roboto" charset="0"/>
              <a:cs typeface="Roboto" charset="0"/>
            </a:endParaRPr>
          </a:p>
        </p:txBody>
      </p:sp>
      <p:sp>
        <p:nvSpPr>
          <p:cNvPr id="8" name="Rectangle 7">
            <a:extLst>
              <a:ext uri="{FF2B5EF4-FFF2-40B4-BE49-F238E27FC236}">
                <a16:creationId xmlns:a16="http://schemas.microsoft.com/office/drawing/2014/main" id="{14F9744D-3107-97CB-5B61-61E5B24B2E44}"/>
              </a:ext>
            </a:extLst>
          </p:cNvPr>
          <p:cNvSpPr/>
          <p:nvPr/>
        </p:nvSpPr>
        <p:spPr>
          <a:xfrm>
            <a:off x="378756" y="2443311"/>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Calibri" panose="020F0502020204030204" pitchFamily="34" charset="0"/>
              <a:cs typeface="Calibri" panose="020F0502020204030204" pitchFamily="34" charset="0"/>
            </a:endParaRPr>
          </a:p>
        </p:txBody>
      </p:sp>
      <p:grpSp>
        <p:nvGrpSpPr>
          <p:cNvPr id="30" name="Group 29">
            <a:extLst>
              <a:ext uri="{FF2B5EF4-FFF2-40B4-BE49-F238E27FC236}">
                <a16:creationId xmlns:a16="http://schemas.microsoft.com/office/drawing/2014/main" id="{F0FE1B05-3855-8C18-61BC-529127DE17EE}"/>
              </a:ext>
            </a:extLst>
          </p:cNvPr>
          <p:cNvGrpSpPr/>
          <p:nvPr/>
        </p:nvGrpSpPr>
        <p:grpSpPr>
          <a:xfrm>
            <a:off x="4499771" y="3704861"/>
            <a:ext cx="874626" cy="976884"/>
            <a:chOff x="8865150" y="2423597"/>
            <a:chExt cx="667915" cy="746005"/>
          </a:xfrm>
          <a:solidFill>
            <a:srgbClr val="595959"/>
          </a:solidFill>
        </p:grpSpPr>
        <p:sp>
          <p:nvSpPr>
            <p:cNvPr id="31" name="Freeform 30">
              <a:extLst>
                <a:ext uri="{FF2B5EF4-FFF2-40B4-BE49-F238E27FC236}">
                  <a16:creationId xmlns:a16="http://schemas.microsoft.com/office/drawing/2014/main" id="{500C7EA6-5BBA-F5E9-F861-EC3AE8C8E70B}"/>
                </a:ext>
              </a:extLst>
            </p:cNvPr>
            <p:cNvSpPr/>
            <p:nvPr/>
          </p:nvSpPr>
          <p:spPr>
            <a:xfrm>
              <a:off x="9086825" y="2589670"/>
              <a:ext cx="283642" cy="260156"/>
            </a:xfrm>
            <a:custGeom>
              <a:avLst/>
              <a:gdLst>
                <a:gd name="connsiteX0" fmla="*/ 68652 w 283642"/>
                <a:gd name="connsiteY0" fmla="*/ 84912 h 260156"/>
                <a:gd name="connsiteX1" fmla="*/ 141821 w 283642"/>
                <a:gd name="connsiteY1" fmla="*/ 2710 h 260156"/>
                <a:gd name="connsiteX2" fmla="*/ 214990 w 283642"/>
                <a:gd name="connsiteY2" fmla="*/ 84912 h 260156"/>
                <a:gd name="connsiteX3" fmla="*/ 68652 w 283642"/>
                <a:gd name="connsiteY3" fmla="*/ 84912 h 260156"/>
                <a:gd name="connsiteX4" fmla="*/ 221314 w 283642"/>
                <a:gd name="connsiteY4" fmla="*/ 110205 h 260156"/>
                <a:gd name="connsiteX5" fmla="*/ 140918 w 283642"/>
                <a:gd name="connsiteY5" fmla="*/ 260156 h 260156"/>
                <a:gd name="connsiteX6" fmla="*/ 60522 w 283642"/>
                <a:gd name="connsiteY6" fmla="*/ 110205 h 260156"/>
                <a:gd name="connsiteX7" fmla="*/ 221314 w 283642"/>
                <a:gd name="connsiteY7" fmla="*/ 110205 h 260156"/>
                <a:gd name="connsiteX8" fmla="*/ 53296 w 283642"/>
                <a:gd name="connsiteY8" fmla="*/ 64136 h 260156"/>
                <a:gd name="connsiteX9" fmla="*/ 53296 w 283642"/>
                <a:gd name="connsiteY9" fmla="*/ 7226 h 260156"/>
                <a:gd name="connsiteX10" fmla="*/ 110205 w 283642"/>
                <a:gd name="connsiteY10" fmla="*/ 0 h 260156"/>
                <a:gd name="connsiteX11" fmla="*/ 53296 w 283642"/>
                <a:gd name="connsiteY11" fmla="*/ 64136 h 260156"/>
                <a:gd name="connsiteX12" fmla="*/ 28003 w 283642"/>
                <a:gd name="connsiteY12" fmla="*/ 84912 h 260156"/>
                <a:gd name="connsiteX13" fmla="*/ 0 w 283642"/>
                <a:gd name="connsiteY13" fmla="*/ 84912 h 260156"/>
                <a:gd name="connsiteX14" fmla="*/ 28003 w 283642"/>
                <a:gd name="connsiteY14" fmla="*/ 40649 h 260156"/>
                <a:gd name="connsiteX15" fmla="*/ 28003 w 283642"/>
                <a:gd name="connsiteY15" fmla="*/ 84912 h 260156"/>
                <a:gd name="connsiteX16" fmla="*/ 32519 w 283642"/>
                <a:gd name="connsiteY16" fmla="*/ 110205 h 260156"/>
                <a:gd name="connsiteX17" fmla="*/ 76782 w 283642"/>
                <a:gd name="connsiteY17" fmla="*/ 194214 h 260156"/>
                <a:gd name="connsiteX18" fmla="*/ 4517 w 283642"/>
                <a:gd name="connsiteY18" fmla="*/ 110205 h 260156"/>
                <a:gd name="connsiteX19" fmla="*/ 32519 w 283642"/>
                <a:gd name="connsiteY19" fmla="*/ 110205 h 260156"/>
                <a:gd name="connsiteX20" fmla="*/ 250220 w 283642"/>
                <a:gd name="connsiteY20" fmla="*/ 110205 h 260156"/>
                <a:gd name="connsiteX21" fmla="*/ 278223 w 283642"/>
                <a:gd name="connsiteY21" fmla="*/ 110205 h 260156"/>
                <a:gd name="connsiteX22" fmla="*/ 205957 w 283642"/>
                <a:gd name="connsiteY22" fmla="*/ 194214 h 260156"/>
                <a:gd name="connsiteX23" fmla="*/ 250220 w 283642"/>
                <a:gd name="connsiteY23" fmla="*/ 110205 h 260156"/>
                <a:gd name="connsiteX24" fmla="*/ 255640 w 283642"/>
                <a:gd name="connsiteY24" fmla="*/ 84912 h 260156"/>
                <a:gd name="connsiteX25" fmla="*/ 255640 w 283642"/>
                <a:gd name="connsiteY25" fmla="*/ 40649 h 260156"/>
                <a:gd name="connsiteX26" fmla="*/ 283643 w 283642"/>
                <a:gd name="connsiteY26" fmla="*/ 84912 h 260156"/>
                <a:gd name="connsiteX27" fmla="*/ 255640 w 283642"/>
                <a:gd name="connsiteY27" fmla="*/ 84912 h 260156"/>
                <a:gd name="connsiteX28" fmla="*/ 230347 w 283642"/>
                <a:gd name="connsiteY28" fmla="*/ 64136 h 260156"/>
                <a:gd name="connsiteX29" fmla="*/ 173437 w 283642"/>
                <a:gd name="connsiteY29" fmla="*/ 0 h 260156"/>
                <a:gd name="connsiteX30" fmla="*/ 230347 w 283642"/>
                <a:gd name="connsiteY30" fmla="*/ 7226 h 260156"/>
                <a:gd name="connsiteX31" fmla="*/ 230347 w 283642"/>
                <a:gd name="connsiteY31" fmla="*/ 64136 h 26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3642" h="260156">
                  <a:moveTo>
                    <a:pt x="68652" y="84912"/>
                  </a:moveTo>
                  <a:lnTo>
                    <a:pt x="141821" y="2710"/>
                  </a:lnTo>
                  <a:lnTo>
                    <a:pt x="214990" y="84912"/>
                  </a:lnTo>
                  <a:lnTo>
                    <a:pt x="68652" y="84912"/>
                  </a:lnTo>
                  <a:close/>
                  <a:moveTo>
                    <a:pt x="221314" y="110205"/>
                  </a:moveTo>
                  <a:lnTo>
                    <a:pt x="140918" y="260156"/>
                  </a:lnTo>
                  <a:lnTo>
                    <a:pt x="60522" y="110205"/>
                  </a:lnTo>
                  <a:lnTo>
                    <a:pt x="221314" y="110205"/>
                  </a:lnTo>
                  <a:close/>
                  <a:moveTo>
                    <a:pt x="53296" y="64136"/>
                  </a:moveTo>
                  <a:lnTo>
                    <a:pt x="53296" y="7226"/>
                  </a:lnTo>
                  <a:lnTo>
                    <a:pt x="110205" y="0"/>
                  </a:lnTo>
                  <a:lnTo>
                    <a:pt x="53296" y="64136"/>
                  </a:lnTo>
                  <a:close/>
                  <a:moveTo>
                    <a:pt x="28003" y="84912"/>
                  </a:moveTo>
                  <a:lnTo>
                    <a:pt x="0" y="84912"/>
                  </a:lnTo>
                  <a:lnTo>
                    <a:pt x="28003" y="40649"/>
                  </a:lnTo>
                  <a:lnTo>
                    <a:pt x="28003" y="84912"/>
                  </a:lnTo>
                  <a:close/>
                  <a:moveTo>
                    <a:pt x="32519" y="110205"/>
                  </a:moveTo>
                  <a:lnTo>
                    <a:pt x="76782" y="194214"/>
                  </a:lnTo>
                  <a:lnTo>
                    <a:pt x="4517" y="110205"/>
                  </a:lnTo>
                  <a:lnTo>
                    <a:pt x="32519" y="110205"/>
                  </a:lnTo>
                  <a:close/>
                  <a:moveTo>
                    <a:pt x="250220" y="110205"/>
                  </a:moveTo>
                  <a:lnTo>
                    <a:pt x="278223" y="110205"/>
                  </a:lnTo>
                  <a:lnTo>
                    <a:pt x="205957" y="194214"/>
                  </a:lnTo>
                  <a:lnTo>
                    <a:pt x="250220" y="110205"/>
                  </a:lnTo>
                  <a:close/>
                  <a:moveTo>
                    <a:pt x="255640" y="84912"/>
                  </a:moveTo>
                  <a:lnTo>
                    <a:pt x="255640" y="40649"/>
                  </a:lnTo>
                  <a:lnTo>
                    <a:pt x="283643" y="84912"/>
                  </a:lnTo>
                  <a:lnTo>
                    <a:pt x="255640" y="84912"/>
                  </a:lnTo>
                  <a:close/>
                  <a:moveTo>
                    <a:pt x="230347" y="64136"/>
                  </a:moveTo>
                  <a:lnTo>
                    <a:pt x="173437" y="0"/>
                  </a:lnTo>
                  <a:lnTo>
                    <a:pt x="230347" y="7226"/>
                  </a:lnTo>
                  <a:lnTo>
                    <a:pt x="230347" y="64136"/>
                  </a:lnTo>
                  <a:close/>
                </a:path>
              </a:pathLst>
            </a:custGeom>
            <a:solidFill>
              <a:srgbClr val="F16924"/>
            </a:solid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grpSp>
          <p:nvGrpSpPr>
            <p:cNvPr id="32" name="Graphic 2">
              <a:extLst>
                <a:ext uri="{FF2B5EF4-FFF2-40B4-BE49-F238E27FC236}">
                  <a16:creationId xmlns:a16="http://schemas.microsoft.com/office/drawing/2014/main" id="{320D3D29-5770-477E-4400-519F3A218153}"/>
                </a:ext>
              </a:extLst>
            </p:cNvPr>
            <p:cNvGrpSpPr/>
            <p:nvPr/>
          </p:nvGrpSpPr>
          <p:grpSpPr>
            <a:xfrm>
              <a:off x="8865150" y="2423597"/>
              <a:ext cx="667915" cy="746005"/>
              <a:chOff x="8865150" y="2423597"/>
              <a:chExt cx="667915" cy="746005"/>
            </a:xfrm>
            <a:grpFill/>
          </p:grpSpPr>
          <p:sp>
            <p:nvSpPr>
              <p:cNvPr id="33" name="Freeform 32">
                <a:extLst>
                  <a:ext uri="{FF2B5EF4-FFF2-40B4-BE49-F238E27FC236}">
                    <a16:creationId xmlns:a16="http://schemas.microsoft.com/office/drawing/2014/main" id="{D3C55E7D-0164-29B8-793F-EE6CF7818888}"/>
                  </a:ext>
                </a:extLst>
              </p:cNvPr>
              <p:cNvSpPr/>
              <p:nvPr/>
            </p:nvSpPr>
            <p:spPr>
              <a:xfrm>
                <a:off x="9507773" y="2947385"/>
                <a:ext cx="25293" cy="25293"/>
              </a:xfrm>
              <a:custGeom>
                <a:avLst/>
                <a:gdLst>
                  <a:gd name="connsiteX0" fmla="*/ 25293 w 25293"/>
                  <a:gd name="connsiteY0" fmla="*/ 12647 h 25293"/>
                  <a:gd name="connsiteX1" fmla="*/ 12646 w 25293"/>
                  <a:gd name="connsiteY1" fmla="*/ 25293 h 25293"/>
                  <a:gd name="connsiteX2" fmla="*/ -1 w 25293"/>
                  <a:gd name="connsiteY2" fmla="*/ 12647 h 25293"/>
                  <a:gd name="connsiteX3" fmla="*/ 12646 w 25293"/>
                  <a:gd name="connsiteY3" fmla="*/ 0 h 25293"/>
                  <a:gd name="connsiteX4" fmla="*/ 25293 w 25293"/>
                  <a:gd name="connsiteY4" fmla="*/ 12647 h 25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93" h="25293">
                    <a:moveTo>
                      <a:pt x="25293" y="12647"/>
                    </a:moveTo>
                    <a:cubicBezTo>
                      <a:pt x="25293" y="19631"/>
                      <a:pt x="19631" y="25293"/>
                      <a:pt x="12646" y="25293"/>
                    </a:cubicBezTo>
                    <a:cubicBezTo>
                      <a:pt x="5662" y="25293"/>
                      <a:pt x="-1" y="19631"/>
                      <a:pt x="-1" y="12647"/>
                    </a:cubicBezTo>
                    <a:cubicBezTo>
                      <a:pt x="-1" y="5662"/>
                      <a:pt x="5662" y="0"/>
                      <a:pt x="12646" y="0"/>
                    </a:cubicBezTo>
                    <a:cubicBezTo>
                      <a:pt x="19631" y="0"/>
                      <a:pt x="25293" y="5662"/>
                      <a:pt x="25293" y="12647"/>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34" name="Freeform 33">
                <a:extLst>
                  <a:ext uri="{FF2B5EF4-FFF2-40B4-BE49-F238E27FC236}">
                    <a16:creationId xmlns:a16="http://schemas.microsoft.com/office/drawing/2014/main" id="{8774BB34-A262-E68D-1208-02852D1F5C6D}"/>
                  </a:ext>
                </a:extLst>
              </p:cNvPr>
              <p:cNvSpPr/>
              <p:nvPr/>
            </p:nvSpPr>
            <p:spPr>
              <a:xfrm>
                <a:off x="8875448" y="2466818"/>
                <a:ext cx="75879" cy="75879"/>
              </a:xfrm>
              <a:custGeom>
                <a:avLst/>
                <a:gdLst>
                  <a:gd name="connsiteX0" fmla="*/ 37940 w 75879"/>
                  <a:gd name="connsiteY0" fmla="*/ 75879 h 75879"/>
                  <a:gd name="connsiteX1" fmla="*/ 75879 w 75879"/>
                  <a:gd name="connsiteY1" fmla="*/ 37940 h 75879"/>
                  <a:gd name="connsiteX2" fmla="*/ 37940 w 75879"/>
                  <a:gd name="connsiteY2" fmla="*/ 0 h 75879"/>
                  <a:gd name="connsiteX3" fmla="*/ 0 w 75879"/>
                  <a:gd name="connsiteY3" fmla="*/ 37940 h 75879"/>
                  <a:gd name="connsiteX4" fmla="*/ 37940 w 75879"/>
                  <a:gd name="connsiteY4" fmla="*/ 75879 h 75879"/>
                  <a:gd name="connsiteX5" fmla="*/ 37940 w 75879"/>
                  <a:gd name="connsiteY5" fmla="*/ 25293 h 75879"/>
                  <a:gd name="connsiteX6" fmla="*/ 50586 w 75879"/>
                  <a:gd name="connsiteY6" fmla="*/ 37940 h 75879"/>
                  <a:gd name="connsiteX7" fmla="*/ 37940 w 75879"/>
                  <a:gd name="connsiteY7" fmla="*/ 50586 h 75879"/>
                  <a:gd name="connsiteX8" fmla="*/ 25293 w 75879"/>
                  <a:gd name="connsiteY8" fmla="*/ 37940 h 75879"/>
                  <a:gd name="connsiteX9" fmla="*/ 37940 w 75879"/>
                  <a:gd name="connsiteY9" fmla="*/ 25293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79" h="75879">
                    <a:moveTo>
                      <a:pt x="37940" y="75879"/>
                    </a:moveTo>
                    <a:cubicBezTo>
                      <a:pt x="58716" y="75879"/>
                      <a:pt x="75879" y="58716"/>
                      <a:pt x="75879" y="37940"/>
                    </a:cubicBezTo>
                    <a:cubicBezTo>
                      <a:pt x="75879" y="17163"/>
                      <a:pt x="58716" y="0"/>
                      <a:pt x="37940" y="0"/>
                    </a:cubicBezTo>
                    <a:cubicBezTo>
                      <a:pt x="17163" y="0"/>
                      <a:pt x="0" y="17163"/>
                      <a:pt x="0" y="37940"/>
                    </a:cubicBezTo>
                    <a:cubicBezTo>
                      <a:pt x="0" y="58716"/>
                      <a:pt x="17163" y="75879"/>
                      <a:pt x="37940" y="75879"/>
                    </a:cubicBezTo>
                    <a:close/>
                    <a:moveTo>
                      <a:pt x="37940" y="25293"/>
                    </a:moveTo>
                    <a:cubicBezTo>
                      <a:pt x="45166" y="25293"/>
                      <a:pt x="50586" y="30713"/>
                      <a:pt x="50586" y="37940"/>
                    </a:cubicBezTo>
                    <a:cubicBezTo>
                      <a:pt x="50586" y="45166"/>
                      <a:pt x="45166" y="50586"/>
                      <a:pt x="37940" y="50586"/>
                    </a:cubicBezTo>
                    <a:cubicBezTo>
                      <a:pt x="30713" y="50586"/>
                      <a:pt x="25293" y="45166"/>
                      <a:pt x="25293" y="37940"/>
                    </a:cubicBezTo>
                    <a:cubicBezTo>
                      <a:pt x="25293" y="30713"/>
                      <a:pt x="31616" y="25293"/>
                      <a:pt x="37940" y="25293"/>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35" name="Freeform 34">
                <a:extLst>
                  <a:ext uri="{FF2B5EF4-FFF2-40B4-BE49-F238E27FC236}">
                    <a16:creationId xmlns:a16="http://schemas.microsoft.com/office/drawing/2014/main" id="{93192830-D129-30D7-CFCC-2AE47FADDAA8}"/>
                  </a:ext>
                </a:extLst>
              </p:cNvPr>
              <p:cNvSpPr/>
              <p:nvPr/>
            </p:nvSpPr>
            <p:spPr>
              <a:xfrm>
                <a:off x="8865150" y="2423597"/>
                <a:ext cx="640413" cy="746005"/>
              </a:xfrm>
              <a:custGeom>
                <a:avLst/>
                <a:gdLst>
                  <a:gd name="connsiteX0" fmla="*/ 368917 w 640413"/>
                  <a:gd name="connsiteY0" fmla="*/ 765 h 746005"/>
                  <a:gd name="connsiteX1" fmla="*/ 167476 w 640413"/>
                  <a:gd name="connsiteY1" fmla="*/ 67611 h 746005"/>
                  <a:gd name="connsiteX2" fmla="*/ 67207 w 640413"/>
                  <a:gd name="connsiteY2" fmla="*/ 286215 h 746005"/>
                  <a:gd name="connsiteX3" fmla="*/ 3071 w 640413"/>
                  <a:gd name="connsiteY3" fmla="*/ 412680 h 746005"/>
                  <a:gd name="connsiteX4" fmla="*/ 2168 w 640413"/>
                  <a:gd name="connsiteY4" fmla="*/ 414486 h 746005"/>
                  <a:gd name="connsiteX5" fmla="*/ 4878 w 640413"/>
                  <a:gd name="connsiteY5" fmla="*/ 443393 h 746005"/>
                  <a:gd name="connsiteX6" fmla="*/ 27461 w 640413"/>
                  <a:gd name="connsiteY6" fmla="*/ 460556 h 746005"/>
                  <a:gd name="connsiteX7" fmla="*/ 75337 w 640413"/>
                  <a:gd name="connsiteY7" fmla="*/ 471396 h 746005"/>
                  <a:gd name="connsiteX8" fmla="*/ 88887 w 640413"/>
                  <a:gd name="connsiteY8" fmla="*/ 624057 h 746005"/>
                  <a:gd name="connsiteX9" fmla="*/ 123213 w 640413"/>
                  <a:gd name="connsiteY9" fmla="*/ 655673 h 746005"/>
                  <a:gd name="connsiteX10" fmla="*/ 125020 w 640413"/>
                  <a:gd name="connsiteY10" fmla="*/ 655673 h 746005"/>
                  <a:gd name="connsiteX11" fmla="*/ 225288 w 640413"/>
                  <a:gd name="connsiteY11" fmla="*/ 644833 h 746005"/>
                  <a:gd name="connsiteX12" fmla="*/ 225288 w 640413"/>
                  <a:gd name="connsiteY12" fmla="*/ 731552 h 746005"/>
                  <a:gd name="connsiteX13" fmla="*/ 237935 w 640413"/>
                  <a:gd name="connsiteY13" fmla="*/ 744199 h 746005"/>
                  <a:gd name="connsiteX14" fmla="*/ 250581 w 640413"/>
                  <a:gd name="connsiteY14" fmla="*/ 731552 h 746005"/>
                  <a:gd name="connsiteX15" fmla="*/ 250581 w 640413"/>
                  <a:gd name="connsiteY15" fmla="*/ 630380 h 746005"/>
                  <a:gd name="connsiteX16" fmla="*/ 246065 w 640413"/>
                  <a:gd name="connsiteY16" fmla="*/ 621347 h 746005"/>
                  <a:gd name="connsiteX17" fmla="*/ 236128 w 640413"/>
                  <a:gd name="connsiteY17" fmla="*/ 618637 h 746005"/>
                  <a:gd name="connsiteX18" fmla="*/ 122310 w 640413"/>
                  <a:gd name="connsiteY18" fmla="*/ 631284 h 746005"/>
                  <a:gd name="connsiteX19" fmla="*/ 114180 w 640413"/>
                  <a:gd name="connsiteY19" fmla="*/ 623153 h 746005"/>
                  <a:gd name="connsiteX20" fmla="*/ 99727 w 640413"/>
                  <a:gd name="connsiteY20" fmla="*/ 461459 h 746005"/>
                  <a:gd name="connsiteX21" fmla="*/ 89790 w 640413"/>
                  <a:gd name="connsiteY21" fmla="*/ 450619 h 746005"/>
                  <a:gd name="connsiteX22" fmla="*/ 32881 w 640413"/>
                  <a:gd name="connsiteY22" fmla="*/ 437069 h 746005"/>
                  <a:gd name="connsiteX23" fmla="*/ 27461 w 640413"/>
                  <a:gd name="connsiteY23" fmla="*/ 432553 h 746005"/>
                  <a:gd name="connsiteX24" fmla="*/ 26558 w 640413"/>
                  <a:gd name="connsiteY24" fmla="*/ 424423 h 746005"/>
                  <a:gd name="connsiteX25" fmla="*/ 90694 w 640413"/>
                  <a:gd name="connsiteY25" fmla="*/ 298861 h 746005"/>
                  <a:gd name="connsiteX26" fmla="*/ 93404 w 640413"/>
                  <a:gd name="connsiteY26" fmla="*/ 291634 h 746005"/>
                  <a:gd name="connsiteX27" fmla="*/ 185542 w 640413"/>
                  <a:gd name="connsiteY27" fmla="*/ 87484 h 746005"/>
                  <a:gd name="connsiteX28" fmla="*/ 368013 w 640413"/>
                  <a:gd name="connsiteY28" fmla="*/ 26961 h 746005"/>
                  <a:gd name="connsiteX29" fmla="*/ 615523 w 640413"/>
                  <a:gd name="connsiteY29" fmla="*/ 289828 h 746005"/>
                  <a:gd name="connsiteX30" fmla="*/ 547774 w 640413"/>
                  <a:gd name="connsiteY30" fmla="*/ 488559 h 746005"/>
                  <a:gd name="connsiteX31" fmla="*/ 517965 w 640413"/>
                  <a:gd name="connsiteY31" fmla="*/ 568954 h 746005"/>
                  <a:gd name="connsiteX32" fmla="*/ 517965 w 640413"/>
                  <a:gd name="connsiteY32" fmla="*/ 733359 h 746005"/>
                  <a:gd name="connsiteX33" fmla="*/ 530611 w 640413"/>
                  <a:gd name="connsiteY33" fmla="*/ 746005 h 746005"/>
                  <a:gd name="connsiteX34" fmla="*/ 543258 w 640413"/>
                  <a:gd name="connsiteY34" fmla="*/ 733359 h 746005"/>
                  <a:gd name="connsiteX35" fmla="*/ 543258 w 640413"/>
                  <a:gd name="connsiteY35" fmla="*/ 568954 h 746005"/>
                  <a:gd name="connsiteX36" fmla="*/ 566744 w 640413"/>
                  <a:gd name="connsiteY36" fmla="*/ 504819 h 746005"/>
                  <a:gd name="connsiteX37" fmla="*/ 639913 w 640413"/>
                  <a:gd name="connsiteY37" fmla="*/ 288924 h 746005"/>
                  <a:gd name="connsiteX38" fmla="*/ 368917 w 640413"/>
                  <a:gd name="connsiteY38" fmla="*/ 765 h 746005"/>
                  <a:gd name="connsiteX39" fmla="*/ 368917 w 640413"/>
                  <a:gd name="connsiteY39" fmla="*/ 765 h 74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0413" h="746005">
                    <a:moveTo>
                      <a:pt x="368917" y="765"/>
                    </a:moveTo>
                    <a:cubicBezTo>
                      <a:pt x="293941" y="-4655"/>
                      <a:pt x="222578" y="18832"/>
                      <a:pt x="167476" y="67611"/>
                    </a:cubicBezTo>
                    <a:cubicBezTo>
                      <a:pt x="107856" y="120907"/>
                      <a:pt x="70821" y="200399"/>
                      <a:pt x="67207" y="286215"/>
                    </a:cubicBezTo>
                    <a:lnTo>
                      <a:pt x="3071" y="412680"/>
                    </a:lnTo>
                    <a:cubicBezTo>
                      <a:pt x="3071" y="413583"/>
                      <a:pt x="2168" y="413583"/>
                      <a:pt x="2168" y="414486"/>
                    </a:cubicBezTo>
                    <a:cubicBezTo>
                      <a:pt x="-1445" y="424423"/>
                      <a:pt x="-542" y="434360"/>
                      <a:pt x="4878" y="443393"/>
                    </a:cubicBezTo>
                    <a:cubicBezTo>
                      <a:pt x="9395" y="452426"/>
                      <a:pt x="17524" y="457846"/>
                      <a:pt x="27461" y="460556"/>
                    </a:cubicBezTo>
                    <a:lnTo>
                      <a:pt x="75337" y="471396"/>
                    </a:lnTo>
                    <a:lnTo>
                      <a:pt x="88887" y="624057"/>
                    </a:lnTo>
                    <a:cubicBezTo>
                      <a:pt x="90694" y="642124"/>
                      <a:pt x="105147" y="655673"/>
                      <a:pt x="123213" y="655673"/>
                    </a:cubicBezTo>
                    <a:cubicBezTo>
                      <a:pt x="124116" y="655673"/>
                      <a:pt x="124116" y="655673"/>
                      <a:pt x="125020" y="655673"/>
                    </a:cubicBezTo>
                    <a:lnTo>
                      <a:pt x="225288" y="644833"/>
                    </a:lnTo>
                    <a:lnTo>
                      <a:pt x="225288" y="731552"/>
                    </a:lnTo>
                    <a:cubicBezTo>
                      <a:pt x="225288" y="738778"/>
                      <a:pt x="230709" y="744199"/>
                      <a:pt x="237935" y="744199"/>
                    </a:cubicBezTo>
                    <a:cubicBezTo>
                      <a:pt x="245161" y="744199"/>
                      <a:pt x="250581" y="738778"/>
                      <a:pt x="250581" y="731552"/>
                    </a:cubicBezTo>
                    <a:lnTo>
                      <a:pt x="250581" y="630380"/>
                    </a:lnTo>
                    <a:cubicBezTo>
                      <a:pt x="250581" y="626767"/>
                      <a:pt x="248775" y="623153"/>
                      <a:pt x="246065" y="621347"/>
                    </a:cubicBezTo>
                    <a:cubicBezTo>
                      <a:pt x="243355" y="618637"/>
                      <a:pt x="239742" y="617734"/>
                      <a:pt x="236128" y="618637"/>
                    </a:cubicBezTo>
                    <a:lnTo>
                      <a:pt x="122310" y="631284"/>
                    </a:lnTo>
                    <a:cubicBezTo>
                      <a:pt x="117793" y="631284"/>
                      <a:pt x="114180" y="627670"/>
                      <a:pt x="114180" y="623153"/>
                    </a:cubicBezTo>
                    <a:lnTo>
                      <a:pt x="99727" y="461459"/>
                    </a:lnTo>
                    <a:cubicBezTo>
                      <a:pt x="98823" y="456039"/>
                      <a:pt x="95210" y="451522"/>
                      <a:pt x="89790" y="450619"/>
                    </a:cubicBezTo>
                    <a:lnTo>
                      <a:pt x="32881" y="437069"/>
                    </a:lnTo>
                    <a:cubicBezTo>
                      <a:pt x="29267" y="436166"/>
                      <a:pt x="27461" y="433456"/>
                      <a:pt x="27461" y="432553"/>
                    </a:cubicBezTo>
                    <a:cubicBezTo>
                      <a:pt x="26558" y="429843"/>
                      <a:pt x="25654" y="427133"/>
                      <a:pt x="26558" y="424423"/>
                    </a:cubicBezTo>
                    <a:lnTo>
                      <a:pt x="90694" y="298861"/>
                    </a:lnTo>
                    <a:cubicBezTo>
                      <a:pt x="92500" y="297055"/>
                      <a:pt x="93404" y="294345"/>
                      <a:pt x="93404" y="291634"/>
                    </a:cubicBezTo>
                    <a:cubicBezTo>
                      <a:pt x="97017" y="211239"/>
                      <a:pt x="130440" y="137167"/>
                      <a:pt x="185542" y="87484"/>
                    </a:cubicBezTo>
                    <a:cubicBezTo>
                      <a:pt x="235225" y="43221"/>
                      <a:pt x="300264" y="21542"/>
                      <a:pt x="368013" y="26961"/>
                    </a:cubicBezTo>
                    <a:cubicBezTo>
                      <a:pt x="502608" y="36898"/>
                      <a:pt x="608297" y="149813"/>
                      <a:pt x="615523" y="289828"/>
                    </a:cubicBezTo>
                    <a:cubicBezTo>
                      <a:pt x="619137" y="362997"/>
                      <a:pt x="594747" y="433456"/>
                      <a:pt x="547774" y="488559"/>
                    </a:cubicBezTo>
                    <a:cubicBezTo>
                      <a:pt x="528805" y="511142"/>
                      <a:pt x="517965" y="539145"/>
                      <a:pt x="517965" y="568954"/>
                    </a:cubicBezTo>
                    <a:lnTo>
                      <a:pt x="517965" y="733359"/>
                    </a:lnTo>
                    <a:cubicBezTo>
                      <a:pt x="517965" y="740585"/>
                      <a:pt x="523384" y="746005"/>
                      <a:pt x="530611" y="746005"/>
                    </a:cubicBezTo>
                    <a:cubicBezTo>
                      <a:pt x="537838" y="746005"/>
                      <a:pt x="543258" y="740585"/>
                      <a:pt x="543258" y="733359"/>
                    </a:cubicBezTo>
                    <a:lnTo>
                      <a:pt x="543258" y="568954"/>
                    </a:lnTo>
                    <a:cubicBezTo>
                      <a:pt x="543258" y="545468"/>
                      <a:pt x="551388" y="522885"/>
                      <a:pt x="566744" y="504819"/>
                    </a:cubicBezTo>
                    <a:cubicBezTo>
                      <a:pt x="618233" y="445199"/>
                      <a:pt x="644430" y="368417"/>
                      <a:pt x="639913" y="288924"/>
                    </a:cubicBezTo>
                    <a:cubicBezTo>
                      <a:pt x="632687" y="135360"/>
                      <a:pt x="516158" y="11605"/>
                      <a:pt x="368917" y="765"/>
                    </a:cubicBezTo>
                    <a:lnTo>
                      <a:pt x="368917" y="765"/>
                    </a:ln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36" name="Freeform 35">
                <a:extLst>
                  <a:ext uri="{FF2B5EF4-FFF2-40B4-BE49-F238E27FC236}">
                    <a16:creationId xmlns:a16="http://schemas.microsoft.com/office/drawing/2014/main" id="{6754AE18-757C-21DD-3379-5C1530D791D4}"/>
                  </a:ext>
                </a:extLst>
              </p:cNvPr>
              <p:cNvSpPr/>
              <p:nvPr/>
            </p:nvSpPr>
            <p:spPr>
              <a:xfrm>
                <a:off x="9002816" y="2492111"/>
                <a:ext cx="429981" cy="429980"/>
              </a:xfrm>
              <a:custGeom>
                <a:avLst/>
                <a:gdLst>
                  <a:gd name="connsiteX0" fmla="*/ 333326 w 429981"/>
                  <a:gd name="connsiteY0" fmla="*/ 36133 h 429980"/>
                  <a:gd name="connsiteX1" fmla="*/ 316163 w 429981"/>
                  <a:gd name="connsiteY1" fmla="*/ 39746 h 429980"/>
                  <a:gd name="connsiteX2" fmla="*/ 319776 w 429981"/>
                  <a:gd name="connsiteY2" fmla="*/ 56909 h 429980"/>
                  <a:gd name="connsiteX3" fmla="*/ 404688 w 429981"/>
                  <a:gd name="connsiteY3" fmla="*/ 214990 h 429980"/>
                  <a:gd name="connsiteX4" fmla="*/ 214991 w 429981"/>
                  <a:gd name="connsiteY4" fmla="*/ 404688 h 429980"/>
                  <a:gd name="connsiteX5" fmla="*/ 25293 w 429981"/>
                  <a:gd name="connsiteY5" fmla="*/ 214990 h 429980"/>
                  <a:gd name="connsiteX6" fmla="*/ 214991 w 429981"/>
                  <a:gd name="connsiteY6" fmla="*/ 25293 h 429980"/>
                  <a:gd name="connsiteX7" fmla="*/ 280933 w 429981"/>
                  <a:gd name="connsiteY7" fmla="*/ 37036 h 429980"/>
                  <a:gd name="connsiteX8" fmla="*/ 297193 w 429981"/>
                  <a:gd name="connsiteY8" fmla="*/ 29809 h 429980"/>
                  <a:gd name="connsiteX9" fmla="*/ 289967 w 429981"/>
                  <a:gd name="connsiteY9" fmla="*/ 13550 h 429980"/>
                  <a:gd name="connsiteX10" fmla="*/ 214991 w 429981"/>
                  <a:gd name="connsiteY10" fmla="*/ 0 h 429980"/>
                  <a:gd name="connsiteX11" fmla="*/ 0 w 429981"/>
                  <a:gd name="connsiteY11" fmla="*/ 214990 h 429980"/>
                  <a:gd name="connsiteX12" fmla="*/ 214991 w 429981"/>
                  <a:gd name="connsiteY12" fmla="*/ 429981 h 429980"/>
                  <a:gd name="connsiteX13" fmla="*/ 429981 w 429981"/>
                  <a:gd name="connsiteY13" fmla="*/ 214990 h 429980"/>
                  <a:gd name="connsiteX14" fmla="*/ 333326 w 429981"/>
                  <a:gd name="connsiteY14" fmla="*/ 36133 h 429980"/>
                  <a:gd name="connsiteX15" fmla="*/ 333326 w 429981"/>
                  <a:gd name="connsiteY15" fmla="*/ 36133 h 429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9981" h="429980">
                    <a:moveTo>
                      <a:pt x="333326" y="36133"/>
                    </a:moveTo>
                    <a:cubicBezTo>
                      <a:pt x="327906" y="32519"/>
                      <a:pt x="319776" y="33422"/>
                      <a:pt x="316163" y="39746"/>
                    </a:cubicBezTo>
                    <a:cubicBezTo>
                      <a:pt x="312550" y="45166"/>
                      <a:pt x="313453" y="53296"/>
                      <a:pt x="319776" y="56909"/>
                    </a:cubicBezTo>
                    <a:cubicBezTo>
                      <a:pt x="373072" y="92138"/>
                      <a:pt x="404688" y="151758"/>
                      <a:pt x="404688" y="214990"/>
                    </a:cubicBezTo>
                    <a:cubicBezTo>
                      <a:pt x="404688" y="319775"/>
                      <a:pt x="319776" y="404688"/>
                      <a:pt x="214991" y="404688"/>
                    </a:cubicBezTo>
                    <a:cubicBezTo>
                      <a:pt x="110205" y="404688"/>
                      <a:pt x="25293" y="319775"/>
                      <a:pt x="25293" y="214990"/>
                    </a:cubicBezTo>
                    <a:cubicBezTo>
                      <a:pt x="25293" y="110205"/>
                      <a:pt x="110205" y="25293"/>
                      <a:pt x="214991" y="25293"/>
                    </a:cubicBezTo>
                    <a:cubicBezTo>
                      <a:pt x="237574" y="25293"/>
                      <a:pt x="260157" y="28906"/>
                      <a:pt x="280933" y="37036"/>
                    </a:cubicBezTo>
                    <a:cubicBezTo>
                      <a:pt x="287257" y="39746"/>
                      <a:pt x="294483" y="36133"/>
                      <a:pt x="297193" y="29809"/>
                    </a:cubicBezTo>
                    <a:cubicBezTo>
                      <a:pt x="299903" y="23486"/>
                      <a:pt x="296290" y="16260"/>
                      <a:pt x="289967" y="13550"/>
                    </a:cubicBezTo>
                    <a:cubicBezTo>
                      <a:pt x="265577" y="4517"/>
                      <a:pt x="240284" y="0"/>
                      <a:pt x="214991" y="0"/>
                    </a:cubicBezTo>
                    <a:cubicBezTo>
                      <a:pt x="96656" y="0"/>
                      <a:pt x="0" y="96655"/>
                      <a:pt x="0" y="214990"/>
                    </a:cubicBezTo>
                    <a:cubicBezTo>
                      <a:pt x="0" y="333325"/>
                      <a:pt x="96656" y="429981"/>
                      <a:pt x="214991" y="429981"/>
                    </a:cubicBezTo>
                    <a:cubicBezTo>
                      <a:pt x="333326" y="429981"/>
                      <a:pt x="429981" y="333325"/>
                      <a:pt x="429981" y="214990"/>
                    </a:cubicBezTo>
                    <a:cubicBezTo>
                      <a:pt x="429078" y="142725"/>
                      <a:pt x="393849" y="75879"/>
                      <a:pt x="333326" y="36133"/>
                    </a:cubicBezTo>
                    <a:lnTo>
                      <a:pt x="333326" y="36133"/>
                    </a:ln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37" name="Freeform 36">
                <a:extLst>
                  <a:ext uri="{FF2B5EF4-FFF2-40B4-BE49-F238E27FC236}">
                    <a16:creationId xmlns:a16="http://schemas.microsoft.com/office/drawing/2014/main" id="{DDBC5526-BBBE-1DDB-8DAD-B48FC3FCB22E}"/>
                  </a:ext>
                </a:extLst>
              </p:cNvPr>
              <p:cNvSpPr/>
              <p:nvPr/>
            </p:nvSpPr>
            <p:spPr>
              <a:xfrm>
                <a:off x="9046954" y="2555344"/>
                <a:ext cx="354720" cy="328808"/>
              </a:xfrm>
              <a:custGeom>
                <a:avLst/>
                <a:gdLst>
                  <a:gd name="connsiteX0" fmla="*/ 175369 w 354720"/>
                  <a:gd name="connsiteY0" fmla="*/ 0 h 328808"/>
                  <a:gd name="connsiteX1" fmla="*/ 74197 w 354720"/>
                  <a:gd name="connsiteY1" fmla="*/ 12646 h 328808"/>
                  <a:gd name="connsiteX2" fmla="*/ 65164 w 354720"/>
                  <a:gd name="connsiteY2" fmla="*/ 18066 h 328808"/>
                  <a:gd name="connsiteX3" fmla="*/ 1932 w 354720"/>
                  <a:gd name="connsiteY3" fmla="*/ 119238 h 328808"/>
                  <a:gd name="connsiteX4" fmla="*/ 2835 w 354720"/>
                  <a:gd name="connsiteY4" fmla="*/ 134595 h 328808"/>
                  <a:gd name="connsiteX5" fmla="*/ 167239 w 354720"/>
                  <a:gd name="connsiteY5" fmla="*/ 324292 h 328808"/>
                  <a:gd name="connsiteX6" fmla="*/ 177176 w 354720"/>
                  <a:gd name="connsiteY6" fmla="*/ 328809 h 328808"/>
                  <a:gd name="connsiteX7" fmla="*/ 187113 w 354720"/>
                  <a:gd name="connsiteY7" fmla="*/ 324292 h 328808"/>
                  <a:gd name="connsiteX8" fmla="*/ 351517 w 354720"/>
                  <a:gd name="connsiteY8" fmla="*/ 134595 h 328808"/>
                  <a:gd name="connsiteX9" fmla="*/ 352420 w 354720"/>
                  <a:gd name="connsiteY9" fmla="*/ 119238 h 328808"/>
                  <a:gd name="connsiteX10" fmla="*/ 289188 w 354720"/>
                  <a:gd name="connsiteY10" fmla="*/ 18066 h 328808"/>
                  <a:gd name="connsiteX11" fmla="*/ 280155 w 354720"/>
                  <a:gd name="connsiteY11" fmla="*/ 12646 h 328808"/>
                  <a:gd name="connsiteX12" fmla="*/ 178982 w 354720"/>
                  <a:gd name="connsiteY12" fmla="*/ 0 h 328808"/>
                  <a:gd name="connsiteX13" fmla="*/ 175369 w 354720"/>
                  <a:gd name="connsiteY13" fmla="*/ 0 h 328808"/>
                  <a:gd name="connsiteX14" fmla="*/ 175369 w 354720"/>
                  <a:gd name="connsiteY14" fmla="*/ 0 h 328808"/>
                  <a:gd name="connsiteX15" fmla="*/ 104007 w 354720"/>
                  <a:gd name="connsiteY15" fmla="*/ 113818 h 328808"/>
                  <a:gd name="connsiteX16" fmla="*/ 177176 w 354720"/>
                  <a:gd name="connsiteY16" fmla="*/ 31616 h 328808"/>
                  <a:gd name="connsiteX17" fmla="*/ 250345 w 354720"/>
                  <a:gd name="connsiteY17" fmla="*/ 113818 h 328808"/>
                  <a:gd name="connsiteX18" fmla="*/ 104007 w 354720"/>
                  <a:gd name="connsiteY18" fmla="*/ 113818 h 328808"/>
                  <a:gd name="connsiteX19" fmla="*/ 256668 w 354720"/>
                  <a:gd name="connsiteY19" fmla="*/ 139111 h 328808"/>
                  <a:gd name="connsiteX20" fmla="*/ 176273 w 354720"/>
                  <a:gd name="connsiteY20" fmla="*/ 289063 h 328808"/>
                  <a:gd name="connsiteX21" fmla="*/ 95877 w 354720"/>
                  <a:gd name="connsiteY21" fmla="*/ 139111 h 328808"/>
                  <a:gd name="connsiteX22" fmla="*/ 256668 w 354720"/>
                  <a:gd name="connsiteY22" fmla="*/ 139111 h 328808"/>
                  <a:gd name="connsiteX23" fmla="*/ 87747 w 354720"/>
                  <a:gd name="connsiteY23" fmla="*/ 93042 h 328808"/>
                  <a:gd name="connsiteX24" fmla="*/ 87747 w 354720"/>
                  <a:gd name="connsiteY24" fmla="*/ 36133 h 328808"/>
                  <a:gd name="connsiteX25" fmla="*/ 144656 w 354720"/>
                  <a:gd name="connsiteY25" fmla="*/ 28906 h 328808"/>
                  <a:gd name="connsiteX26" fmla="*/ 87747 w 354720"/>
                  <a:gd name="connsiteY26" fmla="*/ 93042 h 328808"/>
                  <a:gd name="connsiteX27" fmla="*/ 62454 w 354720"/>
                  <a:gd name="connsiteY27" fmla="*/ 113818 h 328808"/>
                  <a:gd name="connsiteX28" fmla="*/ 34451 w 354720"/>
                  <a:gd name="connsiteY28" fmla="*/ 113818 h 328808"/>
                  <a:gd name="connsiteX29" fmla="*/ 62454 w 354720"/>
                  <a:gd name="connsiteY29" fmla="*/ 69555 h 328808"/>
                  <a:gd name="connsiteX30" fmla="*/ 62454 w 354720"/>
                  <a:gd name="connsiteY30" fmla="*/ 113818 h 328808"/>
                  <a:gd name="connsiteX31" fmla="*/ 67874 w 354720"/>
                  <a:gd name="connsiteY31" fmla="*/ 139111 h 328808"/>
                  <a:gd name="connsiteX32" fmla="*/ 112137 w 354720"/>
                  <a:gd name="connsiteY32" fmla="*/ 223120 h 328808"/>
                  <a:gd name="connsiteX33" fmla="*/ 39871 w 354720"/>
                  <a:gd name="connsiteY33" fmla="*/ 139111 h 328808"/>
                  <a:gd name="connsiteX34" fmla="*/ 67874 w 354720"/>
                  <a:gd name="connsiteY34" fmla="*/ 139111 h 328808"/>
                  <a:gd name="connsiteX35" fmla="*/ 285574 w 354720"/>
                  <a:gd name="connsiteY35" fmla="*/ 139111 h 328808"/>
                  <a:gd name="connsiteX36" fmla="*/ 313578 w 354720"/>
                  <a:gd name="connsiteY36" fmla="*/ 139111 h 328808"/>
                  <a:gd name="connsiteX37" fmla="*/ 241312 w 354720"/>
                  <a:gd name="connsiteY37" fmla="*/ 223120 h 328808"/>
                  <a:gd name="connsiteX38" fmla="*/ 285574 w 354720"/>
                  <a:gd name="connsiteY38" fmla="*/ 139111 h 328808"/>
                  <a:gd name="connsiteX39" fmla="*/ 290091 w 354720"/>
                  <a:gd name="connsiteY39" fmla="*/ 113818 h 328808"/>
                  <a:gd name="connsiteX40" fmla="*/ 290091 w 354720"/>
                  <a:gd name="connsiteY40" fmla="*/ 69555 h 328808"/>
                  <a:gd name="connsiteX41" fmla="*/ 318094 w 354720"/>
                  <a:gd name="connsiteY41" fmla="*/ 113818 h 328808"/>
                  <a:gd name="connsiteX42" fmla="*/ 290091 w 354720"/>
                  <a:gd name="connsiteY42" fmla="*/ 113818 h 328808"/>
                  <a:gd name="connsiteX43" fmla="*/ 264798 w 354720"/>
                  <a:gd name="connsiteY43" fmla="*/ 93042 h 328808"/>
                  <a:gd name="connsiteX44" fmla="*/ 207889 w 354720"/>
                  <a:gd name="connsiteY44" fmla="*/ 28906 h 328808"/>
                  <a:gd name="connsiteX45" fmla="*/ 264798 w 354720"/>
                  <a:gd name="connsiteY45" fmla="*/ 36133 h 328808"/>
                  <a:gd name="connsiteX46" fmla="*/ 264798 w 354720"/>
                  <a:gd name="connsiteY46" fmla="*/ 93042 h 32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4720" h="328808">
                    <a:moveTo>
                      <a:pt x="175369" y="0"/>
                    </a:moveTo>
                    <a:lnTo>
                      <a:pt x="74197" y="12646"/>
                    </a:lnTo>
                    <a:cubicBezTo>
                      <a:pt x="70584" y="13550"/>
                      <a:pt x="66971" y="15356"/>
                      <a:pt x="65164" y="18066"/>
                    </a:cubicBezTo>
                    <a:lnTo>
                      <a:pt x="1932" y="119238"/>
                    </a:lnTo>
                    <a:cubicBezTo>
                      <a:pt x="-778" y="123755"/>
                      <a:pt x="-778" y="130078"/>
                      <a:pt x="2835" y="134595"/>
                    </a:cubicBezTo>
                    <a:lnTo>
                      <a:pt x="167239" y="324292"/>
                    </a:lnTo>
                    <a:cubicBezTo>
                      <a:pt x="169949" y="327002"/>
                      <a:pt x="173563" y="328809"/>
                      <a:pt x="177176" y="328809"/>
                    </a:cubicBezTo>
                    <a:cubicBezTo>
                      <a:pt x="180789" y="328809"/>
                      <a:pt x="184403" y="327002"/>
                      <a:pt x="187113" y="324292"/>
                    </a:cubicBezTo>
                    <a:lnTo>
                      <a:pt x="351517" y="134595"/>
                    </a:lnTo>
                    <a:cubicBezTo>
                      <a:pt x="355130" y="130078"/>
                      <a:pt x="356034" y="124658"/>
                      <a:pt x="352420" y="119238"/>
                    </a:cubicBezTo>
                    <a:lnTo>
                      <a:pt x="289188" y="18066"/>
                    </a:lnTo>
                    <a:cubicBezTo>
                      <a:pt x="287381" y="14453"/>
                      <a:pt x="283768" y="12646"/>
                      <a:pt x="280155" y="12646"/>
                    </a:cubicBezTo>
                    <a:lnTo>
                      <a:pt x="178982" y="0"/>
                    </a:lnTo>
                    <a:cubicBezTo>
                      <a:pt x="177176" y="0"/>
                      <a:pt x="176273" y="0"/>
                      <a:pt x="175369" y="0"/>
                    </a:cubicBezTo>
                    <a:lnTo>
                      <a:pt x="175369" y="0"/>
                    </a:lnTo>
                    <a:close/>
                    <a:moveTo>
                      <a:pt x="104007" y="113818"/>
                    </a:moveTo>
                    <a:lnTo>
                      <a:pt x="177176" y="31616"/>
                    </a:lnTo>
                    <a:lnTo>
                      <a:pt x="250345" y="113818"/>
                    </a:lnTo>
                    <a:lnTo>
                      <a:pt x="104007" y="113818"/>
                    </a:lnTo>
                    <a:close/>
                    <a:moveTo>
                      <a:pt x="256668" y="139111"/>
                    </a:moveTo>
                    <a:lnTo>
                      <a:pt x="176273" y="289063"/>
                    </a:lnTo>
                    <a:lnTo>
                      <a:pt x="95877" y="139111"/>
                    </a:lnTo>
                    <a:lnTo>
                      <a:pt x="256668" y="139111"/>
                    </a:lnTo>
                    <a:close/>
                    <a:moveTo>
                      <a:pt x="87747" y="93042"/>
                    </a:moveTo>
                    <a:lnTo>
                      <a:pt x="87747" y="36133"/>
                    </a:lnTo>
                    <a:lnTo>
                      <a:pt x="144656" y="28906"/>
                    </a:lnTo>
                    <a:lnTo>
                      <a:pt x="87747" y="93042"/>
                    </a:lnTo>
                    <a:close/>
                    <a:moveTo>
                      <a:pt x="62454" y="113818"/>
                    </a:moveTo>
                    <a:lnTo>
                      <a:pt x="34451" y="113818"/>
                    </a:lnTo>
                    <a:lnTo>
                      <a:pt x="62454" y="69555"/>
                    </a:lnTo>
                    <a:lnTo>
                      <a:pt x="62454" y="113818"/>
                    </a:lnTo>
                    <a:close/>
                    <a:moveTo>
                      <a:pt x="67874" y="139111"/>
                    </a:moveTo>
                    <a:lnTo>
                      <a:pt x="112137" y="223120"/>
                    </a:lnTo>
                    <a:lnTo>
                      <a:pt x="39871" y="139111"/>
                    </a:lnTo>
                    <a:lnTo>
                      <a:pt x="67874" y="139111"/>
                    </a:lnTo>
                    <a:close/>
                    <a:moveTo>
                      <a:pt x="285574" y="139111"/>
                    </a:moveTo>
                    <a:lnTo>
                      <a:pt x="313578" y="139111"/>
                    </a:lnTo>
                    <a:lnTo>
                      <a:pt x="241312" y="223120"/>
                    </a:lnTo>
                    <a:lnTo>
                      <a:pt x="285574" y="139111"/>
                    </a:lnTo>
                    <a:close/>
                    <a:moveTo>
                      <a:pt x="290091" y="113818"/>
                    </a:moveTo>
                    <a:lnTo>
                      <a:pt x="290091" y="69555"/>
                    </a:lnTo>
                    <a:lnTo>
                      <a:pt x="318094" y="113818"/>
                    </a:lnTo>
                    <a:lnTo>
                      <a:pt x="290091" y="113818"/>
                    </a:lnTo>
                    <a:close/>
                    <a:moveTo>
                      <a:pt x="264798" y="93042"/>
                    </a:moveTo>
                    <a:lnTo>
                      <a:pt x="207889" y="28906"/>
                    </a:lnTo>
                    <a:lnTo>
                      <a:pt x="264798" y="36133"/>
                    </a:lnTo>
                    <a:lnTo>
                      <a:pt x="264798" y="93042"/>
                    </a:ln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grpSp>
      </p:grpSp>
      <p:grpSp>
        <p:nvGrpSpPr>
          <p:cNvPr id="38" name="Group 37">
            <a:extLst>
              <a:ext uri="{FF2B5EF4-FFF2-40B4-BE49-F238E27FC236}">
                <a16:creationId xmlns:a16="http://schemas.microsoft.com/office/drawing/2014/main" id="{AEA50320-E088-0240-E185-0CDFC06A26C0}"/>
              </a:ext>
            </a:extLst>
          </p:cNvPr>
          <p:cNvGrpSpPr/>
          <p:nvPr/>
        </p:nvGrpSpPr>
        <p:grpSpPr>
          <a:xfrm>
            <a:off x="4582913" y="579205"/>
            <a:ext cx="851252" cy="850323"/>
            <a:chOff x="7257599" y="768348"/>
            <a:chExt cx="868457" cy="867509"/>
          </a:xfrm>
          <a:solidFill>
            <a:srgbClr val="595959"/>
          </a:solidFill>
        </p:grpSpPr>
        <p:sp>
          <p:nvSpPr>
            <p:cNvPr id="39" name="Freeform 38">
              <a:extLst>
                <a:ext uri="{FF2B5EF4-FFF2-40B4-BE49-F238E27FC236}">
                  <a16:creationId xmlns:a16="http://schemas.microsoft.com/office/drawing/2014/main" id="{98647607-C24D-7C38-D63A-3227040F8F6C}"/>
                </a:ext>
              </a:extLst>
            </p:cNvPr>
            <p:cNvSpPr/>
            <p:nvPr/>
          </p:nvSpPr>
          <p:spPr>
            <a:xfrm>
              <a:off x="7672223" y="1282564"/>
              <a:ext cx="303614" cy="275513"/>
            </a:xfrm>
            <a:custGeom>
              <a:avLst/>
              <a:gdLst>
                <a:gd name="connsiteX0" fmla="*/ 5420 w 303614"/>
                <a:gd name="connsiteY0" fmla="*/ 194214 h 275513"/>
                <a:gd name="connsiteX1" fmla="*/ 8130 w 303614"/>
                <a:gd name="connsiteY1" fmla="*/ 193311 h 275513"/>
                <a:gd name="connsiteX2" fmla="*/ 18970 w 303614"/>
                <a:gd name="connsiteY2" fmla="*/ 193311 h 275513"/>
                <a:gd name="connsiteX3" fmla="*/ 79492 w 303614"/>
                <a:gd name="connsiteY3" fmla="*/ 229444 h 275513"/>
                <a:gd name="connsiteX4" fmla="*/ 93946 w 303614"/>
                <a:gd name="connsiteY4" fmla="*/ 229444 h 275513"/>
                <a:gd name="connsiteX5" fmla="*/ 101172 w 303614"/>
                <a:gd name="connsiteY5" fmla="*/ 216797 h 275513"/>
                <a:gd name="connsiteX6" fmla="*/ 101172 w 303614"/>
                <a:gd name="connsiteY6" fmla="*/ 14453 h 275513"/>
                <a:gd name="connsiteX7" fmla="*/ 115625 w 303614"/>
                <a:gd name="connsiteY7" fmla="*/ 0 h 275513"/>
                <a:gd name="connsiteX8" fmla="*/ 130079 w 303614"/>
                <a:gd name="connsiteY8" fmla="*/ 14453 h 275513"/>
                <a:gd name="connsiteX9" fmla="*/ 130079 w 303614"/>
                <a:gd name="connsiteY9" fmla="*/ 130982 h 275513"/>
                <a:gd name="connsiteX10" fmla="*/ 144531 w 303614"/>
                <a:gd name="connsiteY10" fmla="*/ 145435 h 275513"/>
                <a:gd name="connsiteX11" fmla="*/ 158985 w 303614"/>
                <a:gd name="connsiteY11" fmla="*/ 130982 h 275513"/>
                <a:gd name="connsiteX12" fmla="*/ 173438 w 303614"/>
                <a:gd name="connsiteY12" fmla="*/ 116529 h 275513"/>
                <a:gd name="connsiteX13" fmla="*/ 187891 w 303614"/>
                <a:gd name="connsiteY13" fmla="*/ 130982 h 275513"/>
                <a:gd name="connsiteX14" fmla="*/ 202344 w 303614"/>
                <a:gd name="connsiteY14" fmla="*/ 145435 h 275513"/>
                <a:gd name="connsiteX15" fmla="*/ 216797 w 303614"/>
                <a:gd name="connsiteY15" fmla="*/ 130982 h 275513"/>
                <a:gd name="connsiteX16" fmla="*/ 231251 w 303614"/>
                <a:gd name="connsiteY16" fmla="*/ 116529 h 275513"/>
                <a:gd name="connsiteX17" fmla="*/ 245704 w 303614"/>
                <a:gd name="connsiteY17" fmla="*/ 130982 h 275513"/>
                <a:gd name="connsiteX18" fmla="*/ 260156 w 303614"/>
                <a:gd name="connsiteY18" fmla="*/ 145435 h 275513"/>
                <a:gd name="connsiteX19" fmla="*/ 274610 w 303614"/>
                <a:gd name="connsiteY19" fmla="*/ 130982 h 275513"/>
                <a:gd name="connsiteX20" fmla="*/ 280030 w 303614"/>
                <a:gd name="connsiteY20" fmla="*/ 120142 h 275513"/>
                <a:gd name="connsiteX21" fmla="*/ 291773 w 303614"/>
                <a:gd name="connsiteY21" fmla="*/ 117432 h 275513"/>
                <a:gd name="connsiteX22" fmla="*/ 303516 w 303614"/>
                <a:gd name="connsiteY22" fmla="*/ 132788 h 275513"/>
                <a:gd name="connsiteX23" fmla="*/ 303516 w 303614"/>
                <a:gd name="connsiteY23" fmla="*/ 275513 h 275513"/>
                <a:gd name="connsiteX24" fmla="*/ 91236 w 303614"/>
                <a:gd name="connsiteY24" fmla="*/ 275513 h 275513"/>
                <a:gd name="connsiteX25" fmla="*/ 4517 w 303614"/>
                <a:gd name="connsiteY25" fmla="*/ 213184 h 275513"/>
                <a:gd name="connsiteX26" fmla="*/ 0 w 303614"/>
                <a:gd name="connsiteY26" fmla="*/ 203247 h 275513"/>
                <a:gd name="connsiteX27" fmla="*/ 5420 w 303614"/>
                <a:gd name="connsiteY27" fmla="*/ 194214 h 275513"/>
                <a:gd name="connsiteX28" fmla="*/ 5420 w 303614"/>
                <a:gd name="connsiteY28" fmla="*/ 194214 h 27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4" h="275513">
                  <a:moveTo>
                    <a:pt x="5420" y="194214"/>
                  </a:moveTo>
                  <a:lnTo>
                    <a:pt x="8130" y="193311"/>
                  </a:lnTo>
                  <a:cubicBezTo>
                    <a:pt x="11743" y="191504"/>
                    <a:pt x="15357" y="191504"/>
                    <a:pt x="18970" y="193311"/>
                  </a:cubicBezTo>
                  <a:lnTo>
                    <a:pt x="79492" y="229444"/>
                  </a:lnTo>
                  <a:cubicBezTo>
                    <a:pt x="84009" y="232154"/>
                    <a:pt x="89429" y="232154"/>
                    <a:pt x="93946" y="229444"/>
                  </a:cubicBezTo>
                  <a:cubicBezTo>
                    <a:pt x="98462" y="226733"/>
                    <a:pt x="101172" y="222217"/>
                    <a:pt x="101172" y="216797"/>
                  </a:cubicBezTo>
                  <a:lnTo>
                    <a:pt x="101172" y="14453"/>
                  </a:lnTo>
                  <a:cubicBezTo>
                    <a:pt x="101172" y="6323"/>
                    <a:pt x="107495" y="0"/>
                    <a:pt x="115625" y="0"/>
                  </a:cubicBezTo>
                  <a:cubicBezTo>
                    <a:pt x="123755" y="0"/>
                    <a:pt x="130079" y="6323"/>
                    <a:pt x="130079" y="14453"/>
                  </a:cubicBezTo>
                  <a:lnTo>
                    <a:pt x="130079" y="130982"/>
                  </a:lnTo>
                  <a:cubicBezTo>
                    <a:pt x="130079" y="139112"/>
                    <a:pt x="136402" y="145435"/>
                    <a:pt x="144531" y="145435"/>
                  </a:cubicBezTo>
                  <a:cubicBezTo>
                    <a:pt x="152662" y="145435"/>
                    <a:pt x="158985" y="139112"/>
                    <a:pt x="158985" y="130982"/>
                  </a:cubicBezTo>
                  <a:cubicBezTo>
                    <a:pt x="158985" y="122852"/>
                    <a:pt x="165308" y="116529"/>
                    <a:pt x="173438" y="116529"/>
                  </a:cubicBezTo>
                  <a:cubicBezTo>
                    <a:pt x="181568" y="116529"/>
                    <a:pt x="187891" y="122852"/>
                    <a:pt x="187891" y="130982"/>
                  </a:cubicBezTo>
                  <a:cubicBezTo>
                    <a:pt x="187891" y="139112"/>
                    <a:pt x="194214" y="145435"/>
                    <a:pt x="202344" y="145435"/>
                  </a:cubicBezTo>
                  <a:cubicBezTo>
                    <a:pt x="210474" y="145435"/>
                    <a:pt x="216797" y="139112"/>
                    <a:pt x="216797" y="130982"/>
                  </a:cubicBezTo>
                  <a:cubicBezTo>
                    <a:pt x="216797" y="122852"/>
                    <a:pt x="223121" y="116529"/>
                    <a:pt x="231251" y="116529"/>
                  </a:cubicBezTo>
                  <a:cubicBezTo>
                    <a:pt x="239380" y="116529"/>
                    <a:pt x="245704" y="122852"/>
                    <a:pt x="245704" y="130982"/>
                  </a:cubicBezTo>
                  <a:cubicBezTo>
                    <a:pt x="245704" y="139112"/>
                    <a:pt x="252027" y="145435"/>
                    <a:pt x="260156" y="145435"/>
                  </a:cubicBezTo>
                  <a:cubicBezTo>
                    <a:pt x="268287" y="145435"/>
                    <a:pt x="274610" y="139112"/>
                    <a:pt x="274610" y="130982"/>
                  </a:cubicBezTo>
                  <a:cubicBezTo>
                    <a:pt x="274610" y="126465"/>
                    <a:pt x="276417" y="122852"/>
                    <a:pt x="280030" y="120142"/>
                  </a:cubicBezTo>
                  <a:cubicBezTo>
                    <a:pt x="283643" y="117432"/>
                    <a:pt x="287256" y="116529"/>
                    <a:pt x="291773" y="117432"/>
                  </a:cubicBezTo>
                  <a:cubicBezTo>
                    <a:pt x="299000" y="119239"/>
                    <a:pt x="304419" y="125562"/>
                    <a:pt x="303516" y="132788"/>
                  </a:cubicBezTo>
                  <a:lnTo>
                    <a:pt x="303516" y="275513"/>
                  </a:lnTo>
                  <a:lnTo>
                    <a:pt x="91236" y="275513"/>
                  </a:lnTo>
                  <a:lnTo>
                    <a:pt x="4517" y="213184"/>
                  </a:lnTo>
                  <a:cubicBezTo>
                    <a:pt x="1807" y="211377"/>
                    <a:pt x="0" y="206861"/>
                    <a:pt x="0" y="203247"/>
                  </a:cubicBezTo>
                  <a:cubicBezTo>
                    <a:pt x="0" y="199634"/>
                    <a:pt x="1807" y="196021"/>
                    <a:pt x="5420" y="194214"/>
                  </a:cubicBezTo>
                  <a:lnTo>
                    <a:pt x="5420" y="194214"/>
                  </a:lnTo>
                  <a:close/>
                </a:path>
              </a:pathLst>
            </a:custGeom>
            <a:solidFill>
              <a:srgbClr val="F16924"/>
            </a:solid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grpSp>
          <p:nvGrpSpPr>
            <p:cNvPr id="40" name="Graphic 2">
              <a:extLst>
                <a:ext uri="{FF2B5EF4-FFF2-40B4-BE49-F238E27FC236}">
                  <a16:creationId xmlns:a16="http://schemas.microsoft.com/office/drawing/2014/main" id="{06150730-83FD-36C8-9D78-E18CAE8FD5CC}"/>
                </a:ext>
              </a:extLst>
            </p:cNvPr>
            <p:cNvGrpSpPr/>
            <p:nvPr/>
          </p:nvGrpSpPr>
          <p:grpSpPr>
            <a:xfrm>
              <a:off x="7257599" y="768348"/>
              <a:ext cx="868457" cy="867509"/>
              <a:chOff x="7257599" y="768348"/>
              <a:chExt cx="868457" cy="867509"/>
            </a:xfrm>
            <a:grpFill/>
          </p:grpSpPr>
          <p:sp>
            <p:nvSpPr>
              <p:cNvPr id="41" name="Freeform 40">
                <a:extLst>
                  <a:ext uri="{FF2B5EF4-FFF2-40B4-BE49-F238E27FC236}">
                    <a16:creationId xmlns:a16="http://schemas.microsoft.com/office/drawing/2014/main" id="{E2CE06F2-A8EC-D4E2-A6E3-05130D84289A}"/>
                  </a:ext>
                </a:extLst>
              </p:cNvPr>
              <p:cNvSpPr/>
              <p:nvPr/>
            </p:nvSpPr>
            <p:spPr>
              <a:xfrm>
                <a:off x="7257599" y="768348"/>
                <a:ext cx="868457" cy="867509"/>
              </a:xfrm>
              <a:custGeom>
                <a:avLst/>
                <a:gdLst>
                  <a:gd name="connsiteX0" fmla="*/ 0 w 868457"/>
                  <a:gd name="connsiteY0" fmla="*/ 621711 h 867509"/>
                  <a:gd name="connsiteX1" fmla="*/ 61426 w 868457"/>
                  <a:gd name="connsiteY1" fmla="*/ 704816 h 867509"/>
                  <a:gd name="connsiteX2" fmla="*/ 158984 w 868457"/>
                  <a:gd name="connsiteY2" fmla="*/ 670490 h 867509"/>
                  <a:gd name="connsiteX3" fmla="*/ 350489 w 868457"/>
                  <a:gd name="connsiteY3" fmla="*/ 758113 h 867509"/>
                  <a:gd name="connsiteX4" fmla="*/ 347779 w 868457"/>
                  <a:gd name="connsiteY4" fmla="*/ 780696 h 867509"/>
                  <a:gd name="connsiteX5" fmla="*/ 395655 w 868457"/>
                  <a:gd name="connsiteY5" fmla="*/ 858381 h 867509"/>
                  <a:gd name="connsiteX6" fmla="*/ 485987 w 868457"/>
                  <a:gd name="connsiteY6" fmla="*/ 850251 h 867509"/>
                  <a:gd name="connsiteX7" fmla="*/ 468824 w 868457"/>
                  <a:gd name="connsiteY7" fmla="*/ 826765 h 867509"/>
                  <a:gd name="connsiteX8" fmla="*/ 434497 w 868457"/>
                  <a:gd name="connsiteY8" fmla="*/ 838508 h 867509"/>
                  <a:gd name="connsiteX9" fmla="*/ 386621 w 868457"/>
                  <a:gd name="connsiteY9" fmla="*/ 812312 h 867509"/>
                  <a:gd name="connsiteX10" fmla="*/ 382105 w 868457"/>
                  <a:gd name="connsiteY10" fmla="*/ 758113 h 867509"/>
                  <a:gd name="connsiteX11" fmla="*/ 383008 w 868457"/>
                  <a:gd name="connsiteY11" fmla="*/ 746370 h 867509"/>
                  <a:gd name="connsiteX12" fmla="*/ 374878 w 868457"/>
                  <a:gd name="connsiteY12" fmla="*/ 737336 h 867509"/>
                  <a:gd name="connsiteX13" fmla="*/ 171631 w 868457"/>
                  <a:gd name="connsiteY13" fmla="*/ 644294 h 867509"/>
                  <a:gd name="connsiteX14" fmla="*/ 170727 w 868457"/>
                  <a:gd name="connsiteY14" fmla="*/ 595515 h 867509"/>
                  <a:gd name="connsiteX15" fmla="*/ 282740 w 868457"/>
                  <a:gd name="connsiteY15" fmla="*/ 534089 h 867509"/>
                  <a:gd name="connsiteX16" fmla="*/ 269190 w 868457"/>
                  <a:gd name="connsiteY16" fmla="*/ 508796 h 867509"/>
                  <a:gd name="connsiteX17" fmla="*/ 158081 w 868457"/>
                  <a:gd name="connsiteY17" fmla="*/ 569318 h 867509"/>
                  <a:gd name="connsiteX18" fmla="*/ 102978 w 868457"/>
                  <a:gd name="connsiteY18" fmla="*/ 535896 h 867509"/>
                  <a:gd name="connsiteX19" fmla="*/ 102978 w 868457"/>
                  <a:gd name="connsiteY19" fmla="*/ 330842 h 867509"/>
                  <a:gd name="connsiteX20" fmla="*/ 149951 w 868457"/>
                  <a:gd name="connsiteY20" fmla="*/ 306452 h 867509"/>
                  <a:gd name="connsiteX21" fmla="*/ 270093 w 868457"/>
                  <a:gd name="connsiteY21" fmla="*/ 366974 h 867509"/>
                  <a:gd name="connsiteX22" fmla="*/ 282740 w 868457"/>
                  <a:gd name="connsiteY22" fmla="*/ 340778 h 867509"/>
                  <a:gd name="connsiteX23" fmla="*/ 166211 w 868457"/>
                  <a:gd name="connsiteY23" fmla="*/ 282966 h 867509"/>
                  <a:gd name="connsiteX24" fmla="*/ 171631 w 868457"/>
                  <a:gd name="connsiteY24" fmla="*/ 223346 h 867509"/>
                  <a:gd name="connsiteX25" fmla="*/ 363135 w 868457"/>
                  <a:gd name="connsiteY25" fmla="*/ 135724 h 867509"/>
                  <a:gd name="connsiteX26" fmla="*/ 420044 w 868457"/>
                  <a:gd name="connsiteY26" fmla="*/ 172760 h 867509"/>
                  <a:gd name="connsiteX27" fmla="*/ 420044 w 868457"/>
                  <a:gd name="connsiteY27" fmla="*/ 245929 h 867509"/>
                  <a:gd name="connsiteX28" fmla="*/ 448950 w 868457"/>
                  <a:gd name="connsiteY28" fmla="*/ 245929 h 867509"/>
                  <a:gd name="connsiteX29" fmla="*/ 448950 w 868457"/>
                  <a:gd name="connsiteY29" fmla="*/ 172760 h 867509"/>
                  <a:gd name="connsiteX30" fmla="*/ 505860 w 868457"/>
                  <a:gd name="connsiteY30" fmla="*/ 135724 h 867509"/>
                  <a:gd name="connsiteX31" fmla="*/ 697364 w 868457"/>
                  <a:gd name="connsiteY31" fmla="*/ 223346 h 867509"/>
                  <a:gd name="connsiteX32" fmla="*/ 698267 w 868457"/>
                  <a:gd name="connsiteY32" fmla="*/ 272126 h 867509"/>
                  <a:gd name="connsiteX33" fmla="*/ 586255 w 868457"/>
                  <a:gd name="connsiteY33" fmla="*/ 333551 h 867509"/>
                  <a:gd name="connsiteX34" fmla="*/ 599805 w 868457"/>
                  <a:gd name="connsiteY34" fmla="*/ 358844 h 867509"/>
                  <a:gd name="connsiteX35" fmla="*/ 710914 w 868457"/>
                  <a:gd name="connsiteY35" fmla="*/ 298322 h 867509"/>
                  <a:gd name="connsiteX36" fmla="*/ 766017 w 868457"/>
                  <a:gd name="connsiteY36" fmla="*/ 331745 h 867509"/>
                  <a:gd name="connsiteX37" fmla="*/ 766017 w 868457"/>
                  <a:gd name="connsiteY37" fmla="*/ 536799 h 867509"/>
                  <a:gd name="connsiteX38" fmla="*/ 710914 w 868457"/>
                  <a:gd name="connsiteY38" fmla="*/ 570222 h 867509"/>
                  <a:gd name="connsiteX39" fmla="*/ 734400 w 868457"/>
                  <a:gd name="connsiteY39" fmla="*/ 587385 h 867509"/>
                  <a:gd name="connsiteX40" fmla="*/ 808473 w 868457"/>
                  <a:gd name="connsiteY40" fmla="*/ 571125 h 867509"/>
                  <a:gd name="connsiteX41" fmla="*/ 835572 w 868457"/>
                  <a:gd name="connsiteY41" fmla="*/ 641584 h 867509"/>
                  <a:gd name="connsiteX42" fmla="*/ 769629 w 868457"/>
                  <a:gd name="connsiteY42" fmla="*/ 678620 h 867509"/>
                  <a:gd name="connsiteX43" fmla="*/ 764210 w 868457"/>
                  <a:gd name="connsiteY43" fmla="*/ 706623 h 867509"/>
                  <a:gd name="connsiteX44" fmla="*/ 781373 w 868457"/>
                  <a:gd name="connsiteY44" fmla="*/ 708430 h 867509"/>
                  <a:gd name="connsiteX45" fmla="*/ 867189 w 868457"/>
                  <a:gd name="connsiteY45" fmla="*/ 628938 h 867509"/>
                  <a:gd name="connsiteX46" fmla="*/ 795826 w 868457"/>
                  <a:gd name="connsiteY46" fmla="*/ 535896 h 867509"/>
                  <a:gd name="connsiteX47" fmla="*/ 795826 w 868457"/>
                  <a:gd name="connsiteY47" fmla="*/ 330842 h 867509"/>
                  <a:gd name="connsiteX48" fmla="*/ 868092 w 868457"/>
                  <a:gd name="connsiteY48" fmla="*/ 253156 h 867509"/>
                  <a:gd name="connsiteX49" fmla="*/ 811183 w 868457"/>
                  <a:gd name="connsiteY49" fmla="*/ 163727 h 867509"/>
                  <a:gd name="connsiteX50" fmla="*/ 710010 w 868457"/>
                  <a:gd name="connsiteY50" fmla="*/ 197150 h 867509"/>
                  <a:gd name="connsiteX51" fmla="*/ 518506 w 868457"/>
                  <a:gd name="connsiteY51" fmla="*/ 109528 h 867509"/>
                  <a:gd name="connsiteX52" fmla="*/ 485083 w 868457"/>
                  <a:gd name="connsiteY52" fmla="*/ 15582 h 867509"/>
                  <a:gd name="connsiteX53" fmla="*/ 385718 w 868457"/>
                  <a:gd name="connsiteY53" fmla="*/ 15582 h 867509"/>
                  <a:gd name="connsiteX54" fmla="*/ 352295 w 868457"/>
                  <a:gd name="connsiteY54" fmla="*/ 109528 h 867509"/>
                  <a:gd name="connsiteX55" fmla="*/ 160791 w 868457"/>
                  <a:gd name="connsiteY55" fmla="*/ 197150 h 867509"/>
                  <a:gd name="connsiteX56" fmla="*/ 59619 w 868457"/>
                  <a:gd name="connsiteY56" fmla="*/ 163727 h 867509"/>
                  <a:gd name="connsiteX57" fmla="*/ 2710 w 868457"/>
                  <a:gd name="connsiteY57" fmla="*/ 253156 h 867509"/>
                  <a:gd name="connsiteX58" fmla="*/ 74976 w 868457"/>
                  <a:gd name="connsiteY58" fmla="*/ 330842 h 867509"/>
                  <a:gd name="connsiteX59" fmla="*/ 74976 w 868457"/>
                  <a:gd name="connsiteY59" fmla="*/ 535896 h 867509"/>
                  <a:gd name="connsiteX60" fmla="*/ 0 w 868457"/>
                  <a:gd name="connsiteY60" fmla="*/ 621711 h 867509"/>
                  <a:gd name="connsiteX61" fmla="*/ 780469 w 868457"/>
                  <a:gd name="connsiteY61" fmla="*/ 188117 h 867509"/>
                  <a:gd name="connsiteX62" fmla="*/ 838282 w 868457"/>
                  <a:gd name="connsiteY62" fmla="*/ 245929 h 867509"/>
                  <a:gd name="connsiteX63" fmla="*/ 780469 w 868457"/>
                  <a:gd name="connsiteY63" fmla="*/ 303742 h 867509"/>
                  <a:gd name="connsiteX64" fmla="*/ 722657 w 868457"/>
                  <a:gd name="connsiteY64" fmla="*/ 245929 h 867509"/>
                  <a:gd name="connsiteX65" fmla="*/ 780469 w 868457"/>
                  <a:gd name="connsiteY65" fmla="*/ 188117 h 867509"/>
                  <a:gd name="connsiteX66" fmla="*/ 433594 w 868457"/>
                  <a:gd name="connsiteY66" fmla="*/ 29132 h 867509"/>
                  <a:gd name="connsiteX67" fmla="*/ 491407 w 868457"/>
                  <a:gd name="connsiteY67" fmla="*/ 86945 h 867509"/>
                  <a:gd name="connsiteX68" fmla="*/ 433594 w 868457"/>
                  <a:gd name="connsiteY68" fmla="*/ 144757 h 867509"/>
                  <a:gd name="connsiteX69" fmla="*/ 375782 w 868457"/>
                  <a:gd name="connsiteY69" fmla="*/ 86945 h 867509"/>
                  <a:gd name="connsiteX70" fmla="*/ 433594 w 868457"/>
                  <a:gd name="connsiteY70" fmla="*/ 29132 h 867509"/>
                  <a:gd name="connsiteX71" fmla="*/ 144531 w 868457"/>
                  <a:gd name="connsiteY71" fmla="*/ 621711 h 867509"/>
                  <a:gd name="connsiteX72" fmla="*/ 86719 w 868457"/>
                  <a:gd name="connsiteY72" fmla="*/ 679524 h 867509"/>
                  <a:gd name="connsiteX73" fmla="*/ 28906 w 868457"/>
                  <a:gd name="connsiteY73" fmla="*/ 621711 h 867509"/>
                  <a:gd name="connsiteX74" fmla="*/ 86719 w 868457"/>
                  <a:gd name="connsiteY74" fmla="*/ 563898 h 867509"/>
                  <a:gd name="connsiteX75" fmla="*/ 144531 w 868457"/>
                  <a:gd name="connsiteY75" fmla="*/ 621711 h 867509"/>
                  <a:gd name="connsiteX76" fmla="*/ 28906 w 868457"/>
                  <a:gd name="connsiteY76" fmla="*/ 245929 h 867509"/>
                  <a:gd name="connsiteX77" fmla="*/ 86719 w 868457"/>
                  <a:gd name="connsiteY77" fmla="*/ 188117 h 867509"/>
                  <a:gd name="connsiteX78" fmla="*/ 144531 w 868457"/>
                  <a:gd name="connsiteY78" fmla="*/ 245929 h 867509"/>
                  <a:gd name="connsiteX79" fmla="*/ 86719 w 868457"/>
                  <a:gd name="connsiteY79" fmla="*/ 303742 h 867509"/>
                  <a:gd name="connsiteX80" fmla="*/ 28906 w 868457"/>
                  <a:gd name="connsiteY80" fmla="*/ 245929 h 86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68457" h="867509">
                    <a:moveTo>
                      <a:pt x="0" y="621711"/>
                    </a:moveTo>
                    <a:cubicBezTo>
                      <a:pt x="0" y="659650"/>
                      <a:pt x="25293" y="693073"/>
                      <a:pt x="61426" y="704816"/>
                    </a:cubicBezTo>
                    <a:cubicBezTo>
                      <a:pt x="97559" y="716560"/>
                      <a:pt x="137304" y="702107"/>
                      <a:pt x="158984" y="670490"/>
                    </a:cubicBezTo>
                    <a:lnTo>
                      <a:pt x="350489" y="758113"/>
                    </a:lnTo>
                    <a:cubicBezTo>
                      <a:pt x="348682" y="765339"/>
                      <a:pt x="347779" y="772566"/>
                      <a:pt x="347779" y="780696"/>
                    </a:cubicBezTo>
                    <a:cubicBezTo>
                      <a:pt x="347779" y="813215"/>
                      <a:pt x="366748" y="843928"/>
                      <a:pt x="395655" y="858381"/>
                    </a:cubicBezTo>
                    <a:cubicBezTo>
                      <a:pt x="425464" y="872835"/>
                      <a:pt x="459790" y="870125"/>
                      <a:pt x="485987" y="850251"/>
                    </a:cubicBezTo>
                    <a:lnTo>
                      <a:pt x="468824" y="826765"/>
                    </a:lnTo>
                    <a:cubicBezTo>
                      <a:pt x="458887" y="833992"/>
                      <a:pt x="446240" y="838508"/>
                      <a:pt x="434497" y="838508"/>
                    </a:cubicBezTo>
                    <a:cubicBezTo>
                      <a:pt x="415528" y="838508"/>
                      <a:pt x="396558" y="828572"/>
                      <a:pt x="386621" y="812312"/>
                    </a:cubicBezTo>
                    <a:cubicBezTo>
                      <a:pt x="375782" y="796052"/>
                      <a:pt x="373975" y="775276"/>
                      <a:pt x="382105" y="758113"/>
                    </a:cubicBezTo>
                    <a:cubicBezTo>
                      <a:pt x="383912" y="754499"/>
                      <a:pt x="384815" y="749982"/>
                      <a:pt x="383008" y="746370"/>
                    </a:cubicBezTo>
                    <a:cubicBezTo>
                      <a:pt x="382105" y="742756"/>
                      <a:pt x="378491" y="739143"/>
                      <a:pt x="374878" y="737336"/>
                    </a:cubicBezTo>
                    <a:lnTo>
                      <a:pt x="171631" y="644294"/>
                    </a:lnTo>
                    <a:cubicBezTo>
                      <a:pt x="176148" y="628034"/>
                      <a:pt x="175244" y="611774"/>
                      <a:pt x="170727" y="595515"/>
                    </a:cubicBezTo>
                    <a:lnTo>
                      <a:pt x="282740" y="534089"/>
                    </a:lnTo>
                    <a:lnTo>
                      <a:pt x="269190" y="508796"/>
                    </a:lnTo>
                    <a:lnTo>
                      <a:pt x="158081" y="569318"/>
                    </a:lnTo>
                    <a:cubicBezTo>
                      <a:pt x="144531" y="551252"/>
                      <a:pt x="124658" y="539509"/>
                      <a:pt x="102978" y="535896"/>
                    </a:cubicBezTo>
                    <a:lnTo>
                      <a:pt x="102978" y="330842"/>
                    </a:lnTo>
                    <a:cubicBezTo>
                      <a:pt x="121045" y="328132"/>
                      <a:pt x="137304" y="319099"/>
                      <a:pt x="149951" y="306452"/>
                    </a:cubicBezTo>
                    <a:lnTo>
                      <a:pt x="270093" y="366974"/>
                    </a:lnTo>
                    <a:lnTo>
                      <a:pt x="282740" y="340778"/>
                    </a:lnTo>
                    <a:lnTo>
                      <a:pt x="166211" y="282966"/>
                    </a:lnTo>
                    <a:cubicBezTo>
                      <a:pt x="175244" y="263996"/>
                      <a:pt x="177051" y="243219"/>
                      <a:pt x="171631" y="223346"/>
                    </a:cubicBezTo>
                    <a:lnTo>
                      <a:pt x="363135" y="135724"/>
                    </a:lnTo>
                    <a:cubicBezTo>
                      <a:pt x="376685" y="155597"/>
                      <a:pt x="397461" y="168244"/>
                      <a:pt x="420044" y="172760"/>
                    </a:cubicBezTo>
                    <a:lnTo>
                      <a:pt x="420044" y="245929"/>
                    </a:lnTo>
                    <a:lnTo>
                      <a:pt x="448950" y="245929"/>
                    </a:lnTo>
                    <a:lnTo>
                      <a:pt x="448950" y="172760"/>
                    </a:lnTo>
                    <a:cubicBezTo>
                      <a:pt x="472437" y="169147"/>
                      <a:pt x="493213" y="155597"/>
                      <a:pt x="505860" y="135724"/>
                    </a:cubicBezTo>
                    <a:lnTo>
                      <a:pt x="697364" y="223346"/>
                    </a:lnTo>
                    <a:cubicBezTo>
                      <a:pt x="692847" y="239606"/>
                      <a:pt x="693751" y="255866"/>
                      <a:pt x="698267" y="272126"/>
                    </a:cubicBezTo>
                    <a:lnTo>
                      <a:pt x="586255" y="333551"/>
                    </a:lnTo>
                    <a:lnTo>
                      <a:pt x="599805" y="358844"/>
                    </a:lnTo>
                    <a:lnTo>
                      <a:pt x="710914" y="298322"/>
                    </a:lnTo>
                    <a:cubicBezTo>
                      <a:pt x="724463" y="316388"/>
                      <a:pt x="744337" y="328132"/>
                      <a:pt x="766017" y="331745"/>
                    </a:cubicBezTo>
                    <a:lnTo>
                      <a:pt x="766017" y="536799"/>
                    </a:lnTo>
                    <a:cubicBezTo>
                      <a:pt x="744337" y="540412"/>
                      <a:pt x="724463" y="552155"/>
                      <a:pt x="710914" y="570222"/>
                    </a:cubicBezTo>
                    <a:lnTo>
                      <a:pt x="734400" y="587385"/>
                    </a:lnTo>
                    <a:cubicBezTo>
                      <a:pt x="751563" y="564802"/>
                      <a:pt x="783179" y="557575"/>
                      <a:pt x="808473" y="571125"/>
                    </a:cubicBezTo>
                    <a:cubicBezTo>
                      <a:pt x="833766" y="584675"/>
                      <a:pt x="845509" y="614484"/>
                      <a:pt x="835572" y="641584"/>
                    </a:cubicBezTo>
                    <a:cubicBezTo>
                      <a:pt x="825636" y="668684"/>
                      <a:pt x="797633" y="684040"/>
                      <a:pt x="769629" y="678620"/>
                    </a:cubicBezTo>
                    <a:lnTo>
                      <a:pt x="764210" y="706623"/>
                    </a:lnTo>
                    <a:cubicBezTo>
                      <a:pt x="769629" y="707527"/>
                      <a:pt x="775953" y="708430"/>
                      <a:pt x="781373" y="708430"/>
                    </a:cubicBezTo>
                    <a:cubicBezTo>
                      <a:pt x="826539" y="708430"/>
                      <a:pt x="863575" y="674104"/>
                      <a:pt x="867189" y="628938"/>
                    </a:cubicBezTo>
                    <a:cubicBezTo>
                      <a:pt x="870802" y="583772"/>
                      <a:pt x="840089" y="544025"/>
                      <a:pt x="795826" y="535896"/>
                    </a:cubicBezTo>
                    <a:lnTo>
                      <a:pt x="795826" y="330842"/>
                    </a:lnTo>
                    <a:cubicBezTo>
                      <a:pt x="834669" y="324518"/>
                      <a:pt x="864478" y="291999"/>
                      <a:pt x="868092" y="253156"/>
                    </a:cubicBezTo>
                    <a:cubicBezTo>
                      <a:pt x="871705" y="213410"/>
                      <a:pt x="848219" y="177277"/>
                      <a:pt x="811183" y="163727"/>
                    </a:cubicBezTo>
                    <a:cubicBezTo>
                      <a:pt x="774146" y="150177"/>
                      <a:pt x="732594" y="163727"/>
                      <a:pt x="710010" y="197150"/>
                    </a:cubicBezTo>
                    <a:lnTo>
                      <a:pt x="518506" y="109528"/>
                    </a:lnTo>
                    <a:cubicBezTo>
                      <a:pt x="528443" y="74298"/>
                      <a:pt x="514893" y="37262"/>
                      <a:pt x="485083" y="15582"/>
                    </a:cubicBezTo>
                    <a:cubicBezTo>
                      <a:pt x="455274" y="-5194"/>
                      <a:pt x="415528" y="-5194"/>
                      <a:pt x="385718" y="15582"/>
                    </a:cubicBezTo>
                    <a:cubicBezTo>
                      <a:pt x="355908" y="36359"/>
                      <a:pt x="342359" y="74298"/>
                      <a:pt x="352295" y="109528"/>
                    </a:cubicBezTo>
                    <a:lnTo>
                      <a:pt x="160791" y="197150"/>
                    </a:lnTo>
                    <a:cubicBezTo>
                      <a:pt x="138208" y="164630"/>
                      <a:pt x="97559" y="151080"/>
                      <a:pt x="59619" y="163727"/>
                    </a:cubicBezTo>
                    <a:cubicBezTo>
                      <a:pt x="22583" y="177277"/>
                      <a:pt x="-904" y="213410"/>
                      <a:pt x="2710" y="253156"/>
                    </a:cubicBezTo>
                    <a:cubicBezTo>
                      <a:pt x="6323" y="292902"/>
                      <a:pt x="36133" y="324518"/>
                      <a:pt x="74976" y="330842"/>
                    </a:cubicBezTo>
                    <a:lnTo>
                      <a:pt x="74976" y="535896"/>
                    </a:lnTo>
                    <a:cubicBezTo>
                      <a:pt x="30713" y="543122"/>
                      <a:pt x="0" y="579255"/>
                      <a:pt x="0" y="621711"/>
                    </a:cubicBezTo>
                    <a:close/>
                    <a:moveTo>
                      <a:pt x="780469" y="188117"/>
                    </a:moveTo>
                    <a:cubicBezTo>
                      <a:pt x="812086" y="188117"/>
                      <a:pt x="838282" y="214313"/>
                      <a:pt x="838282" y="245929"/>
                    </a:cubicBezTo>
                    <a:cubicBezTo>
                      <a:pt x="838282" y="277545"/>
                      <a:pt x="812086" y="303742"/>
                      <a:pt x="780469" y="303742"/>
                    </a:cubicBezTo>
                    <a:cubicBezTo>
                      <a:pt x="748853" y="303742"/>
                      <a:pt x="722657" y="277545"/>
                      <a:pt x="722657" y="245929"/>
                    </a:cubicBezTo>
                    <a:cubicBezTo>
                      <a:pt x="722657" y="213410"/>
                      <a:pt x="748853" y="188117"/>
                      <a:pt x="780469" y="188117"/>
                    </a:cubicBezTo>
                    <a:close/>
                    <a:moveTo>
                      <a:pt x="433594" y="29132"/>
                    </a:moveTo>
                    <a:cubicBezTo>
                      <a:pt x="465211" y="29132"/>
                      <a:pt x="491407" y="55329"/>
                      <a:pt x="491407" y="86945"/>
                    </a:cubicBezTo>
                    <a:cubicBezTo>
                      <a:pt x="491407" y="118561"/>
                      <a:pt x="465211" y="144757"/>
                      <a:pt x="433594" y="144757"/>
                    </a:cubicBezTo>
                    <a:cubicBezTo>
                      <a:pt x="401978" y="144757"/>
                      <a:pt x="375782" y="118561"/>
                      <a:pt x="375782" y="86945"/>
                    </a:cubicBezTo>
                    <a:cubicBezTo>
                      <a:pt x="375782" y="55329"/>
                      <a:pt x="401978" y="29132"/>
                      <a:pt x="433594" y="29132"/>
                    </a:cubicBezTo>
                    <a:close/>
                    <a:moveTo>
                      <a:pt x="144531" y="621711"/>
                    </a:moveTo>
                    <a:cubicBezTo>
                      <a:pt x="144531" y="653328"/>
                      <a:pt x="118335" y="679524"/>
                      <a:pt x="86719" y="679524"/>
                    </a:cubicBezTo>
                    <a:cubicBezTo>
                      <a:pt x="55102" y="679524"/>
                      <a:pt x="28906" y="653328"/>
                      <a:pt x="28906" y="621711"/>
                    </a:cubicBezTo>
                    <a:cubicBezTo>
                      <a:pt x="28906" y="590095"/>
                      <a:pt x="55102" y="563898"/>
                      <a:pt x="86719" y="563898"/>
                    </a:cubicBezTo>
                    <a:cubicBezTo>
                      <a:pt x="118335" y="563898"/>
                      <a:pt x="144531" y="589191"/>
                      <a:pt x="144531" y="621711"/>
                    </a:cubicBezTo>
                    <a:close/>
                    <a:moveTo>
                      <a:pt x="28906" y="245929"/>
                    </a:moveTo>
                    <a:cubicBezTo>
                      <a:pt x="28906" y="214313"/>
                      <a:pt x="55102" y="188117"/>
                      <a:pt x="86719" y="188117"/>
                    </a:cubicBezTo>
                    <a:cubicBezTo>
                      <a:pt x="118335" y="188117"/>
                      <a:pt x="144531" y="214313"/>
                      <a:pt x="144531" y="245929"/>
                    </a:cubicBezTo>
                    <a:cubicBezTo>
                      <a:pt x="144531" y="277545"/>
                      <a:pt x="118335" y="303742"/>
                      <a:pt x="86719" y="303742"/>
                    </a:cubicBezTo>
                    <a:cubicBezTo>
                      <a:pt x="55102" y="303742"/>
                      <a:pt x="28906" y="277545"/>
                      <a:pt x="28906" y="245929"/>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42" name="Freeform 41">
                <a:extLst>
                  <a:ext uri="{FF2B5EF4-FFF2-40B4-BE49-F238E27FC236}">
                    <a16:creationId xmlns:a16="http://schemas.microsoft.com/office/drawing/2014/main" id="{63CB47A0-1310-73F4-1D7D-C19DF5039122}"/>
                  </a:ext>
                </a:extLst>
              </p:cNvPr>
              <p:cNvSpPr/>
              <p:nvPr/>
            </p:nvSpPr>
            <p:spPr>
              <a:xfrm>
                <a:off x="7618928" y="1129902"/>
                <a:ext cx="144531" cy="144531"/>
              </a:xfrm>
              <a:custGeom>
                <a:avLst/>
                <a:gdLst>
                  <a:gd name="connsiteX0" fmla="*/ 72266 w 144531"/>
                  <a:gd name="connsiteY0" fmla="*/ 0 h 144531"/>
                  <a:gd name="connsiteX1" fmla="*/ 0 w 144531"/>
                  <a:gd name="connsiteY1" fmla="*/ 72266 h 144531"/>
                  <a:gd name="connsiteX2" fmla="*/ 72266 w 144531"/>
                  <a:gd name="connsiteY2" fmla="*/ 144531 h 144531"/>
                  <a:gd name="connsiteX3" fmla="*/ 144531 w 144531"/>
                  <a:gd name="connsiteY3" fmla="*/ 72266 h 144531"/>
                  <a:gd name="connsiteX4" fmla="*/ 72266 w 144531"/>
                  <a:gd name="connsiteY4" fmla="*/ 0 h 144531"/>
                  <a:gd name="connsiteX5" fmla="*/ 72266 w 144531"/>
                  <a:gd name="connsiteY5" fmla="*/ 115626 h 144531"/>
                  <a:gd name="connsiteX6" fmla="*/ 28906 w 144531"/>
                  <a:gd name="connsiteY6" fmla="*/ 72266 h 144531"/>
                  <a:gd name="connsiteX7" fmla="*/ 72266 w 144531"/>
                  <a:gd name="connsiteY7" fmla="*/ 28906 h 144531"/>
                  <a:gd name="connsiteX8" fmla="*/ 115625 w 144531"/>
                  <a:gd name="connsiteY8" fmla="*/ 72266 h 144531"/>
                  <a:gd name="connsiteX9" fmla="*/ 72266 w 144531"/>
                  <a:gd name="connsiteY9" fmla="*/ 115626 h 14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531" h="144531">
                    <a:moveTo>
                      <a:pt x="72266" y="0"/>
                    </a:moveTo>
                    <a:cubicBezTo>
                      <a:pt x="32519" y="0"/>
                      <a:pt x="0" y="32520"/>
                      <a:pt x="0" y="72266"/>
                    </a:cubicBezTo>
                    <a:cubicBezTo>
                      <a:pt x="0" y="112012"/>
                      <a:pt x="32519" y="144531"/>
                      <a:pt x="72266" y="144531"/>
                    </a:cubicBezTo>
                    <a:cubicBezTo>
                      <a:pt x="112012" y="144531"/>
                      <a:pt x="144531" y="112012"/>
                      <a:pt x="144531" y="72266"/>
                    </a:cubicBezTo>
                    <a:cubicBezTo>
                      <a:pt x="144531" y="31616"/>
                      <a:pt x="112012" y="0"/>
                      <a:pt x="72266" y="0"/>
                    </a:cubicBezTo>
                    <a:close/>
                    <a:moveTo>
                      <a:pt x="72266" y="115626"/>
                    </a:moveTo>
                    <a:cubicBezTo>
                      <a:pt x="48779" y="115626"/>
                      <a:pt x="28906" y="96656"/>
                      <a:pt x="28906" y="72266"/>
                    </a:cubicBezTo>
                    <a:cubicBezTo>
                      <a:pt x="28906" y="48780"/>
                      <a:pt x="47876" y="28906"/>
                      <a:pt x="72266" y="28906"/>
                    </a:cubicBezTo>
                    <a:cubicBezTo>
                      <a:pt x="96655" y="28906"/>
                      <a:pt x="115625" y="47876"/>
                      <a:pt x="115625" y="72266"/>
                    </a:cubicBezTo>
                    <a:cubicBezTo>
                      <a:pt x="115625" y="95752"/>
                      <a:pt x="96655" y="115626"/>
                      <a:pt x="72266" y="115626"/>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43" name="Freeform 42">
                <a:extLst>
                  <a:ext uri="{FF2B5EF4-FFF2-40B4-BE49-F238E27FC236}">
                    <a16:creationId xmlns:a16="http://schemas.microsoft.com/office/drawing/2014/main" id="{5766C682-DE1F-0500-821D-F7D8BAACE270}"/>
                  </a:ext>
                </a:extLst>
              </p:cNvPr>
              <p:cNvSpPr/>
              <p:nvPr/>
            </p:nvSpPr>
            <p:spPr>
              <a:xfrm>
                <a:off x="7531306" y="1043183"/>
                <a:ext cx="317969" cy="317065"/>
              </a:xfrm>
              <a:custGeom>
                <a:avLst/>
                <a:gdLst>
                  <a:gd name="connsiteX0" fmla="*/ 27100 w 317969"/>
                  <a:gd name="connsiteY0" fmla="*/ 250220 h 317065"/>
                  <a:gd name="connsiteX1" fmla="*/ 67749 w 317969"/>
                  <a:gd name="connsiteY1" fmla="*/ 290870 h 317065"/>
                  <a:gd name="connsiteX2" fmla="*/ 88525 w 317969"/>
                  <a:gd name="connsiteY2" fmla="*/ 290870 h 317065"/>
                  <a:gd name="connsiteX3" fmla="*/ 103882 w 317969"/>
                  <a:gd name="connsiteY3" fmla="*/ 275513 h 317065"/>
                  <a:gd name="connsiteX4" fmla="*/ 116528 w 317969"/>
                  <a:gd name="connsiteY4" fmla="*/ 280933 h 317065"/>
                  <a:gd name="connsiteX5" fmla="*/ 116528 w 317969"/>
                  <a:gd name="connsiteY5" fmla="*/ 302613 h 317065"/>
                  <a:gd name="connsiteX6" fmla="*/ 130982 w 317969"/>
                  <a:gd name="connsiteY6" fmla="*/ 317066 h 317065"/>
                  <a:gd name="connsiteX7" fmla="*/ 174341 w 317969"/>
                  <a:gd name="connsiteY7" fmla="*/ 317066 h 317065"/>
                  <a:gd name="connsiteX8" fmla="*/ 174341 w 317969"/>
                  <a:gd name="connsiteY8" fmla="*/ 289063 h 317065"/>
                  <a:gd name="connsiteX9" fmla="*/ 145435 w 317969"/>
                  <a:gd name="connsiteY9" fmla="*/ 289063 h 317065"/>
                  <a:gd name="connsiteX10" fmla="*/ 145435 w 317969"/>
                  <a:gd name="connsiteY10" fmla="*/ 270996 h 317065"/>
                  <a:gd name="connsiteX11" fmla="*/ 134595 w 317969"/>
                  <a:gd name="connsiteY11" fmla="*/ 257447 h 317065"/>
                  <a:gd name="connsiteX12" fmla="*/ 108399 w 317969"/>
                  <a:gd name="connsiteY12" fmla="*/ 246607 h 317065"/>
                  <a:gd name="connsiteX13" fmla="*/ 91235 w 317969"/>
                  <a:gd name="connsiteY13" fmla="*/ 249317 h 317065"/>
                  <a:gd name="connsiteX14" fmla="*/ 78589 w 317969"/>
                  <a:gd name="connsiteY14" fmla="*/ 261963 h 317065"/>
                  <a:gd name="connsiteX15" fmla="*/ 57812 w 317969"/>
                  <a:gd name="connsiteY15" fmla="*/ 241187 h 317065"/>
                  <a:gd name="connsiteX16" fmla="*/ 70459 w 317969"/>
                  <a:gd name="connsiteY16" fmla="*/ 228540 h 317065"/>
                  <a:gd name="connsiteX17" fmla="*/ 73169 w 317969"/>
                  <a:gd name="connsiteY17" fmla="*/ 211377 h 317065"/>
                  <a:gd name="connsiteX18" fmla="*/ 62329 w 317969"/>
                  <a:gd name="connsiteY18" fmla="*/ 185181 h 317065"/>
                  <a:gd name="connsiteX19" fmla="*/ 48779 w 317969"/>
                  <a:gd name="connsiteY19" fmla="*/ 174341 h 317065"/>
                  <a:gd name="connsiteX20" fmla="*/ 30713 w 317969"/>
                  <a:gd name="connsiteY20" fmla="*/ 174341 h 317065"/>
                  <a:gd name="connsiteX21" fmla="*/ 30713 w 317969"/>
                  <a:gd name="connsiteY21" fmla="*/ 144531 h 317065"/>
                  <a:gd name="connsiteX22" fmla="*/ 48779 w 317969"/>
                  <a:gd name="connsiteY22" fmla="*/ 144531 h 317065"/>
                  <a:gd name="connsiteX23" fmla="*/ 62329 w 317969"/>
                  <a:gd name="connsiteY23" fmla="*/ 133691 h 317065"/>
                  <a:gd name="connsiteX24" fmla="*/ 73169 w 317969"/>
                  <a:gd name="connsiteY24" fmla="*/ 107495 h 317065"/>
                  <a:gd name="connsiteX25" fmla="*/ 70459 w 317969"/>
                  <a:gd name="connsiteY25" fmla="*/ 90332 h 317065"/>
                  <a:gd name="connsiteX26" fmla="*/ 57812 w 317969"/>
                  <a:gd name="connsiteY26" fmla="*/ 77685 h 317065"/>
                  <a:gd name="connsiteX27" fmla="*/ 78589 w 317969"/>
                  <a:gd name="connsiteY27" fmla="*/ 56909 h 317065"/>
                  <a:gd name="connsiteX28" fmla="*/ 91235 w 317969"/>
                  <a:gd name="connsiteY28" fmla="*/ 69556 h 317065"/>
                  <a:gd name="connsiteX29" fmla="*/ 108399 w 317969"/>
                  <a:gd name="connsiteY29" fmla="*/ 72266 h 317065"/>
                  <a:gd name="connsiteX30" fmla="*/ 134595 w 317969"/>
                  <a:gd name="connsiteY30" fmla="*/ 61426 h 317065"/>
                  <a:gd name="connsiteX31" fmla="*/ 145435 w 317969"/>
                  <a:gd name="connsiteY31" fmla="*/ 47876 h 317065"/>
                  <a:gd name="connsiteX32" fmla="*/ 145435 w 317969"/>
                  <a:gd name="connsiteY32" fmla="*/ 29809 h 317065"/>
                  <a:gd name="connsiteX33" fmla="*/ 174341 w 317969"/>
                  <a:gd name="connsiteY33" fmla="*/ 29809 h 317065"/>
                  <a:gd name="connsiteX34" fmla="*/ 174341 w 317969"/>
                  <a:gd name="connsiteY34" fmla="*/ 47876 h 317065"/>
                  <a:gd name="connsiteX35" fmla="*/ 185181 w 317969"/>
                  <a:gd name="connsiteY35" fmla="*/ 61426 h 317065"/>
                  <a:gd name="connsiteX36" fmla="*/ 211377 w 317969"/>
                  <a:gd name="connsiteY36" fmla="*/ 72266 h 317065"/>
                  <a:gd name="connsiteX37" fmla="*/ 228540 w 317969"/>
                  <a:gd name="connsiteY37" fmla="*/ 69556 h 317065"/>
                  <a:gd name="connsiteX38" fmla="*/ 241187 w 317969"/>
                  <a:gd name="connsiteY38" fmla="*/ 56909 h 317065"/>
                  <a:gd name="connsiteX39" fmla="*/ 261963 w 317969"/>
                  <a:gd name="connsiteY39" fmla="*/ 77685 h 317065"/>
                  <a:gd name="connsiteX40" fmla="*/ 249317 w 317969"/>
                  <a:gd name="connsiteY40" fmla="*/ 90332 h 317065"/>
                  <a:gd name="connsiteX41" fmla="*/ 246607 w 317969"/>
                  <a:gd name="connsiteY41" fmla="*/ 107495 h 317065"/>
                  <a:gd name="connsiteX42" fmla="*/ 257447 w 317969"/>
                  <a:gd name="connsiteY42" fmla="*/ 133691 h 317065"/>
                  <a:gd name="connsiteX43" fmla="*/ 270996 w 317969"/>
                  <a:gd name="connsiteY43" fmla="*/ 144531 h 317065"/>
                  <a:gd name="connsiteX44" fmla="*/ 289063 w 317969"/>
                  <a:gd name="connsiteY44" fmla="*/ 144531 h 317065"/>
                  <a:gd name="connsiteX45" fmla="*/ 289063 w 317969"/>
                  <a:gd name="connsiteY45" fmla="*/ 187891 h 317065"/>
                  <a:gd name="connsiteX46" fmla="*/ 317969 w 317969"/>
                  <a:gd name="connsiteY46" fmla="*/ 187891 h 317065"/>
                  <a:gd name="connsiteX47" fmla="*/ 317969 w 317969"/>
                  <a:gd name="connsiteY47" fmla="*/ 130079 h 317065"/>
                  <a:gd name="connsiteX48" fmla="*/ 303516 w 317969"/>
                  <a:gd name="connsiteY48" fmla="*/ 115625 h 317065"/>
                  <a:gd name="connsiteX49" fmla="*/ 281836 w 317969"/>
                  <a:gd name="connsiteY49" fmla="*/ 115625 h 317065"/>
                  <a:gd name="connsiteX50" fmla="*/ 276416 w 317969"/>
                  <a:gd name="connsiteY50" fmla="*/ 102979 h 317065"/>
                  <a:gd name="connsiteX51" fmla="*/ 291773 w 317969"/>
                  <a:gd name="connsiteY51" fmla="*/ 87622 h 317065"/>
                  <a:gd name="connsiteX52" fmla="*/ 291773 w 317969"/>
                  <a:gd name="connsiteY52" fmla="*/ 66846 h 317065"/>
                  <a:gd name="connsiteX53" fmla="*/ 251123 w 317969"/>
                  <a:gd name="connsiteY53" fmla="*/ 26197 h 317065"/>
                  <a:gd name="connsiteX54" fmla="*/ 230347 w 317969"/>
                  <a:gd name="connsiteY54" fmla="*/ 26197 h 317065"/>
                  <a:gd name="connsiteX55" fmla="*/ 214990 w 317969"/>
                  <a:gd name="connsiteY55" fmla="*/ 41553 h 317065"/>
                  <a:gd name="connsiteX56" fmla="*/ 202344 w 317969"/>
                  <a:gd name="connsiteY56" fmla="*/ 36133 h 317065"/>
                  <a:gd name="connsiteX57" fmla="*/ 202344 w 317969"/>
                  <a:gd name="connsiteY57" fmla="*/ 14453 h 317065"/>
                  <a:gd name="connsiteX58" fmla="*/ 187891 w 317969"/>
                  <a:gd name="connsiteY58" fmla="*/ 0 h 317065"/>
                  <a:gd name="connsiteX59" fmla="*/ 130078 w 317969"/>
                  <a:gd name="connsiteY59" fmla="*/ 0 h 317065"/>
                  <a:gd name="connsiteX60" fmla="*/ 115625 w 317969"/>
                  <a:gd name="connsiteY60" fmla="*/ 14453 h 317065"/>
                  <a:gd name="connsiteX61" fmla="*/ 115625 w 317969"/>
                  <a:gd name="connsiteY61" fmla="*/ 36133 h 317065"/>
                  <a:gd name="connsiteX62" fmla="*/ 102978 w 317969"/>
                  <a:gd name="connsiteY62" fmla="*/ 41553 h 317065"/>
                  <a:gd name="connsiteX63" fmla="*/ 87622 w 317969"/>
                  <a:gd name="connsiteY63" fmla="*/ 26197 h 317065"/>
                  <a:gd name="connsiteX64" fmla="*/ 66845 w 317969"/>
                  <a:gd name="connsiteY64" fmla="*/ 26197 h 317065"/>
                  <a:gd name="connsiteX65" fmla="*/ 26196 w 317969"/>
                  <a:gd name="connsiteY65" fmla="*/ 66846 h 317065"/>
                  <a:gd name="connsiteX66" fmla="*/ 26196 w 317969"/>
                  <a:gd name="connsiteY66" fmla="*/ 87622 h 317065"/>
                  <a:gd name="connsiteX67" fmla="*/ 41553 w 317969"/>
                  <a:gd name="connsiteY67" fmla="*/ 102979 h 317065"/>
                  <a:gd name="connsiteX68" fmla="*/ 36133 w 317969"/>
                  <a:gd name="connsiteY68" fmla="*/ 115625 h 317065"/>
                  <a:gd name="connsiteX69" fmla="*/ 14453 w 317969"/>
                  <a:gd name="connsiteY69" fmla="*/ 115625 h 317065"/>
                  <a:gd name="connsiteX70" fmla="*/ 0 w 317969"/>
                  <a:gd name="connsiteY70" fmla="*/ 130079 h 317065"/>
                  <a:gd name="connsiteX71" fmla="*/ 0 w 317969"/>
                  <a:gd name="connsiteY71" fmla="*/ 187891 h 317065"/>
                  <a:gd name="connsiteX72" fmla="*/ 14453 w 317969"/>
                  <a:gd name="connsiteY72" fmla="*/ 202344 h 317065"/>
                  <a:gd name="connsiteX73" fmla="*/ 36133 w 317969"/>
                  <a:gd name="connsiteY73" fmla="*/ 202344 h 317065"/>
                  <a:gd name="connsiteX74" fmla="*/ 41553 w 317969"/>
                  <a:gd name="connsiteY74" fmla="*/ 214990 h 317065"/>
                  <a:gd name="connsiteX75" fmla="*/ 26196 w 317969"/>
                  <a:gd name="connsiteY75" fmla="*/ 230347 h 317065"/>
                  <a:gd name="connsiteX76" fmla="*/ 27100 w 317969"/>
                  <a:gd name="connsiteY76" fmla="*/ 250220 h 317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17969" h="317065">
                    <a:moveTo>
                      <a:pt x="27100" y="250220"/>
                    </a:moveTo>
                    <a:lnTo>
                      <a:pt x="67749" y="290870"/>
                    </a:lnTo>
                    <a:cubicBezTo>
                      <a:pt x="73169" y="296289"/>
                      <a:pt x="82202" y="296289"/>
                      <a:pt x="88525" y="290870"/>
                    </a:cubicBezTo>
                    <a:lnTo>
                      <a:pt x="103882" y="275513"/>
                    </a:lnTo>
                    <a:cubicBezTo>
                      <a:pt x="108399" y="277320"/>
                      <a:pt x="112012" y="279127"/>
                      <a:pt x="116528" y="280933"/>
                    </a:cubicBezTo>
                    <a:lnTo>
                      <a:pt x="116528" y="302613"/>
                    </a:lnTo>
                    <a:cubicBezTo>
                      <a:pt x="116528" y="310743"/>
                      <a:pt x="122852" y="317066"/>
                      <a:pt x="130982" y="317066"/>
                    </a:cubicBezTo>
                    <a:lnTo>
                      <a:pt x="174341" y="317066"/>
                    </a:lnTo>
                    <a:lnTo>
                      <a:pt x="174341" y="289063"/>
                    </a:lnTo>
                    <a:lnTo>
                      <a:pt x="145435" y="289063"/>
                    </a:lnTo>
                    <a:lnTo>
                      <a:pt x="145435" y="270996"/>
                    </a:lnTo>
                    <a:cubicBezTo>
                      <a:pt x="145435" y="264673"/>
                      <a:pt x="140918" y="258350"/>
                      <a:pt x="134595" y="257447"/>
                    </a:cubicBezTo>
                    <a:cubicBezTo>
                      <a:pt x="125561" y="254737"/>
                      <a:pt x="116528" y="251123"/>
                      <a:pt x="108399" y="246607"/>
                    </a:cubicBezTo>
                    <a:cubicBezTo>
                      <a:pt x="102978" y="242994"/>
                      <a:pt x="95752" y="243897"/>
                      <a:pt x="91235" y="249317"/>
                    </a:cubicBezTo>
                    <a:lnTo>
                      <a:pt x="78589" y="261963"/>
                    </a:lnTo>
                    <a:lnTo>
                      <a:pt x="57812" y="241187"/>
                    </a:lnTo>
                    <a:lnTo>
                      <a:pt x="70459" y="228540"/>
                    </a:lnTo>
                    <a:cubicBezTo>
                      <a:pt x="74976" y="224024"/>
                      <a:pt x="75879" y="216797"/>
                      <a:pt x="73169" y="211377"/>
                    </a:cubicBezTo>
                    <a:cubicBezTo>
                      <a:pt x="68652" y="203247"/>
                      <a:pt x="65039" y="194214"/>
                      <a:pt x="62329" y="185181"/>
                    </a:cubicBezTo>
                    <a:cubicBezTo>
                      <a:pt x="60523" y="178858"/>
                      <a:pt x="55102" y="174341"/>
                      <a:pt x="48779" y="174341"/>
                    </a:cubicBezTo>
                    <a:lnTo>
                      <a:pt x="30713" y="174341"/>
                    </a:lnTo>
                    <a:lnTo>
                      <a:pt x="30713" y="144531"/>
                    </a:lnTo>
                    <a:lnTo>
                      <a:pt x="48779" y="144531"/>
                    </a:lnTo>
                    <a:cubicBezTo>
                      <a:pt x="55102" y="144531"/>
                      <a:pt x="61426" y="140015"/>
                      <a:pt x="62329" y="133691"/>
                    </a:cubicBezTo>
                    <a:cubicBezTo>
                      <a:pt x="65039" y="124658"/>
                      <a:pt x="68652" y="115625"/>
                      <a:pt x="73169" y="107495"/>
                    </a:cubicBezTo>
                    <a:cubicBezTo>
                      <a:pt x="76782" y="102075"/>
                      <a:pt x="75879" y="94849"/>
                      <a:pt x="70459" y="90332"/>
                    </a:cubicBezTo>
                    <a:lnTo>
                      <a:pt x="57812" y="77685"/>
                    </a:lnTo>
                    <a:lnTo>
                      <a:pt x="78589" y="56909"/>
                    </a:lnTo>
                    <a:lnTo>
                      <a:pt x="91235" y="69556"/>
                    </a:lnTo>
                    <a:cubicBezTo>
                      <a:pt x="95752" y="74072"/>
                      <a:pt x="102978" y="74976"/>
                      <a:pt x="108399" y="72266"/>
                    </a:cubicBezTo>
                    <a:cubicBezTo>
                      <a:pt x="116528" y="67749"/>
                      <a:pt x="125561" y="64136"/>
                      <a:pt x="134595" y="61426"/>
                    </a:cubicBezTo>
                    <a:cubicBezTo>
                      <a:pt x="140918" y="59619"/>
                      <a:pt x="145435" y="54199"/>
                      <a:pt x="145435" y="47876"/>
                    </a:cubicBezTo>
                    <a:lnTo>
                      <a:pt x="145435" y="29809"/>
                    </a:lnTo>
                    <a:lnTo>
                      <a:pt x="174341" y="29809"/>
                    </a:lnTo>
                    <a:lnTo>
                      <a:pt x="174341" y="47876"/>
                    </a:lnTo>
                    <a:cubicBezTo>
                      <a:pt x="174341" y="54199"/>
                      <a:pt x="178858" y="60523"/>
                      <a:pt x="185181" y="61426"/>
                    </a:cubicBezTo>
                    <a:cubicBezTo>
                      <a:pt x="194214" y="64136"/>
                      <a:pt x="203247" y="67749"/>
                      <a:pt x="211377" y="72266"/>
                    </a:cubicBezTo>
                    <a:cubicBezTo>
                      <a:pt x="216797" y="75879"/>
                      <a:pt x="224024" y="74976"/>
                      <a:pt x="228540" y="69556"/>
                    </a:cubicBezTo>
                    <a:lnTo>
                      <a:pt x="241187" y="56909"/>
                    </a:lnTo>
                    <a:lnTo>
                      <a:pt x="261963" y="77685"/>
                    </a:lnTo>
                    <a:lnTo>
                      <a:pt x="249317" y="90332"/>
                    </a:lnTo>
                    <a:cubicBezTo>
                      <a:pt x="244800" y="94849"/>
                      <a:pt x="243897" y="102075"/>
                      <a:pt x="246607" y="107495"/>
                    </a:cubicBezTo>
                    <a:cubicBezTo>
                      <a:pt x="251123" y="115625"/>
                      <a:pt x="254737" y="124658"/>
                      <a:pt x="257447" y="133691"/>
                    </a:cubicBezTo>
                    <a:cubicBezTo>
                      <a:pt x="259253" y="140015"/>
                      <a:pt x="264673" y="144531"/>
                      <a:pt x="270996" y="144531"/>
                    </a:cubicBezTo>
                    <a:lnTo>
                      <a:pt x="289063" y="144531"/>
                    </a:lnTo>
                    <a:lnTo>
                      <a:pt x="289063" y="187891"/>
                    </a:lnTo>
                    <a:lnTo>
                      <a:pt x="317969" y="187891"/>
                    </a:lnTo>
                    <a:lnTo>
                      <a:pt x="317969" y="130079"/>
                    </a:lnTo>
                    <a:cubicBezTo>
                      <a:pt x="317969" y="121948"/>
                      <a:pt x="311646" y="115625"/>
                      <a:pt x="303516" y="115625"/>
                    </a:cubicBezTo>
                    <a:lnTo>
                      <a:pt x="281836" y="115625"/>
                    </a:lnTo>
                    <a:cubicBezTo>
                      <a:pt x="280030" y="111108"/>
                      <a:pt x="278223" y="107495"/>
                      <a:pt x="276416" y="102979"/>
                    </a:cubicBezTo>
                    <a:lnTo>
                      <a:pt x="291773" y="87622"/>
                    </a:lnTo>
                    <a:cubicBezTo>
                      <a:pt x="297192" y="82202"/>
                      <a:pt x="297192" y="73169"/>
                      <a:pt x="291773" y="66846"/>
                    </a:cubicBezTo>
                    <a:lnTo>
                      <a:pt x="251123" y="26197"/>
                    </a:lnTo>
                    <a:cubicBezTo>
                      <a:pt x="245704" y="20776"/>
                      <a:pt x="236670" y="20776"/>
                      <a:pt x="230347" y="26197"/>
                    </a:cubicBezTo>
                    <a:lnTo>
                      <a:pt x="214990" y="41553"/>
                    </a:lnTo>
                    <a:cubicBezTo>
                      <a:pt x="210474" y="39746"/>
                      <a:pt x="206860" y="37940"/>
                      <a:pt x="202344" y="36133"/>
                    </a:cubicBezTo>
                    <a:lnTo>
                      <a:pt x="202344" y="14453"/>
                    </a:lnTo>
                    <a:cubicBezTo>
                      <a:pt x="202344" y="6323"/>
                      <a:pt x="196021" y="0"/>
                      <a:pt x="187891" y="0"/>
                    </a:cubicBezTo>
                    <a:lnTo>
                      <a:pt x="130078" y="0"/>
                    </a:lnTo>
                    <a:cubicBezTo>
                      <a:pt x="121948" y="0"/>
                      <a:pt x="115625" y="6323"/>
                      <a:pt x="115625" y="14453"/>
                    </a:cubicBezTo>
                    <a:lnTo>
                      <a:pt x="115625" y="36133"/>
                    </a:lnTo>
                    <a:cubicBezTo>
                      <a:pt x="111108" y="37940"/>
                      <a:pt x="107495" y="39746"/>
                      <a:pt x="102978" y="41553"/>
                    </a:cubicBezTo>
                    <a:lnTo>
                      <a:pt x="87622" y="26197"/>
                    </a:lnTo>
                    <a:cubicBezTo>
                      <a:pt x="82202" y="20776"/>
                      <a:pt x="73169" y="20776"/>
                      <a:pt x="66845" y="26197"/>
                    </a:cubicBezTo>
                    <a:lnTo>
                      <a:pt x="26196" y="66846"/>
                    </a:lnTo>
                    <a:cubicBezTo>
                      <a:pt x="20776" y="72266"/>
                      <a:pt x="20776" y="81299"/>
                      <a:pt x="26196" y="87622"/>
                    </a:cubicBezTo>
                    <a:lnTo>
                      <a:pt x="41553" y="102979"/>
                    </a:lnTo>
                    <a:cubicBezTo>
                      <a:pt x="39746" y="107495"/>
                      <a:pt x="37940" y="111108"/>
                      <a:pt x="36133" y="115625"/>
                    </a:cubicBezTo>
                    <a:lnTo>
                      <a:pt x="14453" y="115625"/>
                    </a:lnTo>
                    <a:cubicBezTo>
                      <a:pt x="6323" y="115625"/>
                      <a:pt x="0" y="121948"/>
                      <a:pt x="0" y="130079"/>
                    </a:cubicBezTo>
                    <a:lnTo>
                      <a:pt x="0" y="187891"/>
                    </a:lnTo>
                    <a:cubicBezTo>
                      <a:pt x="0" y="196021"/>
                      <a:pt x="6323" y="202344"/>
                      <a:pt x="14453" y="202344"/>
                    </a:cubicBezTo>
                    <a:lnTo>
                      <a:pt x="36133" y="202344"/>
                    </a:lnTo>
                    <a:cubicBezTo>
                      <a:pt x="37940" y="206861"/>
                      <a:pt x="39746" y="210474"/>
                      <a:pt x="41553" y="214990"/>
                    </a:cubicBezTo>
                    <a:lnTo>
                      <a:pt x="26196" y="230347"/>
                    </a:lnTo>
                    <a:cubicBezTo>
                      <a:pt x="21679" y="235767"/>
                      <a:pt x="21679" y="244800"/>
                      <a:pt x="27100" y="250220"/>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44" name="Freeform 43">
                <a:extLst>
                  <a:ext uri="{FF2B5EF4-FFF2-40B4-BE49-F238E27FC236}">
                    <a16:creationId xmlns:a16="http://schemas.microsoft.com/office/drawing/2014/main" id="{10962DDA-3162-0B55-0B59-B9A2CF780F43}"/>
                  </a:ext>
                </a:extLst>
              </p:cNvPr>
              <p:cNvSpPr/>
              <p:nvPr/>
            </p:nvSpPr>
            <p:spPr>
              <a:xfrm>
                <a:off x="7843855" y="1268111"/>
                <a:ext cx="113818" cy="76782"/>
              </a:xfrm>
              <a:custGeom>
                <a:avLst/>
                <a:gdLst>
                  <a:gd name="connsiteX0" fmla="*/ 0 w 113818"/>
                  <a:gd name="connsiteY0" fmla="*/ 26196 h 76782"/>
                  <a:gd name="connsiteX1" fmla="*/ 12647 w 113818"/>
                  <a:gd name="connsiteY1" fmla="*/ 0 h 76782"/>
                  <a:gd name="connsiteX2" fmla="*/ 113819 w 113818"/>
                  <a:gd name="connsiteY2" fmla="*/ 50586 h 76782"/>
                  <a:gd name="connsiteX3" fmla="*/ 101172 w 113818"/>
                  <a:gd name="connsiteY3" fmla="*/ 76782 h 76782"/>
                  <a:gd name="connsiteX4" fmla="*/ 0 w 113818"/>
                  <a:gd name="connsiteY4" fmla="*/ 26196 h 76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18" h="76782">
                    <a:moveTo>
                      <a:pt x="0" y="26196"/>
                    </a:moveTo>
                    <a:lnTo>
                      <a:pt x="12647" y="0"/>
                    </a:lnTo>
                    <a:lnTo>
                      <a:pt x="113819" y="50586"/>
                    </a:lnTo>
                    <a:lnTo>
                      <a:pt x="101172" y="76782"/>
                    </a:lnTo>
                    <a:lnTo>
                      <a:pt x="0" y="26196"/>
                    </a:ln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45" name="Freeform 44">
                <a:extLst>
                  <a:ext uri="{FF2B5EF4-FFF2-40B4-BE49-F238E27FC236}">
                    <a16:creationId xmlns:a16="http://schemas.microsoft.com/office/drawing/2014/main" id="{7F36AA8A-A10F-9E0C-E5E9-ADF5936E37A5}"/>
                  </a:ext>
                </a:extLst>
              </p:cNvPr>
              <p:cNvSpPr/>
              <p:nvPr/>
            </p:nvSpPr>
            <p:spPr>
              <a:xfrm>
                <a:off x="7633296" y="1245528"/>
                <a:ext cx="361413" cy="332422"/>
              </a:xfrm>
              <a:custGeom>
                <a:avLst/>
                <a:gdLst>
                  <a:gd name="connsiteX0" fmla="*/ 17248 w 361413"/>
                  <a:gd name="connsiteY0" fmla="*/ 264673 h 332422"/>
                  <a:gd name="connsiteX1" fmla="*/ 107581 w 361413"/>
                  <a:gd name="connsiteY1" fmla="*/ 329712 h 332422"/>
                  <a:gd name="connsiteX2" fmla="*/ 115710 w 361413"/>
                  <a:gd name="connsiteY2" fmla="*/ 332422 h 332422"/>
                  <a:gd name="connsiteX3" fmla="*/ 346961 w 361413"/>
                  <a:gd name="connsiteY3" fmla="*/ 332422 h 332422"/>
                  <a:gd name="connsiteX4" fmla="*/ 361414 w 361413"/>
                  <a:gd name="connsiteY4" fmla="*/ 317969 h 332422"/>
                  <a:gd name="connsiteX5" fmla="*/ 361414 w 361413"/>
                  <a:gd name="connsiteY5" fmla="*/ 160791 h 332422"/>
                  <a:gd name="connsiteX6" fmla="*/ 325281 w 361413"/>
                  <a:gd name="connsiteY6" fmla="*/ 116528 h 332422"/>
                  <a:gd name="connsiteX7" fmla="*/ 290051 w 361413"/>
                  <a:gd name="connsiteY7" fmla="*/ 126465 h 332422"/>
                  <a:gd name="connsiteX8" fmla="*/ 289148 w 361413"/>
                  <a:gd name="connsiteY8" fmla="*/ 127368 h 332422"/>
                  <a:gd name="connsiteX9" fmla="*/ 231335 w 361413"/>
                  <a:gd name="connsiteY9" fmla="*/ 127368 h 332422"/>
                  <a:gd name="connsiteX10" fmla="*/ 187976 w 361413"/>
                  <a:gd name="connsiteY10" fmla="*/ 118335 h 332422"/>
                  <a:gd name="connsiteX11" fmla="*/ 187976 w 361413"/>
                  <a:gd name="connsiteY11" fmla="*/ 43359 h 332422"/>
                  <a:gd name="connsiteX12" fmla="*/ 144617 w 361413"/>
                  <a:gd name="connsiteY12" fmla="*/ 0 h 332422"/>
                  <a:gd name="connsiteX13" fmla="*/ 101257 w 361413"/>
                  <a:gd name="connsiteY13" fmla="*/ 43359 h 332422"/>
                  <a:gd name="connsiteX14" fmla="*/ 101257 w 361413"/>
                  <a:gd name="connsiteY14" fmla="*/ 220410 h 332422"/>
                  <a:gd name="connsiteX15" fmla="*/ 63318 w 361413"/>
                  <a:gd name="connsiteY15" fmla="*/ 197827 h 332422"/>
                  <a:gd name="connsiteX16" fmla="*/ 24475 w 361413"/>
                  <a:gd name="connsiteY16" fmla="*/ 196020 h 332422"/>
                  <a:gd name="connsiteX17" fmla="*/ 21765 w 361413"/>
                  <a:gd name="connsiteY17" fmla="*/ 196924 h 332422"/>
                  <a:gd name="connsiteX18" fmla="*/ 85 w 361413"/>
                  <a:gd name="connsiteY18" fmla="*/ 229443 h 332422"/>
                  <a:gd name="connsiteX19" fmla="*/ 17248 w 361413"/>
                  <a:gd name="connsiteY19" fmla="*/ 264673 h 332422"/>
                  <a:gd name="connsiteX20" fmla="*/ 17248 w 361413"/>
                  <a:gd name="connsiteY20" fmla="*/ 264673 h 332422"/>
                  <a:gd name="connsiteX21" fmla="*/ 35315 w 361413"/>
                  <a:gd name="connsiteY21" fmla="*/ 222217 h 332422"/>
                  <a:gd name="connsiteX22" fmla="*/ 38025 w 361413"/>
                  <a:gd name="connsiteY22" fmla="*/ 221314 h 332422"/>
                  <a:gd name="connsiteX23" fmla="*/ 48865 w 361413"/>
                  <a:gd name="connsiteY23" fmla="*/ 221314 h 332422"/>
                  <a:gd name="connsiteX24" fmla="*/ 109387 w 361413"/>
                  <a:gd name="connsiteY24" fmla="*/ 257447 h 332422"/>
                  <a:gd name="connsiteX25" fmla="*/ 123840 w 361413"/>
                  <a:gd name="connsiteY25" fmla="*/ 257447 h 332422"/>
                  <a:gd name="connsiteX26" fmla="*/ 131067 w 361413"/>
                  <a:gd name="connsiteY26" fmla="*/ 244800 h 332422"/>
                  <a:gd name="connsiteX27" fmla="*/ 131067 w 361413"/>
                  <a:gd name="connsiteY27" fmla="*/ 42456 h 332422"/>
                  <a:gd name="connsiteX28" fmla="*/ 145520 w 361413"/>
                  <a:gd name="connsiteY28" fmla="*/ 28003 h 332422"/>
                  <a:gd name="connsiteX29" fmla="*/ 159973 w 361413"/>
                  <a:gd name="connsiteY29" fmla="*/ 42456 h 332422"/>
                  <a:gd name="connsiteX30" fmla="*/ 159973 w 361413"/>
                  <a:gd name="connsiteY30" fmla="*/ 158984 h 332422"/>
                  <a:gd name="connsiteX31" fmla="*/ 174426 w 361413"/>
                  <a:gd name="connsiteY31" fmla="*/ 173437 h 332422"/>
                  <a:gd name="connsiteX32" fmla="*/ 188880 w 361413"/>
                  <a:gd name="connsiteY32" fmla="*/ 158984 h 332422"/>
                  <a:gd name="connsiteX33" fmla="*/ 203332 w 361413"/>
                  <a:gd name="connsiteY33" fmla="*/ 144531 h 332422"/>
                  <a:gd name="connsiteX34" fmla="*/ 217785 w 361413"/>
                  <a:gd name="connsiteY34" fmla="*/ 158984 h 332422"/>
                  <a:gd name="connsiteX35" fmla="*/ 232239 w 361413"/>
                  <a:gd name="connsiteY35" fmla="*/ 173437 h 332422"/>
                  <a:gd name="connsiteX36" fmla="*/ 246692 w 361413"/>
                  <a:gd name="connsiteY36" fmla="*/ 158984 h 332422"/>
                  <a:gd name="connsiteX37" fmla="*/ 261145 w 361413"/>
                  <a:gd name="connsiteY37" fmla="*/ 144531 h 332422"/>
                  <a:gd name="connsiteX38" fmla="*/ 275598 w 361413"/>
                  <a:gd name="connsiteY38" fmla="*/ 158984 h 332422"/>
                  <a:gd name="connsiteX39" fmla="*/ 290051 w 361413"/>
                  <a:gd name="connsiteY39" fmla="*/ 173437 h 332422"/>
                  <a:gd name="connsiteX40" fmla="*/ 304505 w 361413"/>
                  <a:gd name="connsiteY40" fmla="*/ 158984 h 332422"/>
                  <a:gd name="connsiteX41" fmla="*/ 309924 w 361413"/>
                  <a:gd name="connsiteY41" fmla="*/ 148144 h 332422"/>
                  <a:gd name="connsiteX42" fmla="*/ 321667 w 361413"/>
                  <a:gd name="connsiteY42" fmla="*/ 145435 h 332422"/>
                  <a:gd name="connsiteX43" fmla="*/ 333411 w 361413"/>
                  <a:gd name="connsiteY43" fmla="*/ 160791 h 332422"/>
                  <a:gd name="connsiteX44" fmla="*/ 333411 w 361413"/>
                  <a:gd name="connsiteY44" fmla="*/ 303516 h 332422"/>
                  <a:gd name="connsiteX45" fmla="*/ 121130 w 361413"/>
                  <a:gd name="connsiteY45" fmla="*/ 303516 h 332422"/>
                  <a:gd name="connsiteX46" fmla="*/ 34411 w 361413"/>
                  <a:gd name="connsiteY46" fmla="*/ 241186 h 332422"/>
                  <a:gd name="connsiteX47" fmla="*/ 29895 w 361413"/>
                  <a:gd name="connsiteY47" fmla="*/ 231250 h 332422"/>
                  <a:gd name="connsiteX48" fmla="*/ 35315 w 361413"/>
                  <a:gd name="connsiteY48" fmla="*/ 222217 h 332422"/>
                  <a:gd name="connsiteX49" fmla="*/ 35315 w 361413"/>
                  <a:gd name="connsiteY49" fmla="*/ 222217 h 33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1413" h="332422">
                    <a:moveTo>
                      <a:pt x="17248" y="264673"/>
                    </a:moveTo>
                    <a:lnTo>
                      <a:pt x="107581" y="329712"/>
                    </a:lnTo>
                    <a:cubicBezTo>
                      <a:pt x="110290" y="331519"/>
                      <a:pt x="113000" y="332422"/>
                      <a:pt x="115710" y="332422"/>
                    </a:cubicBezTo>
                    <a:lnTo>
                      <a:pt x="346961" y="332422"/>
                    </a:lnTo>
                    <a:cubicBezTo>
                      <a:pt x="355090" y="332422"/>
                      <a:pt x="361414" y="326099"/>
                      <a:pt x="361414" y="317969"/>
                    </a:cubicBezTo>
                    <a:lnTo>
                      <a:pt x="361414" y="160791"/>
                    </a:lnTo>
                    <a:cubicBezTo>
                      <a:pt x="361414" y="139111"/>
                      <a:pt x="346057" y="120142"/>
                      <a:pt x="325281" y="116528"/>
                    </a:cubicBezTo>
                    <a:cubicBezTo>
                      <a:pt x="312634" y="114721"/>
                      <a:pt x="299988" y="118335"/>
                      <a:pt x="290051" y="126465"/>
                    </a:cubicBezTo>
                    <a:cubicBezTo>
                      <a:pt x="290051" y="126465"/>
                      <a:pt x="289148" y="127368"/>
                      <a:pt x="289148" y="127368"/>
                    </a:cubicBezTo>
                    <a:cubicBezTo>
                      <a:pt x="272888" y="112915"/>
                      <a:pt x="247595" y="112915"/>
                      <a:pt x="231335" y="127368"/>
                    </a:cubicBezTo>
                    <a:cubicBezTo>
                      <a:pt x="219592" y="117432"/>
                      <a:pt x="203332" y="113818"/>
                      <a:pt x="187976" y="118335"/>
                    </a:cubicBezTo>
                    <a:lnTo>
                      <a:pt x="187976" y="43359"/>
                    </a:lnTo>
                    <a:cubicBezTo>
                      <a:pt x="187976" y="19873"/>
                      <a:pt x="169006" y="0"/>
                      <a:pt x="144617" y="0"/>
                    </a:cubicBezTo>
                    <a:cubicBezTo>
                      <a:pt x="121130" y="0"/>
                      <a:pt x="101257" y="18970"/>
                      <a:pt x="101257" y="43359"/>
                    </a:cubicBezTo>
                    <a:lnTo>
                      <a:pt x="101257" y="220410"/>
                    </a:lnTo>
                    <a:lnTo>
                      <a:pt x="63318" y="197827"/>
                    </a:lnTo>
                    <a:cubicBezTo>
                      <a:pt x="51575" y="190601"/>
                      <a:pt x="37121" y="190601"/>
                      <a:pt x="24475" y="196020"/>
                    </a:cubicBezTo>
                    <a:lnTo>
                      <a:pt x="21765" y="196924"/>
                    </a:lnTo>
                    <a:cubicBezTo>
                      <a:pt x="9118" y="203247"/>
                      <a:pt x="988" y="215894"/>
                      <a:pt x="85" y="229443"/>
                    </a:cubicBezTo>
                    <a:cubicBezTo>
                      <a:pt x="-818" y="242993"/>
                      <a:pt x="5505" y="256543"/>
                      <a:pt x="17248" y="264673"/>
                    </a:cubicBezTo>
                    <a:lnTo>
                      <a:pt x="17248" y="264673"/>
                    </a:lnTo>
                    <a:close/>
                    <a:moveTo>
                      <a:pt x="35315" y="222217"/>
                    </a:moveTo>
                    <a:lnTo>
                      <a:pt x="38025" y="221314"/>
                    </a:lnTo>
                    <a:cubicBezTo>
                      <a:pt x="41638" y="219507"/>
                      <a:pt x="45251" y="219507"/>
                      <a:pt x="48865" y="221314"/>
                    </a:cubicBezTo>
                    <a:lnTo>
                      <a:pt x="109387" y="257447"/>
                    </a:lnTo>
                    <a:cubicBezTo>
                      <a:pt x="113903" y="260156"/>
                      <a:pt x="119324" y="260156"/>
                      <a:pt x="123840" y="257447"/>
                    </a:cubicBezTo>
                    <a:cubicBezTo>
                      <a:pt x="128357" y="254736"/>
                      <a:pt x="131067" y="250220"/>
                      <a:pt x="131067" y="244800"/>
                    </a:cubicBezTo>
                    <a:lnTo>
                      <a:pt x="131067" y="42456"/>
                    </a:lnTo>
                    <a:cubicBezTo>
                      <a:pt x="131067" y="34326"/>
                      <a:pt x="137390" y="28003"/>
                      <a:pt x="145520" y="28003"/>
                    </a:cubicBezTo>
                    <a:cubicBezTo>
                      <a:pt x="153650" y="28003"/>
                      <a:pt x="159973" y="34326"/>
                      <a:pt x="159973" y="42456"/>
                    </a:cubicBezTo>
                    <a:lnTo>
                      <a:pt x="159973" y="158984"/>
                    </a:lnTo>
                    <a:cubicBezTo>
                      <a:pt x="159973" y="167114"/>
                      <a:pt x="166296" y="173437"/>
                      <a:pt x="174426" y="173437"/>
                    </a:cubicBezTo>
                    <a:cubicBezTo>
                      <a:pt x="182556" y="173437"/>
                      <a:pt x="188880" y="167114"/>
                      <a:pt x="188880" y="158984"/>
                    </a:cubicBezTo>
                    <a:cubicBezTo>
                      <a:pt x="188880" y="150854"/>
                      <a:pt x="195202" y="144531"/>
                      <a:pt x="203332" y="144531"/>
                    </a:cubicBezTo>
                    <a:cubicBezTo>
                      <a:pt x="211463" y="144531"/>
                      <a:pt x="217785" y="150854"/>
                      <a:pt x="217785" y="158984"/>
                    </a:cubicBezTo>
                    <a:cubicBezTo>
                      <a:pt x="217785" y="167114"/>
                      <a:pt x="224109" y="173437"/>
                      <a:pt x="232239" y="173437"/>
                    </a:cubicBezTo>
                    <a:cubicBezTo>
                      <a:pt x="240368" y="173437"/>
                      <a:pt x="246692" y="167114"/>
                      <a:pt x="246692" y="158984"/>
                    </a:cubicBezTo>
                    <a:cubicBezTo>
                      <a:pt x="246692" y="150854"/>
                      <a:pt x="253015" y="144531"/>
                      <a:pt x="261145" y="144531"/>
                    </a:cubicBezTo>
                    <a:cubicBezTo>
                      <a:pt x="269275" y="144531"/>
                      <a:pt x="275598" y="150854"/>
                      <a:pt x="275598" y="158984"/>
                    </a:cubicBezTo>
                    <a:cubicBezTo>
                      <a:pt x="275598" y="167114"/>
                      <a:pt x="281922" y="173437"/>
                      <a:pt x="290051" y="173437"/>
                    </a:cubicBezTo>
                    <a:cubicBezTo>
                      <a:pt x="298181" y="173437"/>
                      <a:pt x="304505" y="167114"/>
                      <a:pt x="304505" y="158984"/>
                    </a:cubicBezTo>
                    <a:cubicBezTo>
                      <a:pt x="304505" y="154468"/>
                      <a:pt x="306311" y="150854"/>
                      <a:pt x="309924" y="148144"/>
                    </a:cubicBezTo>
                    <a:cubicBezTo>
                      <a:pt x="313538" y="145435"/>
                      <a:pt x="317151" y="144531"/>
                      <a:pt x="321667" y="145435"/>
                    </a:cubicBezTo>
                    <a:cubicBezTo>
                      <a:pt x="328894" y="147241"/>
                      <a:pt x="334314" y="153565"/>
                      <a:pt x="333411" y="160791"/>
                    </a:cubicBezTo>
                    <a:lnTo>
                      <a:pt x="333411" y="303516"/>
                    </a:lnTo>
                    <a:lnTo>
                      <a:pt x="121130" y="303516"/>
                    </a:lnTo>
                    <a:lnTo>
                      <a:pt x="34411" y="241186"/>
                    </a:lnTo>
                    <a:cubicBezTo>
                      <a:pt x="31701" y="239380"/>
                      <a:pt x="29895" y="234864"/>
                      <a:pt x="29895" y="231250"/>
                    </a:cubicBezTo>
                    <a:cubicBezTo>
                      <a:pt x="29895" y="227637"/>
                      <a:pt x="31701" y="224024"/>
                      <a:pt x="35315" y="222217"/>
                    </a:cubicBezTo>
                    <a:lnTo>
                      <a:pt x="35315" y="222217"/>
                    </a:ln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grpSp>
      </p:grpSp>
      <p:cxnSp>
        <p:nvCxnSpPr>
          <p:cNvPr id="46" name="Straight Connector 45">
            <a:extLst>
              <a:ext uri="{FF2B5EF4-FFF2-40B4-BE49-F238E27FC236}">
                <a16:creationId xmlns:a16="http://schemas.microsoft.com/office/drawing/2014/main" id="{16C92E9C-EE6C-8FBA-DC1E-094C9CD5A274}"/>
              </a:ext>
            </a:extLst>
          </p:cNvPr>
          <p:cNvCxnSpPr>
            <a:cxnSpLocks/>
          </p:cNvCxnSpPr>
          <p:nvPr/>
        </p:nvCxnSpPr>
        <p:spPr>
          <a:xfrm>
            <a:off x="4201097" y="3252217"/>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pic>
        <p:nvPicPr>
          <p:cNvPr id="7" name="Picture 6" descr="Icon  Description automatically generated">
            <a:extLst>
              <a:ext uri="{FF2B5EF4-FFF2-40B4-BE49-F238E27FC236}">
                <a16:creationId xmlns:a16="http://schemas.microsoft.com/office/drawing/2014/main" id="{EA291DB4-20C1-EC01-343C-1B3AB7A7924F}"/>
              </a:ext>
            </a:extLst>
          </p:cNvPr>
          <p:cNvPicPr/>
          <p:nvPr/>
        </p:nvPicPr>
        <p:blipFill rotWithShape="1">
          <a:blip r:embed="rId3" cstate="screen">
            <a:extLst>
              <a:ext uri="{28A0092B-C50C-407E-A947-70E740481C1C}">
                <a14:useLocalDpi xmlns:a14="http://schemas.microsoft.com/office/drawing/2010/main"/>
              </a:ext>
            </a:extLst>
          </a:blip>
          <a:srcRect l="4723" t="-17878" r="23712" b="40521"/>
          <a:stretch/>
        </p:blipFill>
        <p:spPr>
          <a:xfrm>
            <a:off x="-102230" y="2637783"/>
            <a:ext cx="4250484" cy="4220217"/>
          </a:xfrm>
          <a:prstGeom prst="rect">
            <a:avLst/>
          </a:prstGeom>
        </p:spPr>
      </p:pic>
    </p:spTree>
    <p:extLst>
      <p:ext uri="{BB962C8B-B14F-4D97-AF65-F5344CB8AC3E}">
        <p14:creationId xmlns:p14="http://schemas.microsoft.com/office/powerpoint/2010/main" val="13535770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F380563-89E8-BD90-3646-73619EBFDEA2}"/>
              </a:ext>
            </a:extLst>
          </p:cNvPr>
          <p:cNvSpPr>
            <a:spLocks noGrp="1"/>
          </p:cNvSpPr>
          <p:nvPr>
            <p:ph type="body" sz="quarter" idx="18"/>
          </p:nvPr>
        </p:nvSpPr>
        <p:spPr>
          <a:xfrm>
            <a:off x="734714" y="1483386"/>
            <a:ext cx="4819420" cy="4511013"/>
          </a:xfrm>
        </p:spPr>
        <p:txBody>
          <a:bodyPr>
            <a:normAutofit/>
          </a:bodyPr>
          <a:lstStyle/>
          <a:p>
            <a:pPr marL="15875" indent="0" algn="l" rtl="0">
              <a:lnSpc>
                <a:spcPts val="2280"/>
              </a:lnSpc>
              <a:spcBef>
                <a:spcPts val="0"/>
              </a:spcBef>
            </a:pPr>
            <a:r>
              <a:rPr lang="en-US" sz="2200" dirty="0"/>
              <a:t>El trabajo en equipo se requiere en una crisis debido a la necesidad de reaccionar rápidamente y actuar de manera unificada y estructurada. La comunicación dirigida y la coordinación de tareas dentro del equipo son cruciales para dominar con éxito las emergencias y crisis.</a:t>
            </a:r>
          </a:p>
          <a:p>
            <a:pPr marL="15875" indent="0" algn="l" rtl="0">
              <a:lnSpc>
                <a:spcPts val="2280"/>
              </a:lnSpc>
              <a:spcBef>
                <a:spcPts val="0"/>
              </a:spcBef>
            </a:pPr>
            <a:endParaRPr lang="en-US" sz="2200" dirty="0"/>
          </a:p>
          <a:p>
            <a:pPr marL="15875" indent="0" algn="l" rtl="0">
              <a:lnSpc>
                <a:spcPts val="2280"/>
              </a:lnSpc>
              <a:spcBef>
                <a:spcPts val="0"/>
              </a:spcBef>
            </a:pPr>
            <a:r>
              <a:rPr lang="en-US" sz="2200" b="1" dirty="0" err="1"/>
              <a:t>Organizaciones</a:t>
            </a:r>
            <a:r>
              <a:rPr lang="en-US" sz="2200" b="1" dirty="0"/>
              <a:t>formar equipos de gestión de crisis para decidir el curso de acción futuro y diseñar estrategias para ayudarlos a salir de tiempos difíciles lo antes posible.</a:t>
            </a:r>
          </a:p>
          <a:p>
            <a:pPr marL="15875" indent="0" algn="l" rtl="0">
              <a:lnSpc>
                <a:spcPts val="2280"/>
              </a:lnSpc>
              <a:spcBef>
                <a:spcPts val="0"/>
              </a:spcBef>
            </a:pPr>
            <a:endParaRPr lang="en-US" sz="2200" dirty="0"/>
          </a:p>
        </p:txBody>
      </p:sp>
      <p:sp>
        <p:nvSpPr>
          <p:cNvPr id="3" name="Text Placeholder 2">
            <a:extLst>
              <a:ext uri="{FF2B5EF4-FFF2-40B4-BE49-F238E27FC236}">
                <a16:creationId xmlns:a16="http://schemas.microsoft.com/office/drawing/2014/main" id="{56FEDDCE-192C-7F85-9159-F457C6AB5B60}"/>
              </a:ext>
            </a:extLst>
          </p:cNvPr>
          <p:cNvSpPr>
            <a:spLocks noGrp="1"/>
          </p:cNvSpPr>
          <p:nvPr>
            <p:ph type="body" sz="quarter" idx="16"/>
          </p:nvPr>
        </p:nvSpPr>
        <p:spPr>
          <a:xfrm>
            <a:off x="734714" y="524441"/>
            <a:ext cx="5085159" cy="582221"/>
          </a:xfrm>
        </p:spPr>
        <p:txBody>
          <a:bodyPr>
            <a:normAutofit lnSpcReduction="10000"/>
          </a:bodyPr>
          <a:lstStyle/>
          <a:p>
            <a:pPr algn="l" rtl="0"/>
            <a:r>
              <a:rPr lang="en-US" dirty="0"/>
              <a:t>Trabajo en equipo</a:t>
            </a:r>
          </a:p>
        </p:txBody>
      </p:sp>
      <p:sp>
        <p:nvSpPr>
          <p:cNvPr id="7" name="Rectangle 6">
            <a:extLst>
              <a:ext uri="{FF2B5EF4-FFF2-40B4-BE49-F238E27FC236}">
                <a16:creationId xmlns:a16="http://schemas.microsoft.com/office/drawing/2014/main" id="{69B73B7C-CF88-9CE8-6993-E1BD6C1E0CC8}"/>
              </a:ext>
            </a:extLst>
          </p:cNvPr>
          <p:cNvSpPr/>
          <p:nvPr/>
        </p:nvSpPr>
        <p:spPr>
          <a:xfrm>
            <a:off x="5819873" y="0"/>
            <a:ext cx="1957703" cy="599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6" name="TextBox 5">
            <a:extLst>
              <a:ext uri="{FF2B5EF4-FFF2-40B4-BE49-F238E27FC236}">
                <a16:creationId xmlns:a16="http://schemas.microsoft.com/office/drawing/2014/main" id="{80B4B7E6-5AD4-536D-3A76-DFE192B4AD06}"/>
              </a:ext>
            </a:extLst>
          </p:cNvPr>
          <p:cNvSpPr txBox="1"/>
          <p:nvPr/>
        </p:nvSpPr>
        <p:spPr>
          <a:xfrm>
            <a:off x="6101179" y="747819"/>
            <a:ext cx="5599753" cy="5071966"/>
          </a:xfrm>
          <a:prstGeom prst="rect">
            <a:avLst/>
          </a:prstGeom>
          <a:noFill/>
        </p:spPr>
        <p:txBody>
          <a:bodyPr wrap="square">
            <a:spAutoFit/>
          </a:bodyPr>
          <a:lstStyle/>
          <a:p>
            <a:pPr algn="l" rtl="0">
              <a:lnSpc>
                <a:spcPts val="2240"/>
              </a:lnSpc>
            </a:pPr>
            <a:r>
              <a:rPr lang="en-US" sz="2200" b="1" i="0" dirty="0">
                <a:solidFill>
                  <a:srgbClr val="444444"/>
                </a:solidFill>
                <a:effectLst/>
              </a:rPr>
              <a:t>Equipo de gestión de crisis:</a:t>
            </a:r>
          </a:p>
          <a:p>
            <a:pPr algn="l" rtl="0">
              <a:lnSpc>
                <a:spcPts val="2240"/>
              </a:lnSpc>
            </a:pPr>
            <a:endParaRPr lang="en-US" sz="2200" b="0" i="0" dirty="0">
              <a:solidFill>
                <a:srgbClr val="444444"/>
              </a:solidFill>
              <a:effectLst/>
            </a:endParaRPr>
          </a:p>
          <a:p>
            <a:pPr marL="342900" indent="-342900" algn="l" rtl="0">
              <a:lnSpc>
                <a:spcPts val="2240"/>
              </a:lnSpc>
              <a:spcAft>
                <a:spcPts val="600"/>
              </a:spcAft>
              <a:buClr>
                <a:srgbClr val="F16924"/>
              </a:buClr>
              <a:buFont typeface="Arial" panose="020B0604020202020204" pitchFamily="34" charset="0"/>
              <a:buChar char="•"/>
            </a:pPr>
            <a:r>
              <a:rPr lang="en-US" sz="2200" b="0" i="0" dirty="0">
                <a:solidFill>
                  <a:srgbClr val="444444"/>
                </a:solidFill>
                <a:effectLst/>
              </a:rPr>
              <a:t>Detecta los primeros signos de crisis.</a:t>
            </a:r>
          </a:p>
          <a:p>
            <a:pPr marL="342900" indent="-342900" algn="l" rtl="0">
              <a:lnSpc>
                <a:spcPts val="2240"/>
              </a:lnSpc>
              <a:spcAft>
                <a:spcPts val="600"/>
              </a:spcAft>
              <a:buClr>
                <a:srgbClr val="F16924"/>
              </a:buClr>
              <a:buFont typeface="Arial" panose="020B0604020202020204" pitchFamily="34" charset="0"/>
              <a:buChar char="•"/>
            </a:pPr>
            <a:r>
              <a:rPr lang="en-US" sz="2200" b="0" i="0" dirty="0">
                <a:solidFill>
                  <a:srgbClr val="444444"/>
                </a:solidFill>
                <a:effectLst/>
              </a:rPr>
              <a:t>- Identifica las áreas problemáticas.</a:t>
            </a:r>
          </a:p>
          <a:p>
            <a:pPr marL="342900" indent="-342900" algn="l" rtl="0">
              <a:lnSpc>
                <a:spcPts val="2240"/>
              </a:lnSpc>
              <a:spcAft>
                <a:spcPts val="600"/>
              </a:spcAft>
              <a:buClr>
                <a:srgbClr val="F16924"/>
              </a:buClr>
              <a:buFont typeface="Arial" panose="020B0604020202020204" pitchFamily="34" charset="0"/>
              <a:buChar char="•"/>
            </a:pPr>
            <a:r>
              <a:rPr lang="en-US" sz="2200" b="0" i="0" dirty="0">
                <a:solidFill>
                  <a:srgbClr val="444444"/>
                </a:solidFill>
                <a:effectLst/>
              </a:rPr>
              <a:t>- Se sienta con los empleados cara a cara y discute las áreas de preocupación identificadas</a:t>
            </a:r>
          </a:p>
          <a:p>
            <a:pPr marL="342900" indent="-342900" algn="l" rtl="0">
              <a:lnSpc>
                <a:spcPts val="2240"/>
              </a:lnSpc>
              <a:spcAft>
                <a:spcPts val="600"/>
              </a:spcAft>
              <a:buClr>
                <a:srgbClr val="F16924"/>
              </a:buClr>
              <a:buFont typeface="Arial" panose="020B0604020202020204" pitchFamily="34" charset="0"/>
              <a:buChar char="•"/>
            </a:pPr>
            <a:r>
              <a:rPr lang="en-US" sz="2200" b="0" i="0" dirty="0">
                <a:solidFill>
                  <a:srgbClr val="444444"/>
                </a:solidFill>
                <a:effectLst/>
              </a:rPr>
              <a:t>-Prepara el plan de gestión de crisis que funciona mejor durante situaciones de emergencia.</a:t>
            </a:r>
          </a:p>
          <a:p>
            <a:pPr marL="342900" indent="-342900" algn="l" rtl="0">
              <a:lnSpc>
                <a:spcPts val="2240"/>
              </a:lnSpc>
              <a:spcAft>
                <a:spcPts val="600"/>
              </a:spcAft>
              <a:buClr>
                <a:srgbClr val="F16924"/>
              </a:buClr>
              <a:buFont typeface="Arial" panose="020B0604020202020204" pitchFamily="34" charset="0"/>
              <a:buChar char="•"/>
            </a:pPr>
            <a:r>
              <a:rPr lang="en-US" sz="2200" b="0" i="0" dirty="0">
                <a:solidFill>
                  <a:srgbClr val="444444"/>
                </a:solidFill>
                <a:effectLst/>
              </a:rPr>
              <a:t>- Alienta a los empleados a enfrentar los problemas con valentía, determinación y sonrisa, los motiva a no perder la esperanza y entregar su mejor nivel.</a:t>
            </a:r>
          </a:p>
          <a:p>
            <a:pPr marL="342900" indent="-342900" algn="l" rtl="0">
              <a:lnSpc>
                <a:spcPts val="2240"/>
              </a:lnSpc>
              <a:spcAft>
                <a:spcPts val="600"/>
              </a:spcAft>
              <a:buClr>
                <a:srgbClr val="F16924"/>
              </a:buClr>
              <a:buFont typeface="Arial" panose="020B0604020202020204" pitchFamily="34" charset="0"/>
              <a:buChar char="•"/>
            </a:pPr>
            <a:r>
              <a:rPr lang="en-US" sz="2200" b="0" i="0" dirty="0">
                <a:solidFill>
                  <a:srgbClr val="444444"/>
                </a:solidFill>
                <a:effectLst/>
              </a:rPr>
              <a:t>- Ayuda a la</a:t>
            </a:r>
            <a:r>
              <a:rPr lang="en-US" sz="2200" b="0" i="0" dirty="0" err="1">
                <a:solidFill>
                  <a:srgbClr val="444444"/>
                </a:solidFill>
                <a:effectLst/>
              </a:rPr>
              <a:t>organización</a:t>
            </a:r>
            <a:r>
              <a:rPr lang="en-US" sz="2200" b="0" i="0" dirty="0">
                <a:solidFill>
                  <a:srgbClr val="444444"/>
                </a:solidFill>
                <a:effectLst/>
              </a:rPr>
              <a:t>salir de momentos difíciles y también prepararlo para el futuro.</a:t>
            </a:r>
          </a:p>
          <a:p>
            <a:pPr algn="l" rtl="0">
              <a:lnSpc>
                <a:spcPts val="2240"/>
              </a:lnSpc>
            </a:pPr>
            <a:endParaRPr lang="en-US" sz="2200" dirty="0">
              <a:solidFill>
                <a:srgbClr val="444444"/>
              </a:solidFill>
            </a:endParaRPr>
          </a:p>
          <a:p>
            <a:pPr algn="l" rtl="0">
              <a:lnSpc>
                <a:spcPts val="2240"/>
              </a:lnSpc>
            </a:pPr>
            <a:endParaRPr lang="en-US" sz="2200" b="0" i="0" dirty="0">
              <a:solidFill>
                <a:srgbClr val="444444"/>
              </a:solidFill>
              <a:effectLst/>
            </a:endParaRPr>
          </a:p>
        </p:txBody>
      </p:sp>
      <p:sp>
        <p:nvSpPr>
          <p:cNvPr id="8" name="Rectangle 7">
            <a:extLst>
              <a:ext uri="{FF2B5EF4-FFF2-40B4-BE49-F238E27FC236}">
                <a16:creationId xmlns:a16="http://schemas.microsoft.com/office/drawing/2014/main" id="{38EB2C2C-EC2B-99DA-B1FC-25CF62B7450F}"/>
              </a:ext>
            </a:extLst>
          </p:cNvPr>
          <p:cNvSpPr/>
          <p:nvPr/>
        </p:nvSpPr>
        <p:spPr>
          <a:xfrm>
            <a:off x="676972" y="1182092"/>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9" name="TextBox 8">
            <a:extLst>
              <a:ext uri="{FF2B5EF4-FFF2-40B4-BE49-F238E27FC236}">
                <a16:creationId xmlns:a16="http://schemas.microsoft.com/office/drawing/2014/main" id="{7697028E-9B70-EFAE-BB10-4AFAB210D6ED}"/>
              </a:ext>
            </a:extLst>
          </p:cNvPr>
          <p:cNvSpPr txBox="1"/>
          <p:nvPr/>
        </p:nvSpPr>
        <p:spPr>
          <a:xfrm>
            <a:off x="6096000" y="5432920"/>
            <a:ext cx="6383867" cy="461665"/>
          </a:xfrm>
          <a:prstGeom prst="rect">
            <a:avLst/>
          </a:prstGeom>
          <a:noFill/>
        </p:spPr>
        <p:txBody>
          <a:bodyPr wrap="square" rtlCol="0">
            <a:spAutoFit/>
          </a:bodyPr>
          <a:lstStyle/>
          <a:p>
            <a:pPr algn="l" rtl="0"/>
            <a:r>
              <a:rPr lang="en-US" sz="1200" b="1" dirty="0">
                <a:solidFill>
                  <a:srgbClr val="B41F7A"/>
                </a:solidFill>
              </a:rPr>
              <a:t>Fuente: F24, 2021:</a:t>
            </a:r>
          </a:p>
          <a:p>
            <a:pPr algn="l" rtl="0"/>
            <a:r>
              <a:rPr lang="en-US" sz="1200" dirty="0">
                <a:solidFill>
                  <a:srgbClr val="B41F7A"/>
                </a:solidFill>
                <a:hlinkClick r:id="rId2">
                  <a:extLst>
                    <a:ext uri="{A12FA001-AC4F-418D-AE19-62706E023703}">
                      <ahyp:hlinkClr xmlns:ahyp="http://schemas.microsoft.com/office/drawing/2018/hyperlinkcolor" val="tx"/>
                    </a:ext>
                  </a:extLst>
                </a:hlinkClick>
              </a:rPr>
              <a:t>https://f24.com/es/la-importancia-del-trabajo-en-equipo-durante-una-emergencia-o-crisis/</a:t>
            </a:r>
            <a:r>
              <a:rPr lang="en-US" sz="1200" dirty="0">
                <a:solidFill>
                  <a:srgbClr val="B41F7A"/>
                </a:solidFill>
              </a:rPr>
              <a:t> </a:t>
            </a:r>
          </a:p>
        </p:txBody>
      </p:sp>
    </p:spTree>
    <p:extLst>
      <p:ext uri="{BB962C8B-B14F-4D97-AF65-F5344CB8AC3E}">
        <p14:creationId xmlns:p14="http://schemas.microsoft.com/office/powerpoint/2010/main" val="21629471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Rectangle 331">
            <a:extLst>
              <a:ext uri="{FF2B5EF4-FFF2-40B4-BE49-F238E27FC236}">
                <a16:creationId xmlns:a16="http://schemas.microsoft.com/office/drawing/2014/main" id="{4AD1CC34-EF04-776A-97D1-6B2C495C81FB}"/>
              </a:ext>
            </a:extLst>
          </p:cNvPr>
          <p:cNvSpPr/>
          <p:nvPr/>
        </p:nvSpPr>
        <p:spPr>
          <a:xfrm>
            <a:off x="1" y="0"/>
            <a:ext cx="4572956"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538194" y="430173"/>
            <a:ext cx="3407358" cy="581244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dirty="0">
                <a:solidFill>
                  <a:schemeClr val="bg1"/>
                </a:solidFill>
              </a:rPr>
              <a:t>7 cosas que hacen los mejores líderes en tiempos de crisis</a:t>
            </a:r>
          </a:p>
        </p:txBody>
      </p:sp>
      <p:sp>
        <p:nvSpPr>
          <p:cNvPr id="2" name="Rectangle 1">
            <a:extLst>
              <a:ext uri="{FF2B5EF4-FFF2-40B4-BE49-F238E27FC236}">
                <a16:creationId xmlns:a16="http://schemas.microsoft.com/office/drawing/2014/main" id="{67D77CEC-A6B5-80B9-806C-9686FBF34ED7}"/>
              </a:ext>
            </a:extLst>
          </p:cNvPr>
          <p:cNvSpPr/>
          <p:nvPr/>
        </p:nvSpPr>
        <p:spPr>
          <a:xfrm>
            <a:off x="533968" y="228612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229" name="Text Placeholder 2">
            <a:extLst>
              <a:ext uri="{FF2B5EF4-FFF2-40B4-BE49-F238E27FC236}">
                <a16:creationId xmlns:a16="http://schemas.microsoft.com/office/drawing/2014/main" id="{A7336234-5238-F893-40DD-6C8930BBAAA8}"/>
              </a:ext>
            </a:extLst>
          </p:cNvPr>
          <p:cNvSpPr txBox="1">
            <a:spLocks/>
          </p:cNvSpPr>
          <p:nvPr/>
        </p:nvSpPr>
        <p:spPr>
          <a:xfrm>
            <a:off x="448817" y="2658889"/>
            <a:ext cx="3918331" cy="121063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288" indent="-14288" algn="l" rtl="0"/>
            <a:r>
              <a:rPr lang="en-US" sz="1400" dirty="0"/>
              <a:t>Fuente: Industria de la formación:</a:t>
            </a:r>
            <a:r>
              <a:rPr lang="en-US" sz="1400" dirty="0">
                <a:hlinkClick r:id="rId3">
                  <a:extLst>
                    <a:ext uri="{A12FA001-AC4F-418D-AE19-62706E023703}">
                      <ahyp:hlinkClr xmlns:ahyp="http://schemas.microsoft.com/office/drawing/2018/hyperlinkcolor" val="tx"/>
                    </a:ext>
                  </a:extLst>
                </a:hlinkClick>
              </a:rPr>
              <a:t>https://trainingindustry.com/blog/leadership/7-cosas-que-hacen-los-mejores-lideres-en-tiempos-de-crisis/</a:t>
            </a:r>
            <a:endParaRPr lang="en-US" sz="1400" dirty="0"/>
          </a:p>
          <a:p>
            <a:pPr marL="14288" indent="-14288" algn="l" rtl="0"/>
            <a:endParaRPr lang="en-US" sz="1400" dirty="0"/>
          </a:p>
        </p:txBody>
      </p:sp>
      <p:grpSp>
        <p:nvGrpSpPr>
          <p:cNvPr id="20" name="Group 19">
            <a:extLst>
              <a:ext uri="{FF2B5EF4-FFF2-40B4-BE49-F238E27FC236}">
                <a16:creationId xmlns:a16="http://schemas.microsoft.com/office/drawing/2014/main" id="{97FB74A6-9C06-D10B-0832-74CEF3AE7848}"/>
              </a:ext>
            </a:extLst>
          </p:cNvPr>
          <p:cNvGrpSpPr/>
          <p:nvPr/>
        </p:nvGrpSpPr>
        <p:grpSpPr>
          <a:xfrm>
            <a:off x="4572957" y="525963"/>
            <a:ext cx="7983595" cy="5806071"/>
            <a:chOff x="3864504" y="430173"/>
            <a:chExt cx="7983595" cy="5806071"/>
          </a:xfrm>
        </p:grpSpPr>
        <p:cxnSp>
          <p:nvCxnSpPr>
            <p:cNvPr id="242" name="Straight Connector 241">
              <a:extLst>
                <a:ext uri="{FF2B5EF4-FFF2-40B4-BE49-F238E27FC236}">
                  <a16:creationId xmlns:a16="http://schemas.microsoft.com/office/drawing/2014/main" id="{5D42419B-38C9-FF97-1BB3-EAE256AEF850}"/>
                </a:ext>
              </a:extLst>
            </p:cNvPr>
            <p:cNvCxnSpPr>
              <a:cxnSpLocks/>
            </p:cNvCxnSpPr>
            <p:nvPr/>
          </p:nvCxnSpPr>
          <p:spPr>
            <a:xfrm flipV="1">
              <a:off x="5793368" y="2448392"/>
              <a:ext cx="716766" cy="25444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6850B946-6A3D-FDF6-641F-0232E35FB245}"/>
                </a:ext>
              </a:extLst>
            </p:cNvPr>
            <p:cNvCxnSpPr>
              <a:cxnSpLocks/>
            </p:cNvCxnSpPr>
            <p:nvPr/>
          </p:nvCxnSpPr>
          <p:spPr>
            <a:xfrm>
              <a:off x="5788477" y="3869528"/>
              <a:ext cx="821610" cy="343394"/>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4BAB812-B522-3461-4A4C-494B2217B69E}"/>
                </a:ext>
              </a:extLst>
            </p:cNvPr>
            <p:cNvCxnSpPr>
              <a:cxnSpLocks/>
            </p:cNvCxnSpPr>
            <p:nvPr/>
          </p:nvCxnSpPr>
          <p:spPr>
            <a:xfrm flipV="1">
              <a:off x="5078873" y="921439"/>
              <a:ext cx="297626" cy="659098"/>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FDD9F6B-4DF6-C77E-69F4-7B68C1A1E743}"/>
                </a:ext>
              </a:extLst>
            </p:cNvPr>
            <p:cNvCxnSpPr>
              <a:cxnSpLocks/>
            </p:cNvCxnSpPr>
            <p:nvPr/>
          </p:nvCxnSpPr>
          <p:spPr>
            <a:xfrm flipV="1">
              <a:off x="5596675" y="1657354"/>
              <a:ext cx="624913" cy="464003"/>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516B614-2FEC-A3CA-F325-3D8D4AE8CC95}"/>
                </a:ext>
              </a:extLst>
            </p:cNvPr>
            <p:cNvCxnSpPr>
              <a:cxnSpLocks/>
              <a:endCxn id="62" idx="1"/>
            </p:cNvCxnSpPr>
            <p:nvPr/>
          </p:nvCxnSpPr>
          <p:spPr>
            <a:xfrm>
              <a:off x="5909131" y="3325600"/>
              <a:ext cx="874265"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130BF5D-B69C-D4B3-3F7C-5D8CBF0406AD}"/>
                </a:ext>
              </a:extLst>
            </p:cNvPr>
            <p:cNvCxnSpPr>
              <a:cxnSpLocks/>
            </p:cNvCxnSpPr>
            <p:nvPr/>
          </p:nvCxnSpPr>
          <p:spPr>
            <a:xfrm>
              <a:off x="5510488" y="4390168"/>
              <a:ext cx="705824" cy="600171"/>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6A90408-5CDC-A67E-BBCF-2685382AD867}"/>
                </a:ext>
              </a:extLst>
            </p:cNvPr>
            <p:cNvCxnSpPr>
              <a:cxnSpLocks/>
            </p:cNvCxnSpPr>
            <p:nvPr/>
          </p:nvCxnSpPr>
          <p:spPr>
            <a:xfrm>
              <a:off x="5120781" y="4949522"/>
              <a:ext cx="309088" cy="62635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sp>
          <p:nvSpPr>
            <p:cNvPr id="9" name="Freeform 8">
              <a:extLst>
                <a:ext uri="{FF2B5EF4-FFF2-40B4-BE49-F238E27FC236}">
                  <a16:creationId xmlns:a16="http://schemas.microsoft.com/office/drawing/2014/main" id="{0C34D404-B7C4-5835-BBA0-BDF4A42340D6}"/>
                </a:ext>
              </a:extLst>
            </p:cNvPr>
            <p:cNvSpPr/>
            <p:nvPr/>
          </p:nvSpPr>
          <p:spPr>
            <a:xfrm>
              <a:off x="3864504" y="1285772"/>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pPr algn="l" rtl="0"/>
              <a:endParaRPr lang="en-US"/>
            </a:p>
          </p:txBody>
        </p:sp>
        <p:grpSp>
          <p:nvGrpSpPr>
            <p:cNvPr id="11" name="Group 10">
              <a:extLst>
                <a:ext uri="{FF2B5EF4-FFF2-40B4-BE49-F238E27FC236}">
                  <a16:creationId xmlns:a16="http://schemas.microsoft.com/office/drawing/2014/main" id="{237DC7B7-87AD-5BDD-3B58-DDB8F07A8454}"/>
                </a:ext>
              </a:extLst>
            </p:cNvPr>
            <p:cNvGrpSpPr/>
            <p:nvPr/>
          </p:nvGrpSpPr>
          <p:grpSpPr>
            <a:xfrm>
              <a:off x="4896863" y="1524744"/>
              <a:ext cx="230346" cy="230551"/>
              <a:chOff x="1073516" y="1527833"/>
              <a:chExt cx="230346" cy="230551"/>
            </a:xfrm>
          </p:grpSpPr>
          <p:sp>
            <p:nvSpPr>
              <p:cNvPr id="52" name="Freeform 51">
                <a:extLst>
                  <a:ext uri="{FF2B5EF4-FFF2-40B4-BE49-F238E27FC236}">
                    <a16:creationId xmlns:a16="http://schemas.microsoft.com/office/drawing/2014/main" id="{33636165-DFB5-F569-08BF-8B016273D56C}"/>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53" name="Freeform 52">
                <a:extLst>
                  <a:ext uri="{FF2B5EF4-FFF2-40B4-BE49-F238E27FC236}">
                    <a16:creationId xmlns:a16="http://schemas.microsoft.com/office/drawing/2014/main" id="{DA04CE63-B5CF-54B5-07AC-DAB4F35C7E9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sp>
          <p:nvSpPr>
            <p:cNvPr id="50" name="Freeform 49">
              <a:extLst>
                <a:ext uri="{FF2B5EF4-FFF2-40B4-BE49-F238E27FC236}">
                  <a16:creationId xmlns:a16="http://schemas.microsoft.com/office/drawing/2014/main" id="{6192E524-49F3-17DC-B214-680AA7E493E4}"/>
                </a:ext>
              </a:extLst>
            </p:cNvPr>
            <p:cNvSpPr/>
            <p:nvPr/>
          </p:nvSpPr>
          <p:spPr>
            <a:xfrm>
              <a:off x="5383497" y="2032692"/>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51" name="Freeform 50">
              <a:extLst>
                <a:ext uri="{FF2B5EF4-FFF2-40B4-BE49-F238E27FC236}">
                  <a16:creationId xmlns:a16="http://schemas.microsoft.com/office/drawing/2014/main" id="{0EBB4964-8117-B6DD-5D11-9BF3A7FAA686}"/>
                </a:ext>
              </a:extLst>
            </p:cNvPr>
            <p:cNvSpPr/>
            <p:nvPr/>
          </p:nvSpPr>
          <p:spPr>
            <a:xfrm>
              <a:off x="5431591" y="2080829"/>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nvGrpSpPr>
            <p:cNvPr id="13" name="Group 12">
              <a:extLst>
                <a:ext uri="{FF2B5EF4-FFF2-40B4-BE49-F238E27FC236}">
                  <a16:creationId xmlns:a16="http://schemas.microsoft.com/office/drawing/2014/main" id="{0EE81F01-E06D-29E5-BA17-E772968EAC1B}"/>
                </a:ext>
              </a:extLst>
            </p:cNvPr>
            <p:cNvGrpSpPr/>
            <p:nvPr/>
          </p:nvGrpSpPr>
          <p:grpSpPr>
            <a:xfrm>
              <a:off x="5757393" y="3200965"/>
              <a:ext cx="230346" cy="230551"/>
              <a:chOff x="1073516" y="1527833"/>
              <a:chExt cx="230346" cy="230551"/>
            </a:xfrm>
          </p:grpSpPr>
          <p:sp>
            <p:nvSpPr>
              <p:cNvPr id="48" name="Freeform 47">
                <a:extLst>
                  <a:ext uri="{FF2B5EF4-FFF2-40B4-BE49-F238E27FC236}">
                    <a16:creationId xmlns:a16="http://schemas.microsoft.com/office/drawing/2014/main" id="{2FA6533C-7A98-231A-511D-8A276C0B6001}"/>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49" name="Freeform 48">
                <a:extLst>
                  <a:ext uri="{FF2B5EF4-FFF2-40B4-BE49-F238E27FC236}">
                    <a16:creationId xmlns:a16="http://schemas.microsoft.com/office/drawing/2014/main" id="{B4FEA326-E6D8-C3A5-7657-C6FE750C01F4}"/>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14" name="Group 13">
              <a:extLst>
                <a:ext uri="{FF2B5EF4-FFF2-40B4-BE49-F238E27FC236}">
                  <a16:creationId xmlns:a16="http://schemas.microsoft.com/office/drawing/2014/main" id="{E4902CA2-0772-9224-24FC-90B076827099}"/>
                </a:ext>
              </a:extLst>
            </p:cNvPr>
            <p:cNvGrpSpPr/>
            <p:nvPr/>
          </p:nvGrpSpPr>
          <p:grpSpPr>
            <a:xfrm>
              <a:off x="4949215" y="4747228"/>
              <a:ext cx="230346" cy="230551"/>
              <a:chOff x="1073516" y="1527833"/>
              <a:chExt cx="230346" cy="230551"/>
            </a:xfrm>
          </p:grpSpPr>
          <p:sp>
            <p:nvSpPr>
              <p:cNvPr id="46" name="Freeform 45">
                <a:extLst>
                  <a:ext uri="{FF2B5EF4-FFF2-40B4-BE49-F238E27FC236}">
                    <a16:creationId xmlns:a16="http://schemas.microsoft.com/office/drawing/2014/main" id="{EFAEDAFE-6687-894C-37C4-77C5BED1A108}"/>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47" name="Freeform 46">
                <a:extLst>
                  <a:ext uri="{FF2B5EF4-FFF2-40B4-BE49-F238E27FC236}">
                    <a16:creationId xmlns:a16="http://schemas.microsoft.com/office/drawing/2014/main" id="{50FC10D2-4DBB-88C2-EF10-EB977063F63F}"/>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15" name="Group 14">
              <a:extLst>
                <a:ext uri="{FF2B5EF4-FFF2-40B4-BE49-F238E27FC236}">
                  <a16:creationId xmlns:a16="http://schemas.microsoft.com/office/drawing/2014/main" id="{EF964300-DAF6-80BE-D63B-1DC35DF220EF}"/>
                </a:ext>
              </a:extLst>
            </p:cNvPr>
            <p:cNvGrpSpPr/>
            <p:nvPr/>
          </p:nvGrpSpPr>
          <p:grpSpPr>
            <a:xfrm>
              <a:off x="5405221" y="4297178"/>
              <a:ext cx="230346" cy="230551"/>
              <a:chOff x="1073516" y="1527833"/>
              <a:chExt cx="230346" cy="230551"/>
            </a:xfrm>
          </p:grpSpPr>
          <p:sp>
            <p:nvSpPr>
              <p:cNvPr id="44" name="Freeform 43">
                <a:extLst>
                  <a:ext uri="{FF2B5EF4-FFF2-40B4-BE49-F238E27FC236}">
                    <a16:creationId xmlns:a16="http://schemas.microsoft.com/office/drawing/2014/main" id="{D4D412EB-A9A6-77D8-AC7D-DF625C895AA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45" name="Freeform 44">
                <a:extLst>
                  <a:ext uri="{FF2B5EF4-FFF2-40B4-BE49-F238E27FC236}">
                    <a16:creationId xmlns:a16="http://schemas.microsoft.com/office/drawing/2014/main" id="{8A59F832-D100-FB62-7275-4A26936737A9}"/>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195" name="Group 194">
              <a:extLst>
                <a:ext uri="{FF2B5EF4-FFF2-40B4-BE49-F238E27FC236}">
                  <a16:creationId xmlns:a16="http://schemas.microsoft.com/office/drawing/2014/main" id="{321BF6F3-8A9C-898A-8A52-50B1306BB7FA}"/>
                </a:ext>
              </a:extLst>
            </p:cNvPr>
            <p:cNvGrpSpPr/>
            <p:nvPr/>
          </p:nvGrpSpPr>
          <p:grpSpPr>
            <a:xfrm>
              <a:off x="5078873" y="430173"/>
              <a:ext cx="4934696" cy="712320"/>
              <a:chOff x="1416598" y="919839"/>
              <a:chExt cx="4934696" cy="712320"/>
            </a:xfrm>
          </p:grpSpPr>
          <p:sp>
            <p:nvSpPr>
              <p:cNvPr id="196" name="Rounded Rectangle 195">
                <a:extLst>
                  <a:ext uri="{FF2B5EF4-FFF2-40B4-BE49-F238E27FC236}">
                    <a16:creationId xmlns:a16="http://schemas.microsoft.com/office/drawing/2014/main" id="{36CA3738-B7DD-A7C5-A01B-24040B52F966}"/>
                  </a:ext>
                </a:extLst>
              </p:cNvPr>
              <p:cNvSpPr/>
              <p:nvPr/>
            </p:nvSpPr>
            <p:spPr>
              <a:xfrm>
                <a:off x="1517286"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197" name="TextBox 49">
                <a:extLst>
                  <a:ext uri="{FF2B5EF4-FFF2-40B4-BE49-F238E27FC236}">
                    <a16:creationId xmlns:a16="http://schemas.microsoft.com/office/drawing/2014/main" id="{5D99419C-0210-C879-2517-1BC6E9ED54D6}"/>
                  </a:ext>
                </a:extLst>
              </p:cNvPr>
              <p:cNvSpPr txBox="1"/>
              <p:nvPr/>
            </p:nvSpPr>
            <p:spPr>
              <a:xfrm>
                <a:off x="2178413" y="1131063"/>
                <a:ext cx="4172881" cy="333168"/>
              </a:xfrm>
              <a:prstGeom prst="rect">
                <a:avLst/>
              </a:prstGeom>
              <a:noFill/>
            </p:spPr>
            <p:txBody>
              <a:bodyPr wrap="square" numCol="1" rtlCol="0" anchor="ctr">
                <a:spAutoFit/>
              </a:bodyPr>
              <a:lstStyle/>
              <a:p>
                <a:pPr algn="l" rtl="0">
                  <a:lnSpc>
                    <a:spcPts val="1800"/>
                  </a:lnSpc>
                  <a:defRPr/>
                </a:pPr>
                <a:r>
                  <a:rPr lang="en-GB" sz="2000" dirty="0">
                    <a:solidFill>
                      <a:schemeClr val="bg1"/>
                    </a:solidFill>
                    <a:ea typeface="Lato Light" panose="020F0502020204030203" pitchFamily="34" charset="0"/>
                    <a:cs typeface="Poppins" pitchFamily="2" charset="77"/>
                  </a:rPr>
                  <a:t>Dar una dirección clara</a:t>
                </a:r>
              </a:p>
            </p:txBody>
          </p:sp>
          <p:grpSp>
            <p:nvGrpSpPr>
              <p:cNvPr id="198" name="Graphic 8">
                <a:extLst>
                  <a:ext uri="{FF2B5EF4-FFF2-40B4-BE49-F238E27FC236}">
                    <a16:creationId xmlns:a16="http://schemas.microsoft.com/office/drawing/2014/main" id="{A99B5BF8-1926-C55E-B2D4-CFDF628005D9}"/>
                  </a:ext>
                </a:extLst>
              </p:cNvPr>
              <p:cNvGrpSpPr/>
              <p:nvPr/>
            </p:nvGrpSpPr>
            <p:grpSpPr>
              <a:xfrm>
                <a:off x="1416598" y="919839"/>
                <a:ext cx="701992" cy="701724"/>
                <a:chOff x="4817897" y="694433"/>
                <a:chExt cx="1446392" cy="1445841"/>
              </a:xfrm>
            </p:grpSpPr>
            <p:sp>
              <p:nvSpPr>
                <p:cNvPr id="200" name="Freeform 199">
                  <a:extLst>
                    <a:ext uri="{FF2B5EF4-FFF2-40B4-BE49-F238E27FC236}">
                      <a16:creationId xmlns:a16="http://schemas.microsoft.com/office/drawing/2014/main" id="{AA6FF4E1-984F-DF58-BB68-61EAE84344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201" name="Freeform 200">
                  <a:extLst>
                    <a:ext uri="{FF2B5EF4-FFF2-40B4-BE49-F238E27FC236}">
                      <a16:creationId xmlns:a16="http://schemas.microsoft.com/office/drawing/2014/main" id="{318BCA59-E276-F06F-5B78-E79564E7F5C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199" name="TextBox 198">
                <a:extLst>
                  <a:ext uri="{FF2B5EF4-FFF2-40B4-BE49-F238E27FC236}">
                    <a16:creationId xmlns:a16="http://schemas.microsoft.com/office/drawing/2014/main" id="{7A3B81BF-BC0E-1D84-F82A-747DBD71BCA3}"/>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grpSp>
          <p:nvGrpSpPr>
            <p:cNvPr id="8" name="Group 7">
              <a:extLst>
                <a:ext uri="{FF2B5EF4-FFF2-40B4-BE49-F238E27FC236}">
                  <a16:creationId xmlns:a16="http://schemas.microsoft.com/office/drawing/2014/main" id="{12F5E59B-85E2-6F54-A0B5-A94A7551CED1}"/>
                </a:ext>
              </a:extLst>
            </p:cNvPr>
            <p:cNvGrpSpPr/>
            <p:nvPr/>
          </p:nvGrpSpPr>
          <p:grpSpPr>
            <a:xfrm>
              <a:off x="5860555" y="1279131"/>
              <a:ext cx="4934696" cy="712320"/>
              <a:chOff x="1416598" y="919839"/>
              <a:chExt cx="4934696" cy="712320"/>
            </a:xfrm>
          </p:grpSpPr>
          <p:sp>
            <p:nvSpPr>
              <p:cNvPr id="10" name="Rounded Rectangle 9">
                <a:extLst>
                  <a:ext uri="{FF2B5EF4-FFF2-40B4-BE49-F238E27FC236}">
                    <a16:creationId xmlns:a16="http://schemas.microsoft.com/office/drawing/2014/main" id="{C9868929-A9C8-6CC2-5FB8-EC98C8EE9139}"/>
                  </a:ext>
                </a:extLst>
              </p:cNvPr>
              <p:cNvSpPr/>
              <p:nvPr/>
            </p:nvSpPr>
            <p:spPr>
              <a:xfrm>
                <a:off x="1517286"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12" name="TextBox 49">
                <a:extLst>
                  <a:ext uri="{FF2B5EF4-FFF2-40B4-BE49-F238E27FC236}">
                    <a16:creationId xmlns:a16="http://schemas.microsoft.com/office/drawing/2014/main" id="{9546C228-6899-94C9-1820-443B0DB162A7}"/>
                  </a:ext>
                </a:extLst>
              </p:cNvPr>
              <p:cNvSpPr txBox="1"/>
              <p:nvPr/>
            </p:nvSpPr>
            <p:spPr>
              <a:xfrm>
                <a:off x="2178413" y="1131063"/>
                <a:ext cx="4172881" cy="333168"/>
              </a:xfrm>
              <a:prstGeom prst="rect">
                <a:avLst/>
              </a:prstGeom>
              <a:noFill/>
            </p:spPr>
            <p:txBody>
              <a:bodyPr wrap="square" numCol="1" rtlCol="0" anchor="ctr">
                <a:spAutoFit/>
              </a:bodyPr>
              <a:lstStyle/>
              <a:p>
                <a:pPr algn="l" rtl="0">
                  <a:lnSpc>
                    <a:spcPts val="1800"/>
                  </a:lnSpc>
                  <a:defRPr/>
                </a:pPr>
                <a:r>
                  <a:rPr lang="en-GB" sz="2000" dirty="0">
                    <a:solidFill>
                      <a:schemeClr val="bg1"/>
                    </a:solidFill>
                    <a:ea typeface="Lato Light" panose="020F0502020204030203" pitchFamily="34" charset="0"/>
                    <a:cs typeface="Poppins" pitchFamily="2" charset="77"/>
                  </a:rPr>
                  <a:t>Centrarse en las personas</a:t>
                </a:r>
              </a:p>
            </p:txBody>
          </p:sp>
          <p:grpSp>
            <p:nvGrpSpPr>
              <p:cNvPr id="17" name="Graphic 8">
                <a:extLst>
                  <a:ext uri="{FF2B5EF4-FFF2-40B4-BE49-F238E27FC236}">
                    <a16:creationId xmlns:a16="http://schemas.microsoft.com/office/drawing/2014/main" id="{1140E144-5EBE-60D2-547F-43DF4A3F5D2E}"/>
                  </a:ext>
                </a:extLst>
              </p:cNvPr>
              <p:cNvGrpSpPr/>
              <p:nvPr/>
            </p:nvGrpSpPr>
            <p:grpSpPr>
              <a:xfrm>
                <a:off x="1416598" y="919839"/>
                <a:ext cx="701992" cy="701724"/>
                <a:chOff x="4817897" y="694433"/>
                <a:chExt cx="1446392" cy="1445841"/>
              </a:xfrm>
            </p:grpSpPr>
            <p:sp>
              <p:nvSpPr>
                <p:cNvPr id="33" name="Freeform 32">
                  <a:extLst>
                    <a:ext uri="{FF2B5EF4-FFF2-40B4-BE49-F238E27FC236}">
                      <a16:creationId xmlns:a16="http://schemas.microsoft.com/office/drawing/2014/main" id="{3854300A-1A5E-FC0C-C62C-75B5B0E473F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34" name="Freeform 33">
                  <a:extLst>
                    <a:ext uri="{FF2B5EF4-FFF2-40B4-BE49-F238E27FC236}">
                      <a16:creationId xmlns:a16="http://schemas.microsoft.com/office/drawing/2014/main" id="{6440DD07-9EEE-BAA9-FDD0-110923277C5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32" name="TextBox 31">
                <a:extLst>
                  <a:ext uri="{FF2B5EF4-FFF2-40B4-BE49-F238E27FC236}">
                    <a16:creationId xmlns:a16="http://schemas.microsoft.com/office/drawing/2014/main" id="{1E3BDCF5-939C-269D-227F-B7427CC84C0E}"/>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35" name="Group 34">
              <a:extLst>
                <a:ext uri="{FF2B5EF4-FFF2-40B4-BE49-F238E27FC236}">
                  <a16:creationId xmlns:a16="http://schemas.microsoft.com/office/drawing/2014/main" id="{1D2A611C-76F8-C6E7-DE5A-899E906D1EA5}"/>
                </a:ext>
              </a:extLst>
            </p:cNvPr>
            <p:cNvGrpSpPr/>
            <p:nvPr/>
          </p:nvGrpSpPr>
          <p:grpSpPr>
            <a:xfrm>
              <a:off x="6284353" y="2128089"/>
              <a:ext cx="4934696" cy="712320"/>
              <a:chOff x="1416598" y="919839"/>
              <a:chExt cx="4934696" cy="712320"/>
            </a:xfrm>
          </p:grpSpPr>
          <p:sp>
            <p:nvSpPr>
              <p:cNvPr id="36" name="Rounded Rectangle 35">
                <a:extLst>
                  <a:ext uri="{FF2B5EF4-FFF2-40B4-BE49-F238E27FC236}">
                    <a16:creationId xmlns:a16="http://schemas.microsoft.com/office/drawing/2014/main" id="{64B89EDC-F931-71B6-97B6-133F54A0A539}"/>
                  </a:ext>
                </a:extLst>
              </p:cNvPr>
              <p:cNvSpPr/>
              <p:nvPr/>
            </p:nvSpPr>
            <p:spPr>
              <a:xfrm>
                <a:off x="1517286"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7" name="TextBox 49">
                <a:extLst>
                  <a:ext uri="{FF2B5EF4-FFF2-40B4-BE49-F238E27FC236}">
                    <a16:creationId xmlns:a16="http://schemas.microsoft.com/office/drawing/2014/main" id="{6501B9AD-73B3-BF21-8CC1-4C362200D033}"/>
                  </a:ext>
                </a:extLst>
              </p:cNvPr>
              <p:cNvSpPr txBox="1"/>
              <p:nvPr/>
            </p:nvSpPr>
            <p:spPr>
              <a:xfrm>
                <a:off x="2178413" y="1131063"/>
                <a:ext cx="4172881" cy="333168"/>
              </a:xfrm>
              <a:prstGeom prst="rect">
                <a:avLst/>
              </a:prstGeom>
              <a:noFill/>
            </p:spPr>
            <p:txBody>
              <a:bodyPr wrap="square" numCol="1" rtlCol="0" anchor="ctr">
                <a:spAutoFit/>
              </a:bodyPr>
              <a:lstStyle/>
              <a:p>
                <a:pPr algn="l" rtl="0">
                  <a:lnSpc>
                    <a:spcPts val="1800"/>
                  </a:lnSpc>
                  <a:defRPr/>
                </a:pPr>
                <a:r>
                  <a:rPr lang="en-GB" sz="2000" dirty="0">
                    <a:solidFill>
                      <a:schemeClr val="bg1"/>
                    </a:solidFill>
                    <a:ea typeface="Lato Light" panose="020F0502020204030203" pitchFamily="34" charset="0"/>
                    <a:cs typeface="Poppins" pitchFamily="2" charset="77"/>
                  </a:rPr>
                  <a:t>Encuentra un entrenador</a:t>
                </a:r>
              </a:p>
            </p:txBody>
          </p:sp>
          <p:grpSp>
            <p:nvGrpSpPr>
              <p:cNvPr id="54" name="Graphic 8">
                <a:extLst>
                  <a:ext uri="{FF2B5EF4-FFF2-40B4-BE49-F238E27FC236}">
                    <a16:creationId xmlns:a16="http://schemas.microsoft.com/office/drawing/2014/main" id="{D0A2EFCA-A71C-DB07-3479-0A5605FD1DDE}"/>
                  </a:ext>
                </a:extLst>
              </p:cNvPr>
              <p:cNvGrpSpPr/>
              <p:nvPr/>
            </p:nvGrpSpPr>
            <p:grpSpPr>
              <a:xfrm>
                <a:off x="1416598" y="919839"/>
                <a:ext cx="701992" cy="701724"/>
                <a:chOff x="4817897" y="694433"/>
                <a:chExt cx="1446392" cy="1445841"/>
              </a:xfrm>
            </p:grpSpPr>
            <p:sp>
              <p:nvSpPr>
                <p:cNvPr id="56" name="Freeform 55">
                  <a:extLst>
                    <a:ext uri="{FF2B5EF4-FFF2-40B4-BE49-F238E27FC236}">
                      <a16:creationId xmlns:a16="http://schemas.microsoft.com/office/drawing/2014/main" id="{AE4FD722-B95C-938E-7AA0-43D6B1D84D97}"/>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57" name="Freeform 56">
                  <a:extLst>
                    <a:ext uri="{FF2B5EF4-FFF2-40B4-BE49-F238E27FC236}">
                      <a16:creationId xmlns:a16="http://schemas.microsoft.com/office/drawing/2014/main" id="{FEE88A97-9313-87B9-AE50-49D81D391D6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55" name="TextBox 54">
                <a:extLst>
                  <a:ext uri="{FF2B5EF4-FFF2-40B4-BE49-F238E27FC236}">
                    <a16:creationId xmlns:a16="http://schemas.microsoft.com/office/drawing/2014/main" id="{EE4BAFB6-4450-CE4E-906A-8CD622AADE8F}"/>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58" name="Group 57">
              <a:extLst>
                <a:ext uri="{FF2B5EF4-FFF2-40B4-BE49-F238E27FC236}">
                  <a16:creationId xmlns:a16="http://schemas.microsoft.com/office/drawing/2014/main" id="{3647FB4B-11B2-FA8B-98F8-31A7FD2ED232}"/>
                </a:ext>
              </a:extLst>
            </p:cNvPr>
            <p:cNvGrpSpPr/>
            <p:nvPr/>
          </p:nvGrpSpPr>
          <p:grpSpPr>
            <a:xfrm>
              <a:off x="6694757" y="2977047"/>
              <a:ext cx="5153342" cy="712320"/>
              <a:chOff x="1416598" y="919839"/>
              <a:chExt cx="5153342" cy="712320"/>
            </a:xfrm>
          </p:grpSpPr>
          <p:sp>
            <p:nvSpPr>
              <p:cNvPr id="59" name="Rounded Rectangle 58">
                <a:extLst>
                  <a:ext uri="{FF2B5EF4-FFF2-40B4-BE49-F238E27FC236}">
                    <a16:creationId xmlns:a16="http://schemas.microsoft.com/office/drawing/2014/main" id="{4B1E85AD-D707-D4EE-348C-A9FD4C441D0F}"/>
                  </a:ext>
                </a:extLst>
              </p:cNvPr>
              <p:cNvSpPr/>
              <p:nvPr/>
            </p:nvSpPr>
            <p:spPr>
              <a:xfrm>
                <a:off x="1517286"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60" name="TextBox 49">
                <a:extLst>
                  <a:ext uri="{FF2B5EF4-FFF2-40B4-BE49-F238E27FC236}">
                    <a16:creationId xmlns:a16="http://schemas.microsoft.com/office/drawing/2014/main" id="{AB542332-AF2B-CFF4-861B-588F894A92AC}"/>
                  </a:ext>
                </a:extLst>
              </p:cNvPr>
              <p:cNvSpPr txBox="1"/>
              <p:nvPr/>
            </p:nvSpPr>
            <p:spPr>
              <a:xfrm>
                <a:off x="2178413" y="1131061"/>
                <a:ext cx="4391527" cy="333168"/>
              </a:xfrm>
              <a:prstGeom prst="rect">
                <a:avLst/>
              </a:prstGeom>
              <a:noFill/>
            </p:spPr>
            <p:txBody>
              <a:bodyPr wrap="square" numCol="1" rtlCol="0" anchor="ctr">
                <a:spAutoFit/>
              </a:bodyPr>
              <a:lstStyle/>
              <a:p>
                <a:pPr algn="l" rtl="0">
                  <a:lnSpc>
                    <a:spcPts val="1800"/>
                  </a:lnSpc>
                  <a:defRPr/>
                </a:pPr>
                <a:r>
                  <a:rPr lang="en-GB" sz="2000" dirty="0">
                    <a:solidFill>
                      <a:schemeClr val="bg1"/>
                    </a:solidFill>
                    <a:ea typeface="Lato Light" panose="020F0502020204030203" pitchFamily="34" charset="0"/>
                    <a:cs typeface="Poppins" pitchFamily="2" charset="77"/>
                  </a:rPr>
                  <a:t>Sea transparente</a:t>
                </a:r>
              </a:p>
            </p:txBody>
          </p:sp>
          <p:grpSp>
            <p:nvGrpSpPr>
              <p:cNvPr id="61" name="Graphic 8">
                <a:extLst>
                  <a:ext uri="{FF2B5EF4-FFF2-40B4-BE49-F238E27FC236}">
                    <a16:creationId xmlns:a16="http://schemas.microsoft.com/office/drawing/2014/main" id="{28339DF6-5642-6B3D-47B1-9EDFD2A25545}"/>
                  </a:ext>
                </a:extLst>
              </p:cNvPr>
              <p:cNvGrpSpPr/>
              <p:nvPr/>
            </p:nvGrpSpPr>
            <p:grpSpPr>
              <a:xfrm>
                <a:off x="1416598" y="919839"/>
                <a:ext cx="701992" cy="701724"/>
                <a:chOff x="4817897" y="694433"/>
                <a:chExt cx="1446392" cy="1445841"/>
              </a:xfrm>
            </p:grpSpPr>
            <p:sp>
              <p:nvSpPr>
                <p:cNvPr id="63" name="Freeform 62">
                  <a:extLst>
                    <a:ext uri="{FF2B5EF4-FFF2-40B4-BE49-F238E27FC236}">
                      <a16:creationId xmlns:a16="http://schemas.microsoft.com/office/drawing/2014/main" id="{B5303BD2-3C19-E7F6-EA76-AB08F9D2CD3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192" name="Freeform 191">
                  <a:extLst>
                    <a:ext uri="{FF2B5EF4-FFF2-40B4-BE49-F238E27FC236}">
                      <a16:creationId xmlns:a16="http://schemas.microsoft.com/office/drawing/2014/main" id="{6AA04615-373D-5DEF-DFDF-FD18A974245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62" name="TextBox 61">
                <a:extLst>
                  <a:ext uri="{FF2B5EF4-FFF2-40B4-BE49-F238E27FC236}">
                    <a16:creationId xmlns:a16="http://schemas.microsoft.com/office/drawing/2014/main" id="{403C415A-45A2-104E-D28D-16C04FF448C4}"/>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grpSp>
          <p:nvGrpSpPr>
            <p:cNvPr id="193" name="Group 192">
              <a:extLst>
                <a:ext uri="{FF2B5EF4-FFF2-40B4-BE49-F238E27FC236}">
                  <a16:creationId xmlns:a16="http://schemas.microsoft.com/office/drawing/2014/main" id="{FF021776-7E31-BC16-3ADF-48B57EC72A7C}"/>
                </a:ext>
              </a:extLst>
            </p:cNvPr>
            <p:cNvGrpSpPr/>
            <p:nvPr/>
          </p:nvGrpSpPr>
          <p:grpSpPr>
            <a:xfrm>
              <a:off x="5860555" y="4674963"/>
              <a:ext cx="4934696" cy="712320"/>
              <a:chOff x="1416598" y="919839"/>
              <a:chExt cx="4934696" cy="712320"/>
            </a:xfrm>
          </p:grpSpPr>
          <p:sp>
            <p:nvSpPr>
              <p:cNvPr id="194" name="Rounded Rectangle 193">
                <a:extLst>
                  <a:ext uri="{FF2B5EF4-FFF2-40B4-BE49-F238E27FC236}">
                    <a16:creationId xmlns:a16="http://schemas.microsoft.com/office/drawing/2014/main" id="{0E053648-ED64-FE77-6656-2F3D658AAC47}"/>
                  </a:ext>
                </a:extLst>
              </p:cNvPr>
              <p:cNvSpPr/>
              <p:nvPr/>
            </p:nvSpPr>
            <p:spPr>
              <a:xfrm>
                <a:off x="1517286"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02" name="TextBox 49">
                <a:extLst>
                  <a:ext uri="{FF2B5EF4-FFF2-40B4-BE49-F238E27FC236}">
                    <a16:creationId xmlns:a16="http://schemas.microsoft.com/office/drawing/2014/main" id="{4AE670C9-AF1F-2473-A91B-3996AB6723AF}"/>
                  </a:ext>
                </a:extLst>
              </p:cNvPr>
              <p:cNvSpPr txBox="1"/>
              <p:nvPr/>
            </p:nvSpPr>
            <p:spPr>
              <a:xfrm>
                <a:off x="2178413" y="1131062"/>
                <a:ext cx="4172881" cy="333168"/>
              </a:xfrm>
              <a:prstGeom prst="rect">
                <a:avLst/>
              </a:prstGeom>
              <a:noFill/>
            </p:spPr>
            <p:txBody>
              <a:bodyPr wrap="square" numCol="1" rtlCol="0" anchor="ctr">
                <a:spAutoFit/>
              </a:bodyPr>
              <a:lstStyle/>
              <a:p>
                <a:pPr algn="l" rtl="0">
                  <a:lnSpc>
                    <a:spcPts val="1800"/>
                  </a:lnSpc>
                  <a:defRPr/>
                </a:pPr>
                <a:r>
                  <a:rPr lang="en-GB" sz="2000" dirty="0">
                    <a:solidFill>
                      <a:schemeClr val="bg1"/>
                    </a:solidFill>
                    <a:ea typeface="Lato Light" panose="020F0502020204030203" pitchFamily="34" charset="0"/>
                    <a:cs typeface="Poppins" pitchFamily="2" charset="77"/>
                  </a:rPr>
                  <a:t>Cuidar de su equipo</a:t>
                </a:r>
              </a:p>
            </p:txBody>
          </p:sp>
          <p:grpSp>
            <p:nvGrpSpPr>
              <p:cNvPr id="203" name="Graphic 8">
                <a:extLst>
                  <a:ext uri="{FF2B5EF4-FFF2-40B4-BE49-F238E27FC236}">
                    <a16:creationId xmlns:a16="http://schemas.microsoft.com/office/drawing/2014/main" id="{03DEDB80-C4A2-4705-225C-4393293337E4}"/>
                  </a:ext>
                </a:extLst>
              </p:cNvPr>
              <p:cNvGrpSpPr/>
              <p:nvPr/>
            </p:nvGrpSpPr>
            <p:grpSpPr>
              <a:xfrm>
                <a:off x="1416598" y="919839"/>
                <a:ext cx="701992" cy="701724"/>
                <a:chOff x="4817897" y="694433"/>
                <a:chExt cx="1446392" cy="1445841"/>
              </a:xfrm>
            </p:grpSpPr>
            <p:sp>
              <p:nvSpPr>
                <p:cNvPr id="205" name="Freeform 204">
                  <a:extLst>
                    <a:ext uri="{FF2B5EF4-FFF2-40B4-BE49-F238E27FC236}">
                      <a16:creationId xmlns:a16="http://schemas.microsoft.com/office/drawing/2014/main" id="{B75F68FF-5410-E05B-409C-DA7532A391D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206" name="Freeform 205">
                  <a:extLst>
                    <a:ext uri="{FF2B5EF4-FFF2-40B4-BE49-F238E27FC236}">
                      <a16:creationId xmlns:a16="http://schemas.microsoft.com/office/drawing/2014/main" id="{05B2650E-98B2-247E-7B23-50D936DEF2D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204" name="TextBox 203">
                <a:extLst>
                  <a:ext uri="{FF2B5EF4-FFF2-40B4-BE49-F238E27FC236}">
                    <a16:creationId xmlns:a16="http://schemas.microsoft.com/office/drawing/2014/main" id="{A37E2B73-9F3F-DFE7-FFF3-9D88089298D2}"/>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6</a:t>
                </a:r>
              </a:p>
            </p:txBody>
          </p:sp>
        </p:grpSp>
        <p:grpSp>
          <p:nvGrpSpPr>
            <p:cNvPr id="207" name="Group 206">
              <a:extLst>
                <a:ext uri="{FF2B5EF4-FFF2-40B4-BE49-F238E27FC236}">
                  <a16:creationId xmlns:a16="http://schemas.microsoft.com/office/drawing/2014/main" id="{925322E9-2E6D-CB38-0D40-99B1F490E6BE}"/>
                </a:ext>
              </a:extLst>
            </p:cNvPr>
            <p:cNvGrpSpPr/>
            <p:nvPr/>
          </p:nvGrpSpPr>
          <p:grpSpPr>
            <a:xfrm>
              <a:off x="6284353" y="3826005"/>
              <a:ext cx="4510898" cy="712320"/>
              <a:chOff x="1416598" y="919839"/>
              <a:chExt cx="4510898" cy="712320"/>
            </a:xfrm>
          </p:grpSpPr>
          <p:sp>
            <p:nvSpPr>
              <p:cNvPr id="208" name="Rounded Rectangle 207">
                <a:extLst>
                  <a:ext uri="{FF2B5EF4-FFF2-40B4-BE49-F238E27FC236}">
                    <a16:creationId xmlns:a16="http://schemas.microsoft.com/office/drawing/2014/main" id="{AF8ECEE2-DD69-100C-9EAA-AC41986C5567}"/>
                  </a:ext>
                </a:extLst>
              </p:cNvPr>
              <p:cNvSpPr/>
              <p:nvPr/>
            </p:nvSpPr>
            <p:spPr>
              <a:xfrm>
                <a:off x="1517286"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14" name="TextBox 49">
                <a:extLst>
                  <a:ext uri="{FF2B5EF4-FFF2-40B4-BE49-F238E27FC236}">
                    <a16:creationId xmlns:a16="http://schemas.microsoft.com/office/drawing/2014/main" id="{88EF7C0C-2860-FDDC-7C45-6C444FCFC494}"/>
                  </a:ext>
                </a:extLst>
              </p:cNvPr>
              <p:cNvSpPr txBox="1"/>
              <p:nvPr/>
            </p:nvSpPr>
            <p:spPr>
              <a:xfrm>
                <a:off x="2178413" y="1131062"/>
                <a:ext cx="3749083" cy="333168"/>
              </a:xfrm>
              <a:prstGeom prst="rect">
                <a:avLst/>
              </a:prstGeom>
              <a:noFill/>
            </p:spPr>
            <p:txBody>
              <a:bodyPr wrap="square" numCol="1" rtlCol="0" anchor="ctr">
                <a:spAutoFit/>
              </a:bodyPr>
              <a:lstStyle/>
              <a:p>
                <a:pPr algn="l" rtl="0">
                  <a:lnSpc>
                    <a:spcPts val="1800"/>
                  </a:lnSpc>
                  <a:defRPr/>
                </a:pPr>
                <a:r>
                  <a:rPr lang="en-GB" sz="2000" dirty="0">
                    <a:solidFill>
                      <a:schemeClr val="bg1"/>
                    </a:solidFill>
                    <a:ea typeface="Lato Light" panose="020F0502020204030203" pitchFamily="34" charset="0"/>
                    <a:cs typeface="Poppins" pitchFamily="2" charset="77"/>
                  </a:rPr>
                  <a:t>Desarrollar el autoliderazgo</a:t>
                </a:r>
              </a:p>
            </p:txBody>
          </p:sp>
          <p:grpSp>
            <p:nvGrpSpPr>
              <p:cNvPr id="216" name="Graphic 8">
                <a:extLst>
                  <a:ext uri="{FF2B5EF4-FFF2-40B4-BE49-F238E27FC236}">
                    <a16:creationId xmlns:a16="http://schemas.microsoft.com/office/drawing/2014/main" id="{CE05CE42-718E-D233-4C48-871AB1954A6F}"/>
                  </a:ext>
                </a:extLst>
              </p:cNvPr>
              <p:cNvGrpSpPr/>
              <p:nvPr/>
            </p:nvGrpSpPr>
            <p:grpSpPr>
              <a:xfrm>
                <a:off x="1416598" y="919839"/>
                <a:ext cx="701992" cy="701724"/>
                <a:chOff x="4817897" y="694433"/>
                <a:chExt cx="1446392" cy="1445841"/>
              </a:xfrm>
            </p:grpSpPr>
            <p:sp>
              <p:nvSpPr>
                <p:cNvPr id="220" name="Freeform 219">
                  <a:extLst>
                    <a:ext uri="{FF2B5EF4-FFF2-40B4-BE49-F238E27FC236}">
                      <a16:creationId xmlns:a16="http://schemas.microsoft.com/office/drawing/2014/main" id="{51A0662C-30DC-6C70-360F-FC1A1C7AA8C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221" name="Freeform 220">
                  <a:extLst>
                    <a:ext uri="{FF2B5EF4-FFF2-40B4-BE49-F238E27FC236}">
                      <a16:creationId xmlns:a16="http://schemas.microsoft.com/office/drawing/2014/main" id="{DB2E2E09-9029-86B5-EADA-F92A344E9D2C}"/>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217" name="TextBox 216">
                <a:extLst>
                  <a:ext uri="{FF2B5EF4-FFF2-40B4-BE49-F238E27FC236}">
                    <a16:creationId xmlns:a16="http://schemas.microsoft.com/office/drawing/2014/main" id="{5469DD9B-90CC-5DDD-9422-D0474812F660}"/>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nvGrpSpPr>
            <p:cNvPr id="222" name="Group 221">
              <a:extLst>
                <a:ext uri="{FF2B5EF4-FFF2-40B4-BE49-F238E27FC236}">
                  <a16:creationId xmlns:a16="http://schemas.microsoft.com/office/drawing/2014/main" id="{6BB9BA09-6221-D34C-DC21-C56A7472B5C6}"/>
                </a:ext>
              </a:extLst>
            </p:cNvPr>
            <p:cNvGrpSpPr/>
            <p:nvPr/>
          </p:nvGrpSpPr>
          <p:grpSpPr>
            <a:xfrm>
              <a:off x="5078873" y="5523924"/>
              <a:ext cx="4674956" cy="712320"/>
              <a:chOff x="1416598" y="919839"/>
              <a:chExt cx="4674956" cy="712320"/>
            </a:xfrm>
          </p:grpSpPr>
          <p:sp>
            <p:nvSpPr>
              <p:cNvPr id="223" name="Rounded Rectangle 222">
                <a:extLst>
                  <a:ext uri="{FF2B5EF4-FFF2-40B4-BE49-F238E27FC236}">
                    <a16:creationId xmlns:a16="http://schemas.microsoft.com/office/drawing/2014/main" id="{EA90B2F7-3B03-E272-D2A0-69AA27D3779F}"/>
                  </a:ext>
                </a:extLst>
              </p:cNvPr>
              <p:cNvSpPr/>
              <p:nvPr/>
            </p:nvSpPr>
            <p:spPr>
              <a:xfrm>
                <a:off x="1517285"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24" name="TextBox 49">
                <a:extLst>
                  <a:ext uri="{FF2B5EF4-FFF2-40B4-BE49-F238E27FC236}">
                    <a16:creationId xmlns:a16="http://schemas.microsoft.com/office/drawing/2014/main" id="{C3AE97F6-390D-8FA2-5906-D8789F614B61}"/>
                  </a:ext>
                </a:extLst>
              </p:cNvPr>
              <p:cNvSpPr txBox="1"/>
              <p:nvPr/>
            </p:nvSpPr>
            <p:spPr>
              <a:xfrm>
                <a:off x="2178414" y="1131062"/>
                <a:ext cx="3913140" cy="333168"/>
              </a:xfrm>
              <a:prstGeom prst="rect">
                <a:avLst/>
              </a:prstGeom>
              <a:noFill/>
            </p:spPr>
            <p:txBody>
              <a:bodyPr wrap="square" numCol="1" rtlCol="0" anchor="ctr">
                <a:spAutoFit/>
              </a:bodyPr>
              <a:lstStyle/>
              <a:p>
                <a:pPr algn="l" rtl="0">
                  <a:lnSpc>
                    <a:spcPts val="1800"/>
                  </a:lnSpc>
                  <a:defRPr/>
                </a:pPr>
                <a:r>
                  <a:rPr lang="en-GB" sz="2000" dirty="0">
                    <a:solidFill>
                      <a:schemeClr val="bg1"/>
                    </a:solidFill>
                    <a:ea typeface="Lato Light" panose="020F0502020204030203" pitchFamily="34" charset="0"/>
                    <a:cs typeface="Poppins" pitchFamily="2" charset="77"/>
                  </a:rPr>
                  <a:t>Aprende a ser un verdadero líder</a:t>
                </a:r>
              </a:p>
            </p:txBody>
          </p:sp>
          <p:grpSp>
            <p:nvGrpSpPr>
              <p:cNvPr id="225" name="Graphic 8">
                <a:extLst>
                  <a:ext uri="{FF2B5EF4-FFF2-40B4-BE49-F238E27FC236}">
                    <a16:creationId xmlns:a16="http://schemas.microsoft.com/office/drawing/2014/main" id="{6AF7DF20-2605-8D13-266B-0CA3FA0B9D35}"/>
                  </a:ext>
                </a:extLst>
              </p:cNvPr>
              <p:cNvGrpSpPr/>
              <p:nvPr/>
            </p:nvGrpSpPr>
            <p:grpSpPr>
              <a:xfrm>
                <a:off x="1416598" y="919839"/>
                <a:ext cx="701992" cy="701724"/>
                <a:chOff x="4817897" y="694433"/>
                <a:chExt cx="1446392" cy="1445841"/>
              </a:xfrm>
            </p:grpSpPr>
            <p:sp>
              <p:nvSpPr>
                <p:cNvPr id="227" name="Freeform 226">
                  <a:extLst>
                    <a:ext uri="{FF2B5EF4-FFF2-40B4-BE49-F238E27FC236}">
                      <a16:creationId xmlns:a16="http://schemas.microsoft.com/office/drawing/2014/main" id="{99A32D5E-1B94-1357-C967-E118488C0CCA}"/>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228" name="Freeform 227">
                  <a:extLst>
                    <a:ext uri="{FF2B5EF4-FFF2-40B4-BE49-F238E27FC236}">
                      <a16:creationId xmlns:a16="http://schemas.microsoft.com/office/drawing/2014/main" id="{C225AC36-9940-4824-843E-FCA018E3EC1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226" name="TextBox 225">
                <a:extLst>
                  <a:ext uri="{FF2B5EF4-FFF2-40B4-BE49-F238E27FC236}">
                    <a16:creationId xmlns:a16="http://schemas.microsoft.com/office/drawing/2014/main" id="{21C55162-F78C-1714-D0D9-A1D3617252A9}"/>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7</a:t>
                </a:r>
              </a:p>
            </p:txBody>
          </p:sp>
        </p:grpSp>
        <p:grpSp>
          <p:nvGrpSpPr>
            <p:cNvPr id="232" name="Group 231">
              <a:extLst>
                <a:ext uri="{FF2B5EF4-FFF2-40B4-BE49-F238E27FC236}">
                  <a16:creationId xmlns:a16="http://schemas.microsoft.com/office/drawing/2014/main" id="{71F51CB9-58ED-46B8-5031-77628761E5C2}"/>
                </a:ext>
              </a:extLst>
            </p:cNvPr>
            <p:cNvGrpSpPr/>
            <p:nvPr/>
          </p:nvGrpSpPr>
          <p:grpSpPr>
            <a:xfrm>
              <a:off x="5678785" y="3760370"/>
              <a:ext cx="230346" cy="230551"/>
              <a:chOff x="1073516" y="1527833"/>
              <a:chExt cx="230346" cy="230551"/>
            </a:xfrm>
          </p:grpSpPr>
          <p:sp>
            <p:nvSpPr>
              <p:cNvPr id="233" name="Freeform 232">
                <a:extLst>
                  <a:ext uri="{FF2B5EF4-FFF2-40B4-BE49-F238E27FC236}">
                    <a16:creationId xmlns:a16="http://schemas.microsoft.com/office/drawing/2014/main" id="{21D5F348-C3B0-8E87-57FB-800DCD03C589}"/>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234" name="Freeform 233">
                <a:extLst>
                  <a:ext uri="{FF2B5EF4-FFF2-40B4-BE49-F238E27FC236}">
                    <a16:creationId xmlns:a16="http://schemas.microsoft.com/office/drawing/2014/main" id="{271F246C-3ADD-2C8A-A294-FBD4094F7630}"/>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236" name="Group 235">
              <a:extLst>
                <a:ext uri="{FF2B5EF4-FFF2-40B4-BE49-F238E27FC236}">
                  <a16:creationId xmlns:a16="http://schemas.microsoft.com/office/drawing/2014/main" id="{83F513E8-F87F-19B9-44F2-5A75E594604C}"/>
                </a:ext>
              </a:extLst>
            </p:cNvPr>
            <p:cNvGrpSpPr/>
            <p:nvPr/>
          </p:nvGrpSpPr>
          <p:grpSpPr>
            <a:xfrm>
              <a:off x="5663046" y="2589645"/>
              <a:ext cx="230346" cy="230551"/>
              <a:chOff x="1073516" y="1527833"/>
              <a:chExt cx="230346" cy="230551"/>
            </a:xfrm>
          </p:grpSpPr>
          <p:sp>
            <p:nvSpPr>
              <p:cNvPr id="237" name="Freeform 236">
                <a:extLst>
                  <a:ext uri="{FF2B5EF4-FFF2-40B4-BE49-F238E27FC236}">
                    <a16:creationId xmlns:a16="http://schemas.microsoft.com/office/drawing/2014/main" id="{FC3CF6FB-C4BB-C6DE-649F-47F7F073969D}"/>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238" name="Freeform 237">
                <a:extLst>
                  <a:ext uri="{FF2B5EF4-FFF2-40B4-BE49-F238E27FC236}">
                    <a16:creationId xmlns:a16="http://schemas.microsoft.com/office/drawing/2014/main" id="{D9FC32B7-FA5A-1328-7AB6-A0894F7E5CCC}"/>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pic>
        <p:nvPicPr>
          <p:cNvPr id="19" name="Picture 18" descr="Icon  Description automatically generated">
            <a:extLst>
              <a:ext uri="{FF2B5EF4-FFF2-40B4-BE49-F238E27FC236}">
                <a16:creationId xmlns:a16="http://schemas.microsoft.com/office/drawing/2014/main" id="{421A2BCB-3233-A9FD-4DFD-0176213A6125}"/>
              </a:ext>
            </a:extLst>
          </p:cNvPr>
          <p:cNvPicPr/>
          <p:nvPr/>
        </p:nvPicPr>
        <p:blipFill rotWithShape="1">
          <a:blip r:embed="rId4" cstate="screen">
            <a:extLst>
              <a:ext uri="{28A0092B-C50C-407E-A947-70E740481C1C}">
                <a14:useLocalDpi xmlns:a14="http://schemas.microsoft.com/office/drawing/2010/main"/>
              </a:ext>
            </a:extLst>
          </a:blip>
          <a:srcRect l="4723" t="-17878" r="23712" b="40521"/>
          <a:stretch/>
        </p:blipFill>
        <p:spPr>
          <a:xfrm>
            <a:off x="287307" y="2651797"/>
            <a:ext cx="4250484" cy="4220217"/>
          </a:xfrm>
          <a:prstGeom prst="rect">
            <a:avLst/>
          </a:prstGeom>
        </p:spPr>
      </p:pic>
    </p:spTree>
    <p:extLst>
      <p:ext uri="{BB962C8B-B14F-4D97-AF65-F5344CB8AC3E}">
        <p14:creationId xmlns:p14="http://schemas.microsoft.com/office/powerpoint/2010/main" val="23607835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BFA80132-881C-356D-36E8-1F59F8BAD904}"/>
              </a:ext>
            </a:extLst>
          </p:cNvPr>
          <p:cNvSpPr txBox="1">
            <a:spLocks/>
          </p:cNvSpPr>
          <p:nvPr/>
        </p:nvSpPr>
        <p:spPr>
          <a:xfrm>
            <a:off x="2149153" y="2890684"/>
            <a:ext cx="4605607" cy="3833009"/>
          </a:xfrm>
          <a:prstGeom prst="rect">
            <a:avLst/>
          </a:prstGeom>
        </p:spPr>
        <p:txBody>
          <a:bodyPr vert="horz" lIns="91440" tIns="45720" rIns="91440" bIns="45720" rtlCol="0">
            <a:noAutofit/>
          </a:bodyPr>
          <a:lstStyle>
            <a:lvl1pPr marL="0" indent="0" algn="l" defTabSz="914400" rtl="0" eaLnBrk="1" latinLnBrk="0" hangingPunct="1">
              <a:lnSpc>
                <a:spcPts val="4860"/>
              </a:lnSpc>
              <a:spcBef>
                <a:spcPts val="0"/>
              </a:spcBef>
              <a:buFont typeface="Arial" panose="020B0604020202020204" pitchFamily="34" charset="0"/>
              <a:buNone/>
              <a:defRPr sz="4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0675" indent="-320675" algn="l" rtl="0">
              <a:lnSpc>
                <a:spcPts val="2260"/>
              </a:lnSpc>
              <a:buClr>
                <a:srgbClr val="EDA13E"/>
              </a:buClr>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Qué stakeholders son importantes en mi empresa?</a:t>
            </a:r>
          </a:p>
          <a:p>
            <a:pPr marL="320675" indent="-320675" algn="l" rtl="0">
              <a:lnSpc>
                <a:spcPts val="2260"/>
              </a:lnSpc>
              <a:buClr>
                <a:srgbClr val="EDA13E"/>
              </a:buClr>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Cuáles son los primeros indicadores de advertencia de una crisis de partes interesadas?</a:t>
            </a:r>
          </a:p>
          <a:p>
            <a:pPr marL="320675" indent="-320675" algn="l" rtl="0">
              <a:lnSpc>
                <a:spcPts val="2260"/>
              </a:lnSpc>
              <a:buClr>
                <a:srgbClr val="EDA13E"/>
              </a:buClr>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Cómo determino el alcance de la crisis de las partes interesadas?</a:t>
            </a:r>
          </a:p>
          <a:p>
            <a:pPr marL="320675" indent="-320675" algn="l" rtl="0">
              <a:lnSpc>
                <a:spcPts val="2260"/>
              </a:lnSpc>
              <a:buClr>
                <a:srgbClr val="EDA13E"/>
              </a:buClr>
              <a:buFont typeface="Arial" panose="020B0604020202020204" pitchFamily="34" charset="0"/>
              <a:buChar char="•"/>
            </a:pPr>
            <a:r>
              <a:rPr lang="en-US" sz="2200" dirty="0">
                <a:latin typeface="Calibri" panose="020F0502020204030204" pitchFamily="34" charset="0"/>
                <a:ea typeface="Calibri" panose="020F0502020204030204" pitchFamily="34" charset="0"/>
                <a:cs typeface="Calibri" panose="020F0502020204030204" pitchFamily="34" charset="0"/>
              </a:rPr>
              <a:t>¿Cómo puedo como pyme superar una crisis de stakeholders?</a:t>
            </a:r>
          </a:p>
        </p:txBody>
      </p:sp>
      <p:sp>
        <p:nvSpPr>
          <p:cNvPr id="6" name="Text Placeholder 5">
            <a:extLst>
              <a:ext uri="{FF2B5EF4-FFF2-40B4-BE49-F238E27FC236}">
                <a16:creationId xmlns:a16="http://schemas.microsoft.com/office/drawing/2014/main" id="{61028DA7-B03A-BF78-FC09-7EF96BC242E3}"/>
              </a:ext>
            </a:extLst>
          </p:cNvPr>
          <p:cNvSpPr>
            <a:spLocks noGrp="1"/>
          </p:cNvSpPr>
          <p:nvPr>
            <p:ph type="body" sz="quarter" idx="17"/>
          </p:nvPr>
        </p:nvSpPr>
        <p:spPr/>
        <p:txBody>
          <a:bodyPr/>
          <a:lstStyle/>
          <a:p>
            <a:pPr algn="l" rtl="0"/>
            <a:r>
              <a:rPr lang="en-US" dirty="0"/>
              <a:t>02</a:t>
            </a:r>
          </a:p>
        </p:txBody>
      </p:sp>
      <p:sp>
        <p:nvSpPr>
          <p:cNvPr id="8" name="Text Placeholder 7">
            <a:extLst>
              <a:ext uri="{FF2B5EF4-FFF2-40B4-BE49-F238E27FC236}">
                <a16:creationId xmlns:a16="http://schemas.microsoft.com/office/drawing/2014/main" id="{BA7F7843-4251-1B20-625B-BF033A489F68}"/>
              </a:ext>
            </a:extLst>
          </p:cNvPr>
          <p:cNvSpPr>
            <a:spLocks noGrp="1"/>
          </p:cNvSpPr>
          <p:nvPr>
            <p:ph type="body" sz="quarter" idx="16"/>
          </p:nvPr>
        </p:nvSpPr>
        <p:spPr>
          <a:xfrm>
            <a:off x="2149154" y="1379071"/>
            <a:ext cx="4235894" cy="1511613"/>
          </a:xfrm>
        </p:spPr>
        <p:txBody>
          <a:bodyPr/>
          <a:lstStyle/>
          <a:p>
            <a:pPr algn="l" rtl="0"/>
            <a:r>
              <a:rPr lang="en-US" dirty="0">
                <a:latin typeface="Calibri" panose="020F0502020204030204" pitchFamily="34" charset="0"/>
                <a:ea typeface="Calibri" panose="020F0502020204030204" pitchFamily="34" charset="0"/>
                <a:cs typeface="Calibri" panose="020F0502020204030204" pitchFamily="34" charset="0"/>
              </a:rPr>
              <a:t>Gestión de los interesados:</a:t>
            </a:r>
            <a:endParaRPr lang="en-US" sz="44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508500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tabLst>
                <a:tab pos="1239838" algn="l"/>
              </a:tabLst>
            </a:pPr>
            <a:r>
              <a:rPr lang="en-US" sz="3400" dirty="0">
                <a:solidFill>
                  <a:schemeClr val="bg1"/>
                </a:solidFill>
              </a:rPr>
              <a:t>Identificación de partes interesadas clave y gestión de relaciones</a:t>
            </a:r>
          </a:p>
        </p:txBody>
      </p:sp>
      <p:cxnSp>
        <p:nvCxnSpPr>
          <p:cNvPr id="99" name="Straight Connector 21">
            <a:extLst>
              <a:ext uri="{FF2B5EF4-FFF2-40B4-BE49-F238E27FC236}">
                <a16:creationId xmlns:a16="http://schemas.microsoft.com/office/drawing/2014/main" id="{E097A8D9-BA93-945B-BF6C-7F3FE7032FE8}"/>
              </a:ext>
            </a:extLst>
          </p:cNvPr>
          <p:cNvCxnSpPr>
            <a:cxnSpLocks/>
          </p:cNvCxnSpPr>
          <p:nvPr/>
        </p:nvCxnSpPr>
        <p:spPr>
          <a:xfrm>
            <a:off x="6693995" y="3822443"/>
            <a:ext cx="1346117" cy="4370"/>
          </a:xfrm>
          <a:prstGeom prst="line">
            <a:avLst/>
          </a:prstGeom>
          <a:ln w="38100">
            <a:solidFill>
              <a:srgbClr val="245473"/>
            </a:solidFill>
            <a:headEnd type="oval"/>
          </a:ln>
        </p:spPr>
        <p:style>
          <a:lnRef idx="1">
            <a:schemeClr val="accent1"/>
          </a:lnRef>
          <a:fillRef idx="0">
            <a:schemeClr val="accent1"/>
          </a:fillRef>
          <a:effectRef idx="0">
            <a:schemeClr val="accent1"/>
          </a:effectRef>
          <a:fontRef idx="minor">
            <a:schemeClr val="tx1"/>
          </a:fontRef>
        </p:style>
      </p:cxnSp>
      <p:cxnSp>
        <p:nvCxnSpPr>
          <p:cNvPr id="100" name="Straight Connector 25">
            <a:extLst>
              <a:ext uri="{FF2B5EF4-FFF2-40B4-BE49-F238E27FC236}">
                <a16:creationId xmlns:a16="http://schemas.microsoft.com/office/drawing/2014/main" id="{E5393A7E-5C77-DF17-14BE-D20D4520A849}"/>
              </a:ext>
            </a:extLst>
          </p:cNvPr>
          <p:cNvCxnSpPr>
            <a:cxnSpLocks/>
          </p:cNvCxnSpPr>
          <p:nvPr/>
        </p:nvCxnSpPr>
        <p:spPr>
          <a:xfrm flipH="1">
            <a:off x="9040674" y="3646969"/>
            <a:ext cx="1343509" cy="5866"/>
          </a:xfrm>
          <a:prstGeom prst="line">
            <a:avLst/>
          </a:prstGeom>
          <a:ln w="38100">
            <a:solidFill>
              <a:srgbClr val="7F1C58"/>
            </a:solidFill>
            <a:headEnd type="oval"/>
          </a:ln>
        </p:spPr>
        <p:style>
          <a:lnRef idx="1">
            <a:schemeClr val="accent1"/>
          </a:lnRef>
          <a:fillRef idx="0">
            <a:schemeClr val="accent1"/>
          </a:fillRef>
          <a:effectRef idx="0">
            <a:schemeClr val="accent1"/>
          </a:effectRef>
          <a:fontRef idx="minor">
            <a:schemeClr val="tx1"/>
          </a:fontRef>
        </p:style>
      </p:cxnSp>
      <p:sp>
        <p:nvSpPr>
          <p:cNvPr id="101" name="Shape 23">
            <a:extLst>
              <a:ext uri="{FF2B5EF4-FFF2-40B4-BE49-F238E27FC236}">
                <a16:creationId xmlns:a16="http://schemas.microsoft.com/office/drawing/2014/main" id="{D9493DFD-09F6-9E4C-6CFE-700A3BF66824}"/>
              </a:ext>
            </a:extLst>
          </p:cNvPr>
          <p:cNvSpPr/>
          <p:nvPr/>
        </p:nvSpPr>
        <p:spPr>
          <a:xfrm>
            <a:off x="9005664" y="2409200"/>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rgbClr val="245473"/>
            </a:solidFill>
            <a:prstDash val="solid"/>
            <a:miter lim="400000"/>
            <a:tailEnd type="oval"/>
          </a:ln>
          <a:effectLst/>
        </p:spPr>
        <p:txBody>
          <a:bodyPr wrap="square" lIns="38100" tIns="38100" rIns="38100" bIns="38100" numCol="1" anchor="ctr">
            <a:noAutofit/>
          </a:bodyPr>
          <a:lstStyle/>
          <a:p>
            <a:pPr lvl="0" algn="l" rtl="0"/>
            <a:endParaRPr lang="en-GB" sz="1600" dirty="0">
              <a:latin typeface="+mj-lt"/>
            </a:endParaRPr>
          </a:p>
        </p:txBody>
      </p:sp>
      <p:sp>
        <p:nvSpPr>
          <p:cNvPr id="102" name="Shape 24">
            <a:extLst>
              <a:ext uri="{FF2B5EF4-FFF2-40B4-BE49-F238E27FC236}">
                <a16:creationId xmlns:a16="http://schemas.microsoft.com/office/drawing/2014/main" id="{FC0DC615-4508-19F3-4913-D654DB94F799}"/>
              </a:ext>
            </a:extLst>
          </p:cNvPr>
          <p:cNvSpPr/>
          <p:nvPr/>
        </p:nvSpPr>
        <p:spPr>
          <a:xfrm rot="10800000" flipH="1">
            <a:off x="9005664" y="4751534"/>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rgbClr val="B41F7A"/>
            </a:solidFill>
            <a:prstDash val="solid"/>
            <a:miter lim="400000"/>
            <a:tailEnd type="oval"/>
          </a:ln>
          <a:effectLst/>
        </p:spPr>
        <p:txBody>
          <a:bodyPr wrap="square" lIns="38100" tIns="38100" rIns="38100" bIns="38100" numCol="1" anchor="ctr">
            <a:noAutofit/>
          </a:bodyPr>
          <a:lstStyle/>
          <a:p>
            <a:pPr lvl="0" algn="l" rtl="0"/>
            <a:endParaRPr lang="en-GB" sz="1600" dirty="0">
              <a:latin typeface="+mj-lt"/>
            </a:endParaRPr>
          </a:p>
        </p:txBody>
      </p:sp>
      <p:sp>
        <p:nvSpPr>
          <p:cNvPr id="103" name="Shape 26">
            <a:extLst>
              <a:ext uri="{FF2B5EF4-FFF2-40B4-BE49-F238E27FC236}">
                <a16:creationId xmlns:a16="http://schemas.microsoft.com/office/drawing/2014/main" id="{260B500D-5474-C867-D255-21A39E6B8225}"/>
              </a:ext>
            </a:extLst>
          </p:cNvPr>
          <p:cNvSpPr/>
          <p:nvPr/>
        </p:nvSpPr>
        <p:spPr>
          <a:xfrm>
            <a:off x="6749147" y="2409200"/>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8686" y="0"/>
                </a:lnTo>
                <a:lnTo>
                  <a:pt x="0" y="0"/>
                </a:lnTo>
              </a:path>
            </a:pathLst>
          </a:custGeom>
          <a:noFill/>
          <a:ln w="38100" cap="flat">
            <a:solidFill>
              <a:srgbClr val="B41F7A"/>
            </a:solidFill>
            <a:prstDash val="solid"/>
            <a:miter lim="400000"/>
            <a:tailEnd type="oval"/>
          </a:ln>
          <a:effectLst/>
        </p:spPr>
        <p:txBody>
          <a:bodyPr wrap="square" lIns="38100" tIns="38100" rIns="38100" bIns="38100" numCol="1" anchor="ctr">
            <a:noAutofit/>
          </a:bodyPr>
          <a:lstStyle/>
          <a:p>
            <a:pPr lvl="0" algn="l" rtl="0"/>
            <a:endParaRPr lang="en-GB" sz="1600" dirty="0">
              <a:latin typeface="+mj-lt"/>
            </a:endParaRPr>
          </a:p>
        </p:txBody>
      </p:sp>
      <p:sp>
        <p:nvSpPr>
          <p:cNvPr id="104" name="Shape 27">
            <a:extLst>
              <a:ext uri="{FF2B5EF4-FFF2-40B4-BE49-F238E27FC236}">
                <a16:creationId xmlns:a16="http://schemas.microsoft.com/office/drawing/2014/main" id="{C6126BC1-B3EE-55BC-BCEC-F938BC431F56}"/>
              </a:ext>
            </a:extLst>
          </p:cNvPr>
          <p:cNvSpPr/>
          <p:nvPr/>
        </p:nvSpPr>
        <p:spPr>
          <a:xfrm>
            <a:off x="6749147" y="4751534"/>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EDA13E"/>
            </a:solidFill>
            <a:prstDash val="solid"/>
            <a:miter lim="400000"/>
            <a:tailEnd type="oval"/>
          </a:ln>
          <a:effectLst/>
        </p:spPr>
        <p:txBody>
          <a:bodyPr wrap="square" lIns="38100" tIns="38100" rIns="38100" bIns="38100" numCol="1" anchor="ctr">
            <a:noAutofit/>
          </a:bodyPr>
          <a:lstStyle/>
          <a:p>
            <a:pPr lvl="0" algn="l" rtl="0"/>
            <a:endParaRPr lang="en-GB" sz="1600" dirty="0">
              <a:latin typeface="+mj-lt"/>
            </a:endParaRPr>
          </a:p>
        </p:txBody>
      </p:sp>
      <p:sp>
        <p:nvSpPr>
          <p:cNvPr id="105" name="Shape 6">
            <a:extLst>
              <a:ext uri="{FF2B5EF4-FFF2-40B4-BE49-F238E27FC236}">
                <a16:creationId xmlns:a16="http://schemas.microsoft.com/office/drawing/2014/main" id="{A2338C70-815F-C544-BDD1-9997E25BA547}"/>
              </a:ext>
            </a:extLst>
          </p:cNvPr>
          <p:cNvSpPr/>
          <p:nvPr/>
        </p:nvSpPr>
        <p:spPr>
          <a:xfrm>
            <a:off x="7132126" y="2015657"/>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0802"/>
                </a:lnTo>
                <a:lnTo>
                  <a:pt x="21600" y="21600"/>
                </a:lnTo>
                <a:lnTo>
                  <a:pt x="21600" y="0"/>
                </a:lnTo>
                <a:close/>
              </a:path>
            </a:pathLst>
          </a:custGeom>
          <a:solidFill>
            <a:srgbClr val="B41F7A"/>
          </a:solidFill>
          <a:ln w="12700" cap="flat">
            <a:noFill/>
            <a:miter lim="400000"/>
          </a:ln>
          <a:effectLst/>
        </p:spPr>
        <p:txBody>
          <a:bodyPr wrap="square" lIns="0" tIns="0" rIns="0" bIns="0" numCol="1" anchor="t">
            <a:noAutofit/>
          </a:bodyPr>
          <a:lstStyle/>
          <a:p>
            <a:pPr lvl="0" algn="l" rtl="0"/>
            <a:endParaRPr lang="en-GB" sz="1600" dirty="0">
              <a:latin typeface="+mj-lt"/>
            </a:endParaRPr>
          </a:p>
        </p:txBody>
      </p:sp>
      <p:sp>
        <p:nvSpPr>
          <p:cNvPr id="106" name="Shape 7">
            <a:extLst>
              <a:ext uri="{FF2B5EF4-FFF2-40B4-BE49-F238E27FC236}">
                <a16:creationId xmlns:a16="http://schemas.microsoft.com/office/drawing/2014/main" id="{DC11393E-D3F3-233F-147D-B11D8CF5C85A}"/>
              </a:ext>
            </a:extLst>
          </p:cNvPr>
          <p:cNvSpPr/>
          <p:nvPr/>
        </p:nvSpPr>
        <p:spPr>
          <a:xfrm>
            <a:off x="7135626" y="2831197"/>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 y="21600"/>
                </a:lnTo>
                <a:lnTo>
                  <a:pt x="21600" y="10801"/>
                </a:lnTo>
                <a:lnTo>
                  <a:pt x="0" y="0"/>
                </a:lnTo>
                <a:close/>
              </a:path>
            </a:pathLst>
          </a:custGeom>
          <a:solidFill>
            <a:srgbClr val="245473"/>
          </a:solidFill>
          <a:ln w="12700" cap="flat">
            <a:noFill/>
            <a:miter lim="400000"/>
          </a:ln>
          <a:effectLst/>
        </p:spPr>
        <p:txBody>
          <a:bodyPr wrap="square" lIns="0" tIns="0" rIns="0" bIns="0" numCol="1" anchor="t">
            <a:noAutofit/>
          </a:bodyPr>
          <a:lstStyle/>
          <a:p>
            <a:pPr lvl="0" algn="l" rtl="0"/>
            <a:endParaRPr lang="en-GB" sz="1600" dirty="0">
              <a:latin typeface="+mj-lt"/>
            </a:endParaRPr>
          </a:p>
        </p:txBody>
      </p:sp>
      <p:sp>
        <p:nvSpPr>
          <p:cNvPr id="107" name="Shape 8">
            <a:extLst>
              <a:ext uri="{FF2B5EF4-FFF2-40B4-BE49-F238E27FC236}">
                <a16:creationId xmlns:a16="http://schemas.microsoft.com/office/drawing/2014/main" id="{0262A2E2-E32D-48B1-2230-4093EBF8C5F1}"/>
              </a:ext>
            </a:extLst>
          </p:cNvPr>
          <p:cNvSpPr/>
          <p:nvPr/>
        </p:nvSpPr>
        <p:spPr>
          <a:xfrm>
            <a:off x="7132126" y="3650044"/>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0798"/>
                </a:lnTo>
                <a:lnTo>
                  <a:pt x="21600" y="0"/>
                </a:lnTo>
                <a:lnTo>
                  <a:pt x="21600" y="21600"/>
                </a:lnTo>
                <a:close/>
              </a:path>
            </a:pathLst>
          </a:custGeom>
          <a:solidFill>
            <a:srgbClr val="EDA13E"/>
          </a:solidFill>
          <a:ln w="12700" cap="flat">
            <a:noFill/>
            <a:miter lim="400000"/>
          </a:ln>
          <a:effectLst/>
        </p:spPr>
        <p:txBody>
          <a:bodyPr wrap="square" lIns="0" tIns="0" rIns="0" bIns="0" numCol="1" anchor="t">
            <a:noAutofit/>
          </a:bodyPr>
          <a:lstStyle/>
          <a:p>
            <a:pPr lvl="0" algn="l" rtl="0"/>
            <a:endParaRPr lang="en-GB" sz="1600" dirty="0">
              <a:latin typeface="+mj-lt"/>
            </a:endParaRPr>
          </a:p>
        </p:txBody>
      </p:sp>
      <p:sp>
        <p:nvSpPr>
          <p:cNvPr id="108" name="Shape 9">
            <a:extLst>
              <a:ext uri="{FF2B5EF4-FFF2-40B4-BE49-F238E27FC236}">
                <a16:creationId xmlns:a16="http://schemas.microsoft.com/office/drawing/2014/main" id="{20B2D86F-8CC9-1943-0964-B23BDAB8C58E}"/>
              </a:ext>
            </a:extLst>
          </p:cNvPr>
          <p:cNvSpPr/>
          <p:nvPr/>
        </p:nvSpPr>
        <p:spPr>
          <a:xfrm>
            <a:off x="8558869" y="2015657"/>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10802"/>
                </a:lnTo>
                <a:lnTo>
                  <a:pt x="0" y="21600"/>
                </a:lnTo>
                <a:lnTo>
                  <a:pt x="0" y="0"/>
                </a:lnTo>
                <a:close/>
              </a:path>
            </a:pathLst>
          </a:custGeom>
          <a:solidFill>
            <a:srgbClr val="245473"/>
          </a:solidFill>
          <a:ln w="12700" cap="flat">
            <a:noFill/>
            <a:miter lim="400000"/>
          </a:ln>
          <a:effectLst/>
        </p:spPr>
        <p:txBody>
          <a:bodyPr wrap="square" lIns="0" tIns="0" rIns="0" bIns="0" numCol="1" anchor="t">
            <a:noAutofit/>
          </a:bodyPr>
          <a:lstStyle/>
          <a:p>
            <a:pPr lvl="0" algn="l" rtl="0"/>
            <a:endParaRPr lang="en-GB" sz="1600" dirty="0">
              <a:latin typeface="+mj-lt"/>
            </a:endParaRPr>
          </a:p>
        </p:txBody>
      </p:sp>
      <p:sp>
        <p:nvSpPr>
          <p:cNvPr id="109" name="Shape 10">
            <a:extLst>
              <a:ext uri="{FF2B5EF4-FFF2-40B4-BE49-F238E27FC236}">
                <a16:creationId xmlns:a16="http://schemas.microsoft.com/office/drawing/2014/main" id="{38CED5F9-4260-12D4-3C1A-546EBEC51810}"/>
              </a:ext>
            </a:extLst>
          </p:cNvPr>
          <p:cNvSpPr/>
          <p:nvPr/>
        </p:nvSpPr>
        <p:spPr>
          <a:xfrm>
            <a:off x="8555122" y="2831197"/>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596" y="21600"/>
                </a:lnTo>
                <a:lnTo>
                  <a:pt x="0" y="10801"/>
                </a:lnTo>
                <a:lnTo>
                  <a:pt x="21600" y="0"/>
                </a:lnTo>
                <a:close/>
              </a:path>
            </a:pathLst>
          </a:custGeom>
          <a:solidFill>
            <a:srgbClr val="7F1C58"/>
          </a:solidFill>
          <a:ln w="12700" cap="flat">
            <a:noFill/>
            <a:miter lim="400000"/>
          </a:ln>
          <a:effectLst/>
        </p:spPr>
        <p:txBody>
          <a:bodyPr wrap="square" lIns="0" tIns="0" rIns="0" bIns="0" numCol="1" anchor="t">
            <a:noAutofit/>
          </a:bodyPr>
          <a:lstStyle/>
          <a:p>
            <a:pPr lvl="0" algn="l" rtl="0"/>
            <a:endParaRPr lang="en-GB" sz="1600" dirty="0">
              <a:latin typeface="+mj-lt"/>
            </a:endParaRPr>
          </a:p>
        </p:txBody>
      </p:sp>
      <p:sp>
        <p:nvSpPr>
          <p:cNvPr id="110" name="Shape 11">
            <a:extLst>
              <a:ext uri="{FF2B5EF4-FFF2-40B4-BE49-F238E27FC236}">
                <a16:creationId xmlns:a16="http://schemas.microsoft.com/office/drawing/2014/main" id="{B551EE73-5EC5-4B0E-0337-B11D13662282}"/>
              </a:ext>
            </a:extLst>
          </p:cNvPr>
          <p:cNvSpPr/>
          <p:nvPr/>
        </p:nvSpPr>
        <p:spPr>
          <a:xfrm>
            <a:off x="8558869" y="3650044"/>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0798"/>
                </a:lnTo>
                <a:lnTo>
                  <a:pt x="0" y="0"/>
                </a:lnTo>
                <a:lnTo>
                  <a:pt x="0" y="21600"/>
                </a:lnTo>
                <a:close/>
              </a:path>
            </a:pathLst>
          </a:custGeom>
          <a:solidFill>
            <a:srgbClr val="B41F7A"/>
          </a:solidFill>
          <a:ln w="12700" cap="flat">
            <a:noFill/>
            <a:miter lim="400000"/>
          </a:ln>
          <a:effectLst/>
        </p:spPr>
        <p:txBody>
          <a:bodyPr wrap="square" lIns="0" tIns="0" rIns="0" bIns="0" numCol="1" anchor="t">
            <a:noAutofit/>
          </a:bodyPr>
          <a:lstStyle/>
          <a:p>
            <a:pPr lvl="0" algn="l" rtl="0"/>
            <a:endParaRPr lang="en-GB" sz="1600" dirty="0">
              <a:latin typeface="+mj-lt"/>
            </a:endParaRPr>
          </a:p>
        </p:txBody>
      </p:sp>
      <p:sp>
        <p:nvSpPr>
          <p:cNvPr id="111" name="Shape 13">
            <a:extLst>
              <a:ext uri="{FF2B5EF4-FFF2-40B4-BE49-F238E27FC236}">
                <a16:creationId xmlns:a16="http://schemas.microsoft.com/office/drawing/2014/main" id="{64587873-53E7-D65B-FB60-67B4D1312078}"/>
              </a:ext>
            </a:extLst>
          </p:cNvPr>
          <p:cNvSpPr/>
          <p:nvPr/>
        </p:nvSpPr>
        <p:spPr>
          <a:xfrm>
            <a:off x="7843500" y="2837366"/>
            <a:ext cx="1423242" cy="16434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5400"/>
                </a:lnTo>
                <a:lnTo>
                  <a:pt x="21600" y="16200"/>
                </a:lnTo>
                <a:lnTo>
                  <a:pt x="10800" y="21600"/>
                </a:lnTo>
                <a:lnTo>
                  <a:pt x="0" y="16200"/>
                </a:lnTo>
                <a:lnTo>
                  <a:pt x="0" y="5400"/>
                </a:lnTo>
                <a:close/>
              </a:path>
            </a:pathLst>
          </a:custGeom>
          <a:solidFill>
            <a:srgbClr val="FFFFFF">
              <a:alpha val="83000"/>
            </a:srgbClr>
          </a:solidFill>
          <a:ln w="12700" cap="flat">
            <a:noFill/>
            <a:miter lim="400000"/>
          </a:ln>
          <a:effectLst/>
        </p:spPr>
        <p:txBody>
          <a:bodyPr wrap="square" lIns="0" tIns="0" rIns="0" bIns="0" numCol="1" anchor="t">
            <a:noAutofit/>
          </a:bodyPr>
          <a:lstStyle/>
          <a:p>
            <a:pPr lvl="0" algn="l" rtl="0"/>
            <a:endParaRPr lang="en-GB" sz="1600" dirty="0">
              <a:latin typeface="+mj-lt"/>
            </a:endParaRPr>
          </a:p>
        </p:txBody>
      </p:sp>
      <p:sp>
        <p:nvSpPr>
          <p:cNvPr id="112" name="Subtitle 2">
            <a:extLst>
              <a:ext uri="{FF2B5EF4-FFF2-40B4-BE49-F238E27FC236}">
                <a16:creationId xmlns:a16="http://schemas.microsoft.com/office/drawing/2014/main" id="{CEC57D95-A2AD-2D92-4208-E7E7C1CC89D8}"/>
              </a:ext>
            </a:extLst>
          </p:cNvPr>
          <p:cNvSpPr txBox="1">
            <a:spLocks/>
          </p:cNvSpPr>
          <p:nvPr/>
        </p:nvSpPr>
        <p:spPr>
          <a:xfrm>
            <a:off x="10508529" y="2582469"/>
            <a:ext cx="1683471" cy="6530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rtl="0">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Organizaciones de medios</a:t>
            </a:r>
          </a:p>
          <a:p>
            <a:pPr marL="171450" indent="-171450" algn="l" rtl="0">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Redes sociales</a:t>
            </a:r>
          </a:p>
        </p:txBody>
      </p:sp>
      <p:sp>
        <p:nvSpPr>
          <p:cNvPr id="113" name="TextBox 29">
            <a:extLst>
              <a:ext uri="{FF2B5EF4-FFF2-40B4-BE49-F238E27FC236}">
                <a16:creationId xmlns:a16="http://schemas.microsoft.com/office/drawing/2014/main" id="{9E76CAD8-24A2-4663-3A4B-E084154786EA}"/>
              </a:ext>
            </a:extLst>
          </p:cNvPr>
          <p:cNvSpPr txBox="1"/>
          <p:nvPr/>
        </p:nvSpPr>
        <p:spPr>
          <a:xfrm>
            <a:off x="10513041" y="2246316"/>
            <a:ext cx="728084" cy="338554"/>
          </a:xfrm>
          <a:prstGeom prst="rect">
            <a:avLst/>
          </a:prstGeom>
          <a:noFill/>
        </p:spPr>
        <p:txBody>
          <a:bodyPr wrap="none" rtlCol="0" anchor="t" anchorCtr="0">
            <a:spAutoFit/>
          </a:bodyPr>
          <a:lstStyle/>
          <a:p>
            <a:pPr algn="l" rtl="0"/>
            <a:r>
              <a:rPr lang="en-GB" sz="1600" b="1" dirty="0">
                <a:solidFill>
                  <a:srgbClr val="245473"/>
                </a:solidFill>
                <a:ea typeface="League Spartan" charset="0"/>
                <a:cs typeface="Poppins" pitchFamily="2" charset="77"/>
              </a:rPr>
              <a:t>Medios de comunicación</a:t>
            </a:r>
          </a:p>
        </p:txBody>
      </p:sp>
      <p:sp>
        <p:nvSpPr>
          <p:cNvPr id="114" name="Subtitle 2">
            <a:extLst>
              <a:ext uri="{FF2B5EF4-FFF2-40B4-BE49-F238E27FC236}">
                <a16:creationId xmlns:a16="http://schemas.microsoft.com/office/drawing/2014/main" id="{59C8F845-5784-C2F1-C8B1-7FB561CFED15}"/>
              </a:ext>
            </a:extLst>
          </p:cNvPr>
          <p:cNvSpPr txBox="1">
            <a:spLocks/>
          </p:cNvSpPr>
          <p:nvPr/>
        </p:nvSpPr>
        <p:spPr>
          <a:xfrm>
            <a:off x="10492365" y="3769700"/>
            <a:ext cx="1683471" cy="85825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rtl="0">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universidades</a:t>
            </a:r>
          </a:p>
          <a:p>
            <a:pPr marL="171450" indent="-171450" algn="l" rtl="0">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Institutos de investigación</a:t>
            </a:r>
          </a:p>
          <a:p>
            <a:pPr marL="171450" indent="-171450" algn="l" rtl="0">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Opiniones de expertos</a:t>
            </a:r>
          </a:p>
        </p:txBody>
      </p:sp>
      <p:sp>
        <p:nvSpPr>
          <p:cNvPr id="115" name="TextBox 31">
            <a:extLst>
              <a:ext uri="{FF2B5EF4-FFF2-40B4-BE49-F238E27FC236}">
                <a16:creationId xmlns:a16="http://schemas.microsoft.com/office/drawing/2014/main" id="{605B58D5-7415-7AF9-23ED-070DFD4E6161}"/>
              </a:ext>
            </a:extLst>
          </p:cNvPr>
          <p:cNvSpPr txBox="1"/>
          <p:nvPr/>
        </p:nvSpPr>
        <p:spPr>
          <a:xfrm>
            <a:off x="10513041" y="3455088"/>
            <a:ext cx="821059" cy="338554"/>
          </a:xfrm>
          <a:prstGeom prst="rect">
            <a:avLst/>
          </a:prstGeom>
          <a:noFill/>
        </p:spPr>
        <p:txBody>
          <a:bodyPr wrap="none" rtlCol="0" anchor="t" anchorCtr="0">
            <a:spAutoFit/>
          </a:bodyPr>
          <a:lstStyle/>
          <a:p>
            <a:pPr algn="l" rtl="0"/>
            <a:r>
              <a:rPr lang="en-GB" sz="1600" b="1" dirty="0">
                <a:solidFill>
                  <a:srgbClr val="7F1C58"/>
                </a:solidFill>
                <a:ea typeface="League Spartan" charset="0"/>
                <a:cs typeface="Poppins" pitchFamily="2" charset="77"/>
              </a:rPr>
              <a:t>Ciencias</a:t>
            </a:r>
          </a:p>
        </p:txBody>
      </p:sp>
      <p:sp>
        <p:nvSpPr>
          <p:cNvPr id="116" name="Subtitle 2">
            <a:extLst>
              <a:ext uri="{FF2B5EF4-FFF2-40B4-BE49-F238E27FC236}">
                <a16:creationId xmlns:a16="http://schemas.microsoft.com/office/drawing/2014/main" id="{85390968-577F-90B9-059D-6ECE91507E0F}"/>
              </a:ext>
            </a:extLst>
          </p:cNvPr>
          <p:cNvSpPr txBox="1">
            <a:spLocks/>
          </p:cNvSpPr>
          <p:nvPr/>
        </p:nvSpPr>
        <p:spPr>
          <a:xfrm>
            <a:off x="10492365" y="5079675"/>
            <a:ext cx="1683471" cy="85825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rtl="0">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Gobierno y Municipios</a:t>
            </a:r>
          </a:p>
          <a:p>
            <a:pPr marL="171450" indent="-171450" algn="l" rtl="0">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Otras autoridades</a:t>
            </a:r>
          </a:p>
        </p:txBody>
      </p:sp>
      <p:sp>
        <p:nvSpPr>
          <p:cNvPr id="117" name="TextBox 33">
            <a:extLst>
              <a:ext uri="{FF2B5EF4-FFF2-40B4-BE49-F238E27FC236}">
                <a16:creationId xmlns:a16="http://schemas.microsoft.com/office/drawing/2014/main" id="{5117FA5C-C3A2-05EF-BE6A-803B1E866F43}"/>
              </a:ext>
            </a:extLst>
          </p:cNvPr>
          <p:cNvSpPr txBox="1"/>
          <p:nvPr/>
        </p:nvSpPr>
        <p:spPr>
          <a:xfrm>
            <a:off x="10496877" y="4791016"/>
            <a:ext cx="788870" cy="338554"/>
          </a:xfrm>
          <a:prstGeom prst="rect">
            <a:avLst/>
          </a:prstGeom>
          <a:noFill/>
        </p:spPr>
        <p:txBody>
          <a:bodyPr wrap="none" rtlCol="0" anchor="t" anchorCtr="0">
            <a:spAutoFit/>
          </a:bodyPr>
          <a:lstStyle/>
          <a:p>
            <a:pPr algn="l" rtl="0"/>
            <a:r>
              <a:rPr lang="en-GB" sz="1600" b="1" dirty="0">
                <a:solidFill>
                  <a:srgbClr val="B41F7A"/>
                </a:solidFill>
                <a:ea typeface="League Spartan" charset="0"/>
                <a:cs typeface="Poppins" pitchFamily="2" charset="77"/>
              </a:rPr>
              <a:t>Política</a:t>
            </a:r>
          </a:p>
        </p:txBody>
      </p:sp>
      <p:sp>
        <p:nvSpPr>
          <p:cNvPr id="118" name="Subtitle 2">
            <a:extLst>
              <a:ext uri="{FF2B5EF4-FFF2-40B4-BE49-F238E27FC236}">
                <a16:creationId xmlns:a16="http://schemas.microsoft.com/office/drawing/2014/main" id="{5E2F4A70-A096-FA04-9588-370E7682D230}"/>
              </a:ext>
            </a:extLst>
          </p:cNvPr>
          <p:cNvSpPr txBox="1">
            <a:spLocks/>
          </p:cNvSpPr>
          <p:nvPr/>
        </p:nvSpPr>
        <p:spPr>
          <a:xfrm>
            <a:off x="5545005" y="2521012"/>
            <a:ext cx="1733404" cy="106344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rtl="0">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Residentes</a:t>
            </a:r>
          </a:p>
          <a:p>
            <a:pPr marL="171450" indent="-171450" algn="l" rtl="0">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Instituciones culturales</a:t>
            </a:r>
          </a:p>
          <a:p>
            <a:pPr marL="171450" indent="-171450" algn="l" rtl="0">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Asociaciones</a:t>
            </a:r>
          </a:p>
          <a:p>
            <a:pPr marL="171450" indent="-171450" algn="l" rtl="0">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grupos de presión</a:t>
            </a:r>
          </a:p>
        </p:txBody>
      </p:sp>
      <p:sp>
        <p:nvSpPr>
          <p:cNvPr id="119" name="TextBox 118">
            <a:extLst>
              <a:ext uri="{FF2B5EF4-FFF2-40B4-BE49-F238E27FC236}">
                <a16:creationId xmlns:a16="http://schemas.microsoft.com/office/drawing/2014/main" id="{FCD597D7-0E0C-9E5C-74B8-E3A3AC1C9E6D}"/>
              </a:ext>
            </a:extLst>
          </p:cNvPr>
          <p:cNvSpPr txBox="1"/>
          <p:nvPr/>
        </p:nvSpPr>
        <p:spPr>
          <a:xfrm>
            <a:off x="5489739" y="2181052"/>
            <a:ext cx="798808" cy="338554"/>
          </a:xfrm>
          <a:prstGeom prst="rect">
            <a:avLst/>
          </a:prstGeom>
          <a:noFill/>
        </p:spPr>
        <p:txBody>
          <a:bodyPr wrap="none" rtlCol="0" anchor="t" anchorCtr="0">
            <a:spAutoFit/>
          </a:bodyPr>
          <a:lstStyle/>
          <a:p>
            <a:pPr algn="l" rtl="0"/>
            <a:r>
              <a:rPr lang="en-GB" sz="1600" b="1" dirty="0">
                <a:solidFill>
                  <a:srgbClr val="B41F7A"/>
                </a:solidFill>
                <a:ea typeface="League Spartan" charset="0"/>
                <a:cs typeface="Poppins" pitchFamily="2" charset="77"/>
              </a:rPr>
              <a:t>Sociedad</a:t>
            </a:r>
          </a:p>
        </p:txBody>
      </p:sp>
      <p:sp>
        <p:nvSpPr>
          <p:cNvPr id="120" name="Subtitle 2">
            <a:extLst>
              <a:ext uri="{FF2B5EF4-FFF2-40B4-BE49-F238E27FC236}">
                <a16:creationId xmlns:a16="http://schemas.microsoft.com/office/drawing/2014/main" id="{953E8046-F532-48CF-8C27-7785D6471DAC}"/>
              </a:ext>
            </a:extLst>
          </p:cNvPr>
          <p:cNvSpPr txBox="1">
            <a:spLocks/>
          </p:cNvSpPr>
          <p:nvPr/>
        </p:nvSpPr>
        <p:spPr>
          <a:xfrm>
            <a:off x="5494197" y="3938171"/>
            <a:ext cx="1683471" cy="6530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rtl="0">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Competidores</a:t>
            </a:r>
          </a:p>
          <a:p>
            <a:pPr marL="171450" indent="-171450" algn="l" rtl="0">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Proveedores</a:t>
            </a:r>
          </a:p>
          <a:p>
            <a:pPr marL="171450" indent="-171450" algn="l" rtl="0">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Proveedores de servicio</a:t>
            </a:r>
          </a:p>
        </p:txBody>
      </p:sp>
      <p:sp>
        <p:nvSpPr>
          <p:cNvPr id="121" name="TextBox 120">
            <a:extLst>
              <a:ext uri="{FF2B5EF4-FFF2-40B4-BE49-F238E27FC236}">
                <a16:creationId xmlns:a16="http://schemas.microsoft.com/office/drawing/2014/main" id="{68499D3F-92D1-ACD1-351E-94FF23C805D1}"/>
              </a:ext>
            </a:extLst>
          </p:cNvPr>
          <p:cNvSpPr txBox="1"/>
          <p:nvPr/>
        </p:nvSpPr>
        <p:spPr>
          <a:xfrm>
            <a:off x="5483105" y="3651860"/>
            <a:ext cx="893386" cy="338554"/>
          </a:xfrm>
          <a:prstGeom prst="rect">
            <a:avLst/>
          </a:prstGeom>
          <a:noFill/>
        </p:spPr>
        <p:txBody>
          <a:bodyPr wrap="none" rtlCol="0" anchor="t" anchorCtr="0">
            <a:spAutoFit/>
          </a:bodyPr>
          <a:lstStyle/>
          <a:p>
            <a:pPr algn="l" rtl="0"/>
            <a:r>
              <a:rPr lang="en-GB" sz="1600" b="1" dirty="0">
                <a:solidFill>
                  <a:srgbClr val="245473"/>
                </a:solidFill>
                <a:ea typeface="League Spartan" charset="0"/>
                <a:cs typeface="Poppins" pitchFamily="2" charset="77"/>
              </a:rPr>
              <a:t>Industria</a:t>
            </a:r>
          </a:p>
        </p:txBody>
      </p:sp>
      <p:sp>
        <p:nvSpPr>
          <p:cNvPr id="122" name="Subtitle 2">
            <a:extLst>
              <a:ext uri="{FF2B5EF4-FFF2-40B4-BE49-F238E27FC236}">
                <a16:creationId xmlns:a16="http://schemas.microsoft.com/office/drawing/2014/main" id="{F7AF8FD1-A002-1C03-EF97-D02A0247BAA7}"/>
              </a:ext>
            </a:extLst>
          </p:cNvPr>
          <p:cNvSpPr txBox="1">
            <a:spLocks/>
          </p:cNvSpPr>
          <p:nvPr/>
        </p:nvSpPr>
        <p:spPr>
          <a:xfrm>
            <a:off x="5526351" y="5068157"/>
            <a:ext cx="1683471" cy="6530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rtl="0">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Compañía</a:t>
            </a:r>
          </a:p>
          <a:p>
            <a:pPr marL="171450" indent="-171450" algn="l" rtl="0">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Bancos</a:t>
            </a:r>
          </a:p>
          <a:p>
            <a:pPr marL="171450" indent="-171450" algn="l" rtl="0">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Otros financistas</a:t>
            </a:r>
          </a:p>
        </p:txBody>
      </p:sp>
      <p:sp>
        <p:nvSpPr>
          <p:cNvPr id="123" name="TextBox 122">
            <a:extLst>
              <a:ext uri="{FF2B5EF4-FFF2-40B4-BE49-F238E27FC236}">
                <a16:creationId xmlns:a16="http://schemas.microsoft.com/office/drawing/2014/main" id="{97B799D6-AA59-5876-5374-F3D64129E4B7}"/>
              </a:ext>
            </a:extLst>
          </p:cNvPr>
          <p:cNvSpPr txBox="1"/>
          <p:nvPr/>
        </p:nvSpPr>
        <p:spPr>
          <a:xfrm>
            <a:off x="5447500" y="4767685"/>
            <a:ext cx="1042978" cy="338554"/>
          </a:xfrm>
          <a:prstGeom prst="rect">
            <a:avLst/>
          </a:prstGeom>
          <a:noFill/>
        </p:spPr>
        <p:txBody>
          <a:bodyPr wrap="none" rtlCol="0" anchor="t" anchorCtr="0">
            <a:spAutoFit/>
          </a:bodyPr>
          <a:lstStyle/>
          <a:p>
            <a:pPr algn="l" rtl="0"/>
            <a:r>
              <a:rPr lang="en-GB" sz="1600" b="1" dirty="0">
                <a:solidFill>
                  <a:srgbClr val="EDA13E"/>
                </a:solidFill>
                <a:ea typeface="League Spartan" charset="0"/>
                <a:cs typeface="Poppins" pitchFamily="2" charset="77"/>
              </a:rPr>
              <a:t>financieros</a:t>
            </a:r>
          </a:p>
        </p:txBody>
      </p:sp>
      <p:sp>
        <p:nvSpPr>
          <p:cNvPr id="124" name="Fünfeck 2">
            <a:extLst>
              <a:ext uri="{FF2B5EF4-FFF2-40B4-BE49-F238E27FC236}">
                <a16:creationId xmlns:a16="http://schemas.microsoft.com/office/drawing/2014/main" id="{10266DC1-FECD-0DB1-E7CA-04CC894ED1A7}"/>
              </a:ext>
            </a:extLst>
          </p:cNvPr>
          <p:cNvSpPr/>
          <p:nvPr/>
        </p:nvSpPr>
        <p:spPr>
          <a:xfrm>
            <a:off x="8027303" y="3211700"/>
            <a:ext cx="1042444" cy="882269"/>
          </a:xfrm>
          <a:prstGeom prst="pentagon">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600" dirty="0"/>
          </a:p>
        </p:txBody>
      </p:sp>
      <p:sp>
        <p:nvSpPr>
          <p:cNvPr id="125" name="TextBox 29">
            <a:extLst>
              <a:ext uri="{FF2B5EF4-FFF2-40B4-BE49-F238E27FC236}">
                <a16:creationId xmlns:a16="http://schemas.microsoft.com/office/drawing/2014/main" id="{283FCEDC-A23D-9622-5C19-22A964129890}"/>
              </a:ext>
            </a:extLst>
          </p:cNvPr>
          <p:cNvSpPr txBox="1"/>
          <p:nvPr/>
        </p:nvSpPr>
        <p:spPr>
          <a:xfrm>
            <a:off x="8030651" y="3491617"/>
            <a:ext cx="1077218" cy="338554"/>
          </a:xfrm>
          <a:prstGeom prst="rect">
            <a:avLst/>
          </a:prstGeom>
          <a:noFill/>
        </p:spPr>
        <p:txBody>
          <a:bodyPr wrap="none" rtlCol="0" anchor="t" anchorCtr="0">
            <a:spAutoFit/>
          </a:bodyPr>
          <a:lstStyle/>
          <a:p>
            <a:pPr algn="l" rtl="0"/>
            <a:r>
              <a:rPr lang="en-GB" sz="1600" b="1" dirty="0">
                <a:solidFill>
                  <a:schemeClr val="bg1"/>
                </a:solidFill>
                <a:latin typeface="+mj-lt"/>
                <a:ea typeface="League Spartan" charset="0"/>
                <a:cs typeface="Poppins" pitchFamily="2" charset="77"/>
              </a:rPr>
              <a:t>Empleados</a:t>
            </a:r>
          </a:p>
        </p:txBody>
      </p:sp>
      <p:sp>
        <p:nvSpPr>
          <p:cNvPr id="126" name="Shape 27">
            <a:extLst>
              <a:ext uri="{FF2B5EF4-FFF2-40B4-BE49-F238E27FC236}">
                <a16:creationId xmlns:a16="http://schemas.microsoft.com/office/drawing/2014/main" id="{6DD2D7E0-E4C1-F352-B42A-C1005B25F0D9}"/>
              </a:ext>
            </a:extLst>
          </p:cNvPr>
          <p:cNvSpPr/>
          <p:nvPr/>
        </p:nvSpPr>
        <p:spPr>
          <a:xfrm>
            <a:off x="8407468" y="3884489"/>
            <a:ext cx="165570" cy="18081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F16924"/>
            </a:solidFill>
            <a:prstDash val="solid"/>
            <a:miter lim="400000"/>
            <a:tailEnd type="oval"/>
          </a:ln>
          <a:effectLst/>
        </p:spPr>
        <p:txBody>
          <a:bodyPr wrap="square" lIns="38100" tIns="38100" rIns="38100" bIns="38100" numCol="1" anchor="ctr">
            <a:noAutofit/>
          </a:bodyPr>
          <a:lstStyle/>
          <a:p>
            <a:pPr lvl="0" algn="l" rtl="0"/>
            <a:endParaRPr lang="en-GB" sz="1600" dirty="0">
              <a:latin typeface="+mj-lt"/>
            </a:endParaRPr>
          </a:p>
        </p:txBody>
      </p:sp>
      <p:sp>
        <p:nvSpPr>
          <p:cNvPr id="127" name="Subtitle 2">
            <a:extLst>
              <a:ext uri="{FF2B5EF4-FFF2-40B4-BE49-F238E27FC236}">
                <a16:creationId xmlns:a16="http://schemas.microsoft.com/office/drawing/2014/main" id="{5B47FB10-6FD5-2EE8-7213-2789C9118EBF}"/>
              </a:ext>
            </a:extLst>
          </p:cNvPr>
          <p:cNvSpPr txBox="1">
            <a:spLocks/>
          </p:cNvSpPr>
          <p:nvPr/>
        </p:nvSpPr>
        <p:spPr>
          <a:xfrm>
            <a:off x="7144651" y="5794116"/>
            <a:ext cx="1683471" cy="61780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rtl="0">
              <a:lnSpc>
                <a:spcPts val="15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Directo indirecto</a:t>
            </a:r>
          </a:p>
          <a:p>
            <a:pPr marL="171450" indent="-171450" algn="l" rtl="0">
              <a:lnSpc>
                <a:spcPts val="15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Comité de empresa</a:t>
            </a:r>
          </a:p>
          <a:p>
            <a:pPr marL="171450" indent="-171450" algn="l" rtl="0">
              <a:lnSpc>
                <a:spcPts val="15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Unidades de mano de obra</a:t>
            </a:r>
          </a:p>
        </p:txBody>
      </p:sp>
      <p:sp>
        <p:nvSpPr>
          <p:cNvPr id="128" name="TextBox 40">
            <a:extLst>
              <a:ext uri="{FF2B5EF4-FFF2-40B4-BE49-F238E27FC236}">
                <a16:creationId xmlns:a16="http://schemas.microsoft.com/office/drawing/2014/main" id="{CB170EFA-DEA5-57C7-35F9-5FB782EC5EC8}"/>
              </a:ext>
            </a:extLst>
          </p:cNvPr>
          <p:cNvSpPr txBox="1"/>
          <p:nvPr/>
        </p:nvSpPr>
        <p:spPr>
          <a:xfrm>
            <a:off x="7191324" y="5503819"/>
            <a:ext cx="1102867" cy="338554"/>
          </a:xfrm>
          <a:prstGeom prst="rect">
            <a:avLst/>
          </a:prstGeom>
          <a:noFill/>
        </p:spPr>
        <p:txBody>
          <a:bodyPr wrap="none" rtlCol="0" anchor="t" anchorCtr="0">
            <a:spAutoFit/>
          </a:bodyPr>
          <a:lstStyle/>
          <a:p>
            <a:pPr algn="l" rtl="0"/>
            <a:r>
              <a:rPr lang="en-GB" sz="1600" b="1" dirty="0">
                <a:solidFill>
                  <a:srgbClr val="F16924"/>
                </a:solidFill>
                <a:ea typeface="League Spartan" charset="0"/>
                <a:cs typeface="Poppins" pitchFamily="2" charset="77"/>
              </a:rPr>
              <a:t>Empleados</a:t>
            </a:r>
          </a:p>
        </p:txBody>
      </p:sp>
      <p:pic>
        <p:nvPicPr>
          <p:cNvPr id="129" name="Slika 6">
            <a:extLst>
              <a:ext uri="{FF2B5EF4-FFF2-40B4-BE49-F238E27FC236}">
                <a16:creationId xmlns:a16="http://schemas.microsoft.com/office/drawing/2014/main" id="{A0C74014-945E-B137-B152-F67C6951E734}"/>
              </a:ext>
            </a:extLst>
          </p:cNvPr>
          <p:cNvPicPr>
            <a:picLocks noChangeAspect="1"/>
          </p:cNvPicPr>
          <p:nvPr/>
        </p:nvPicPr>
        <p:blipFill>
          <a:blip r:embed="rId2"/>
          <a:stretch>
            <a:fillRect/>
          </a:stretch>
        </p:blipFill>
        <p:spPr>
          <a:xfrm>
            <a:off x="9047254" y="6046794"/>
            <a:ext cx="3040012" cy="586791"/>
          </a:xfrm>
          <a:prstGeom prst="rect">
            <a:avLst/>
          </a:prstGeom>
        </p:spPr>
      </p:pic>
      <p:sp>
        <p:nvSpPr>
          <p:cNvPr id="3" name="Text Placeholder 2">
            <a:extLst>
              <a:ext uri="{FF2B5EF4-FFF2-40B4-BE49-F238E27FC236}">
                <a16:creationId xmlns:a16="http://schemas.microsoft.com/office/drawing/2014/main" id="{431F0E8B-7CD5-BD65-7FBD-1E634D2C0319}"/>
              </a:ext>
            </a:extLst>
          </p:cNvPr>
          <p:cNvSpPr>
            <a:spLocks noGrp="1"/>
          </p:cNvSpPr>
          <p:nvPr>
            <p:ph type="body" sz="quarter" idx="18"/>
          </p:nvPr>
        </p:nvSpPr>
        <p:spPr>
          <a:xfrm>
            <a:off x="529759" y="1727200"/>
            <a:ext cx="4716788" cy="5130800"/>
          </a:xfrm>
        </p:spPr>
        <p:txBody>
          <a:bodyPr>
            <a:normAutofit fontScale="92500"/>
          </a:bodyPr>
          <a:lstStyle/>
          <a:p>
            <a:pPr marL="15875" indent="-15875" algn="l" rtl="0">
              <a:lnSpc>
                <a:spcPts val="2240"/>
              </a:lnSpc>
              <a:spcBef>
                <a:spcPts val="0"/>
              </a:spcBef>
            </a:pPr>
            <a:r>
              <a:rPr lang="en-US" sz="2200" dirty="0">
                <a:ea typeface="Open Sans Light" panose="020B0306030504020204" pitchFamily="34" charset="0"/>
                <a:cs typeface="Open Sans Light" panose="020B0306030504020204" pitchFamily="34" charset="0"/>
              </a:rPr>
              <a:t>Partes interesadas = todos los grupos dentro y fuera de la organización, que influyen en el desempeño y el logro de las metas de la organización con lo que hacen.</a:t>
            </a:r>
          </a:p>
          <a:p>
            <a:pPr marL="15875" indent="-15875" algn="l" rtl="0">
              <a:lnSpc>
                <a:spcPts val="2240"/>
              </a:lnSpc>
              <a:spcBef>
                <a:spcPts val="0"/>
              </a:spcBef>
            </a:pPr>
            <a:r>
              <a:rPr lang="en-GB" sz="2200" dirty="0">
                <a:ea typeface="Open Sans Light" panose="020B0306030504020204" pitchFamily="34" charset="0"/>
                <a:cs typeface="Open Sans Light" panose="020B0306030504020204" pitchFamily="34" charset="0"/>
              </a:rPr>
              <a:t>La gestión de stakeholders sirve para identificar las necesidades e intereses de sus grupos de interés más importantes para evitar peligros y minimizar riesgos.</a:t>
            </a:r>
          </a:p>
          <a:p>
            <a:pPr marL="15875" indent="-15875" algn="l" rtl="0">
              <a:lnSpc>
                <a:spcPts val="2240"/>
              </a:lnSpc>
              <a:spcBef>
                <a:spcPts val="0"/>
              </a:spcBef>
            </a:pPr>
            <a:r>
              <a:rPr lang="en-GB" sz="2200" dirty="0">
                <a:ea typeface="Open Sans Light" panose="020B0306030504020204" pitchFamily="34" charset="0"/>
                <a:cs typeface="Open Sans Light" panose="020B0306030504020204" pitchFamily="34" charset="0"/>
              </a:rPr>
              <a:t>A través de la gestión de las partes interesadas, se deben fortalecer las influencias positivas y minimizar las negativas.</a:t>
            </a:r>
          </a:p>
          <a:p>
            <a:pPr marL="15875" indent="-15875" algn="l" rtl="0">
              <a:lnSpc>
                <a:spcPts val="2240"/>
              </a:lnSpc>
              <a:spcBef>
                <a:spcPts val="0"/>
              </a:spcBef>
            </a:pPr>
            <a:endParaRPr lang="en-GB" sz="2200" b="1" dirty="0">
              <a:ea typeface="Open Sans Light" panose="020B0306030504020204" pitchFamily="34" charset="0"/>
              <a:cs typeface="Open Sans Light" panose="020B0306030504020204" pitchFamily="34" charset="0"/>
              <a:sym typeface="Wingdings" panose="05000000000000000000" pitchFamily="2" charset="2"/>
            </a:endParaRPr>
          </a:p>
          <a:p>
            <a:pPr marL="15875" indent="-15875" algn="l" rtl="0">
              <a:lnSpc>
                <a:spcPts val="2240"/>
              </a:lnSpc>
              <a:spcBef>
                <a:spcPts val="0"/>
              </a:spcBef>
            </a:pPr>
            <a:r>
              <a:rPr lang="en-GB" sz="2200" b="1" dirty="0">
                <a:ea typeface="Open Sans Light" panose="020B0306030504020204" pitchFamily="34" charset="0"/>
                <a:cs typeface="Open Sans Light" panose="020B0306030504020204" pitchFamily="34" charset="0"/>
                <a:sym typeface="Wingdings" panose="05000000000000000000" pitchFamily="2" charset="2"/>
              </a:rPr>
              <a:t>La gestión de las partes interesadas no es un análisis de una sola vez, sino que debe llevarse a cabo de forma sistemática y continua.</a:t>
            </a:r>
          </a:p>
          <a:p>
            <a:pPr marL="15875" indent="-15875" algn="l" rtl="0">
              <a:lnSpc>
                <a:spcPts val="2240"/>
              </a:lnSpc>
              <a:spcBef>
                <a:spcPts val="0"/>
              </a:spcBef>
              <a:buFont typeface="Wingdings" panose="05000000000000000000" pitchFamily="2" charset="2"/>
              <a:buChar char="à"/>
            </a:pPr>
            <a:endParaRPr lang="en-GB" sz="2200" dirty="0">
              <a:solidFill>
                <a:schemeClr val="tx1"/>
              </a:solidFill>
              <a:ea typeface="Open Sans Light" panose="020B0306030504020204" pitchFamily="34" charset="0"/>
              <a:cs typeface="Open Sans Light" panose="020B0306030504020204" pitchFamily="34" charset="0"/>
            </a:endParaRPr>
          </a:p>
          <a:p>
            <a:pPr marL="15875" indent="-15875" algn="l" rtl="0">
              <a:lnSpc>
                <a:spcPts val="2240"/>
              </a:lnSpc>
              <a:spcBef>
                <a:spcPts val="0"/>
              </a:spcBef>
            </a:pPr>
            <a:endParaRPr lang="en-US" sz="2200" dirty="0"/>
          </a:p>
        </p:txBody>
      </p:sp>
    </p:spTree>
    <p:extLst>
      <p:ext uri="{BB962C8B-B14F-4D97-AF65-F5344CB8AC3E}">
        <p14:creationId xmlns:p14="http://schemas.microsoft.com/office/powerpoint/2010/main" val="24653909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EAFB54F-D543-321C-8B95-117765F97825}"/>
              </a:ext>
            </a:extLst>
          </p:cNvPr>
          <p:cNvSpPr>
            <a:spLocks noGrp="1"/>
          </p:cNvSpPr>
          <p:nvPr>
            <p:ph type="body" sz="quarter" idx="16"/>
          </p:nvPr>
        </p:nvSpPr>
        <p:spPr/>
        <p:txBody>
          <a:bodyPr>
            <a:normAutofit lnSpcReduction="10000"/>
          </a:bodyPr>
          <a:lstStyle/>
          <a:p>
            <a:pPr algn="l" rtl="0"/>
            <a:r>
              <a:rPr lang="en-GB" dirty="0"/>
              <a:t>Crisis de partes interesadas</a:t>
            </a:r>
          </a:p>
        </p:txBody>
      </p:sp>
      <p:sp>
        <p:nvSpPr>
          <p:cNvPr id="7" name="Text Placeholder 6">
            <a:extLst>
              <a:ext uri="{FF2B5EF4-FFF2-40B4-BE49-F238E27FC236}">
                <a16:creationId xmlns:a16="http://schemas.microsoft.com/office/drawing/2014/main" id="{70B34618-970C-56CF-0E84-2B95570E5227}"/>
              </a:ext>
            </a:extLst>
          </p:cNvPr>
          <p:cNvSpPr>
            <a:spLocks noGrp="1"/>
          </p:cNvSpPr>
          <p:nvPr>
            <p:ph type="body" sz="quarter" idx="18"/>
          </p:nvPr>
        </p:nvSpPr>
        <p:spPr>
          <a:xfrm>
            <a:off x="529759" y="1757011"/>
            <a:ext cx="11073662" cy="3780189"/>
          </a:xfrm>
        </p:spPr>
        <p:txBody>
          <a:bodyPr numCol="2" spcCol="252000">
            <a:normAutofit fontScale="92500"/>
          </a:bodyPr>
          <a:lstStyle/>
          <a:p>
            <a:pPr marL="0" indent="0" algn="l" rtl="0">
              <a:buClr>
                <a:srgbClr val="EDA13E"/>
              </a:buClr>
            </a:pPr>
            <a:r>
              <a:rPr lang="en-US" dirty="0"/>
              <a:t>Si la crisis de las partes interesadas tiene un impacto negativo en el desarrollo de la empresa, solo se puede superar si los órganos de administración o supervisión logran encontrar una base común para una cooperación confiable con todos los principales grupos de interés.</a:t>
            </a:r>
          </a:p>
          <a:p>
            <a:pPr marL="0" indent="0" algn="l" rtl="0">
              <a:buClr>
                <a:srgbClr val="EDA13E"/>
              </a:buClr>
            </a:pPr>
            <a:endParaRPr lang="en-US" dirty="0"/>
          </a:p>
          <a:p>
            <a:pPr marL="0" indent="0" algn="l" rtl="0">
              <a:buClr>
                <a:srgbClr val="EDA13E"/>
              </a:buClr>
            </a:pPr>
            <a:r>
              <a:rPr lang="en-US" dirty="0"/>
              <a:t>El éxito en la gestión de crisis depende en gran medida de la rapidez y precisión con la que la empresa se comunica con sus partes interesadas. Las partes interesadas tienen algo en riesgo y, por lo tanto, algo que ganar o perder como resultado de esta actividad. Mediante el uso de su influencia, las partes interesadas tienen la clave del entorno en el que opera la empresa.</a:t>
            </a:r>
          </a:p>
          <a:p>
            <a:pPr marL="0" indent="0" algn="l" rtl="0">
              <a:buClr>
                <a:srgbClr val="EDA13E"/>
              </a:buClr>
            </a:pPr>
            <a:endParaRPr lang="en-US" dirty="0"/>
          </a:p>
          <a:p>
            <a:pPr marL="0" indent="0" algn="l" rtl="0">
              <a:buClr>
                <a:srgbClr val="EDA13E"/>
              </a:buClr>
            </a:pPr>
            <a:r>
              <a:rPr lang="en-US" dirty="0"/>
              <a:t>Durante una crisis, la empresa tiene que mirarse a sí misma desde la perspectiva de las partes interesadas porque las partes interesadas estarán más preocupadas por cómo les afectará el incidente de la crisis. Esperan que la empresa se comunique con ellos, por lo que es vital ser proactivo si es posible.</a:t>
            </a:r>
          </a:p>
          <a:p>
            <a:pPr marL="0" indent="0" algn="l" rtl="0">
              <a:buClr>
                <a:srgbClr val="EDA13E"/>
              </a:buClr>
            </a:pPr>
            <a:endParaRPr lang="en-US" dirty="0"/>
          </a:p>
        </p:txBody>
      </p:sp>
    </p:spTree>
    <p:extLst>
      <p:ext uri="{BB962C8B-B14F-4D97-AF65-F5344CB8AC3E}">
        <p14:creationId xmlns:p14="http://schemas.microsoft.com/office/powerpoint/2010/main" val="16269670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EAFB54F-D543-321C-8B95-117765F97825}"/>
              </a:ext>
            </a:extLst>
          </p:cNvPr>
          <p:cNvSpPr>
            <a:spLocks noGrp="1"/>
          </p:cNvSpPr>
          <p:nvPr>
            <p:ph type="body" sz="quarter" idx="16"/>
          </p:nvPr>
        </p:nvSpPr>
        <p:spPr/>
        <p:txBody>
          <a:bodyPr>
            <a:normAutofit lnSpcReduction="10000"/>
          </a:bodyPr>
          <a:lstStyle/>
          <a:p>
            <a:pPr algn="l" rtl="0"/>
            <a:r>
              <a:rPr lang="en-GB" dirty="0"/>
              <a:t>Crisis de partes interesadas</a:t>
            </a:r>
          </a:p>
        </p:txBody>
      </p:sp>
      <p:sp>
        <p:nvSpPr>
          <p:cNvPr id="7" name="Text Placeholder 6">
            <a:extLst>
              <a:ext uri="{FF2B5EF4-FFF2-40B4-BE49-F238E27FC236}">
                <a16:creationId xmlns:a16="http://schemas.microsoft.com/office/drawing/2014/main" id="{70B34618-970C-56CF-0E84-2B95570E5227}"/>
              </a:ext>
            </a:extLst>
          </p:cNvPr>
          <p:cNvSpPr>
            <a:spLocks noGrp="1"/>
          </p:cNvSpPr>
          <p:nvPr>
            <p:ph type="body" sz="quarter" idx="18"/>
          </p:nvPr>
        </p:nvSpPr>
        <p:spPr>
          <a:xfrm>
            <a:off x="529759" y="1757011"/>
            <a:ext cx="11073662" cy="4288189"/>
          </a:xfrm>
        </p:spPr>
        <p:txBody>
          <a:bodyPr numCol="2" spcCol="252000">
            <a:normAutofit/>
          </a:bodyPr>
          <a:lstStyle/>
          <a:p>
            <a:pPr marL="342900" indent="-342900" algn="l" rtl="0">
              <a:spcBef>
                <a:spcPts val="600"/>
              </a:spcBef>
              <a:buClr>
                <a:srgbClr val="EDA13E"/>
              </a:buClr>
              <a:buFont typeface="Arial" panose="020B0604020202020204" pitchFamily="34" charset="0"/>
              <a:buChar char="•"/>
            </a:pPr>
            <a:r>
              <a:rPr lang="en-US" b="1" dirty="0">
                <a:solidFill>
                  <a:srgbClr val="F16924"/>
                </a:solidFill>
              </a:rPr>
              <a:t>Empleados</a:t>
            </a:r>
            <a:r>
              <a:rPr lang="en-US" dirty="0"/>
              <a:t>quieren que sus familias sepan que están a salvo.</a:t>
            </a:r>
          </a:p>
          <a:p>
            <a:pPr marL="342900" indent="-342900" algn="l" rtl="0">
              <a:spcBef>
                <a:spcPts val="600"/>
              </a:spcBef>
              <a:buClr>
                <a:srgbClr val="EDA13E"/>
              </a:buClr>
              <a:buFont typeface="Arial" panose="020B0604020202020204" pitchFamily="34" charset="0"/>
              <a:buChar char="•"/>
            </a:pPr>
            <a:r>
              <a:rPr lang="en-US" b="1" dirty="0">
                <a:solidFill>
                  <a:srgbClr val="F16924"/>
                </a:solidFill>
              </a:rPr>
              <a:t>Directores y alta gerencia</a:t>
            </a:r>
            <a:r>
              <a:rPr lang="en-US" dirty="0"/>
              <a:t>desea conocer la información general sobre el incidente y el impacto en la viabilidad del negocio.</a:t>
            </a:r>
          </a:p>
          <a:p>
            <a:pPr marL="342900" indent="-342900" algn="l" rtl="0">
              <a:spcBef>
                <a:spcPts val="600"/>
              </a:spcBef>
              <a:buClr>
                <a:srgbClr val="EDA13E"/>
              </a:buClr>
              <a:buFont typeface="Arial" panose="020B0604020202020204" pitchFamily="34" charset="0"/>
              <a:buChar char="•"/>
            </a:pPr>
            <a:r>
              <a:rPr lang="en-US" b="1" dirty="0">
                <a:solidFill>
                  <a:srgbClr val="F16924"/>
                </a:solidFill>
              </a:rPr>
              <a:t>Líderes comunitarios</a:t>
            </a:r>
            <a:r>
              <a:rPr lang="en-US" dirty="0"/>
              <a:t>Quiero saber si se están dedicando suficientes recursos a la respuesta a la crisis. Los políticos quieren informar a sus electores, revisar los reglamentos y las leyes para determinar si son adecuados a la luz de la crisis y quieren tener la oportunidad de expresar su preocupación.</a:t>
            </a:r>
          </a:p>
          <a:p>
            <a:pPr marL="342900" indent="-342900" algn="l" rtl="0">
              <a:spcBef>
                <a:spcPts val="600"/>
              </a:spcBef>
              <a:buClr>
                <a:srgbClr val="EDA13E"/>
              </a:buClr>
              <a:buFont typeface="Arial" panose="020B0604020202020204" pitchFamily="34" charset="0"/>
              <a:buChar char="•"/>
            </a:pPr>
            <a:r>
              <a:rPr lang="en-US" b="1" dirty="0">
                <a:solidFill>
                  <a:srgbClr val="F16924"/>
                </a:solidFill>
              </a:rPr>
              <a:t>Partes interesadas del sector financiero</a:t>
            </a:r>
            <a:r>
              <a:rPr lang="en-US" dirty="0"/>
              <a:t>desea saber el impacto en los ingresos y la rentabilidad y cualquier posible implicación financiera futura.</a:t>
            </a:r>
          </a:p>
          <a:p>
            <a:pPr marL="342900" indent="-342900" algn="l" rtl="0">
              <a:spcBef>
                <a:spcPts val="600"/>
              </a:spcBef>
              <a:buClr>
                <a:srgbClr val="EDA13E"/>
              </a:buClr>
              <a:buFont typeface="Arial" panose="020B0604020202020204" pitchFamily="34" charset="0"/>
              <a:buChar char="•"/>
            </a:pPr>
            <a:r>
              <a:rPr lang="en-US" b="1" dirty="0">
                <a:solidFill>
                  <a:srgbClr val="F16924"/>
                </a:solidFill>
              </a:rPr>
              <a:t>Medios informativos</a:t>
            </a:r>
            <a:r>
              <a:rPr lang="en-US" dirty="0"/>
              <a:t>quieren acceso a la información y a los voceros para que puedan informar dentro de sus plazos.</a:t>
            </a:r>
          </a:p>
          <a:p>
            <a:pPr marL="342900" indent="-342900" algn="l" rtl="0">
              <a:spcBef>
                <a:spcPts val="600"/>
              </a:spcBef>
              <a:buClr>
                <a:srgbClr val="EDA13E"/>
              </a:buClr>
              <a:buFont typeface="Arial" panose="020B0604020202020204" pitchFamily="34" charset="0"/>
              <a:buChar char="•"/>
            </a:pPr>
            <a:r>
              <a:rPr lang="en-US" b="1" dirty="0">
                <a:solidFill>
                  <a:srgbClr val="F16924"/>
                </a:solidFill>
              </a:rPr>
              <a:t>Otras partes interesadas</a:t>
            </a:r>
            <a:r>
              <a:rPr lang="en-US" dirty="0"/>
              <a:t>quieren ser incluidos en la toma de decisiones relevantes para ellos y quieren tener acceso a la información sobre la crisis.</a:t>
            </a:r>
          </a:p>
        </p:txBody>
      </p:sp>
      <p:sp>
        <p:nvSpPr>
          <p:cNvPr id="3" name="TextBox 2">
            <a:extLst>
              <a:ext uri="{FF2B5EF4-FFF2-40B4-BE49-F238E27FC236}">
                <a16:creationId xmlns:a16="http://schemas.microsoft.com/office/drawing/2014/main" id="{A85F0BED-E9DE-AB49-6D1A-E8CE57ECEDA8}"/>
              </a:ext>
            </a:extLst>
          </p:cNvPr>
          <p:cNvSpPr txBox="1"/>
          <p:nvPr/>
        </p:nvSpPr>
        <p:spPr>
          <a:xfrm>
            <a:off x="4775199" y="565769"/>
            <a:ext cx="6887041" cy="430887"/>
          </a:xfrm>
          <a:prstGeom prst="rect">
            <a:avLst/>
          </a:prstGeom>
          <a:noFill/>
        </p:spPr>
        <p:txBody>
          <a:bodyPr wrap="square">
            <a:spAutoFit/>
          </a:bodyPr>
          <a:lstStyle/>
          <a:p>
            <a:pPr marL="0" indent="0" algn="l" rtl="0">
              <a:buClr>
                <a:srgbClr val="EDA13E"/>
              </a:buClr>
            </a:pPr>
            <a:r>
              <a:rPr lang="en-US" sz="2200" dirty="0">
                <a:solidFill>
                  <a:schemeClr val="bg1"/>
                </a:solidFill>
              </a:rPr>
              <a:t>Las preocupaciones de cada grupo de partes interesadas son diferentes:</a:t>
            </a:r>
          </a:p>
        </p:txBody>
      </p:sp>
      <p:sp>
        <p:nvSpPr>
          <p:cNvPr id="4" name="Rectangle 3">
            <a:extLst>
              <a:ext uri="{FF2B5EF4-FFF2-40B4-BE49-F238E27FC236}">
                <a16:creationId xmlns:a16="http://schemas.microsoft.com/office/drawing/2014/main" id="{289F2962-1EF9-C9D1-39C1-32FF16EAC680}"/>
              </a:ext>
            </a:extLst>
          </p:cNvPr>
          <p:cNvSpPr/>
          <p:nvPr/>
        </p:nvSpPr>
        <p:spPr>
          <a:xfrm rot="5400000" flipV="1">
            <a:off x="4008354" y="711257"/>
            <a:ext cx="72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Tree>
    <p:extLst>
      <p:ext uri="{BB962C8B-B14F-4D97-AF65-F5344CB8AC3E}">
        <p14:creationId xmlns:p14="http://schemas.microsoft.com/office/powerpoint/2010/main" val="14823089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51B4380C-1C73-A333-D970-800D2A58D433}"/>
              </a:ext>
            </a:extLst>
          </p:cNvPr>
          <p:cNvSpPr>
            <a:spLocks noGrp="1"/>
          </p:cNvSpPr>
          <p:nvPr>
            <p:ph type="body" sz="quarter" idx="18"/>
          </p:nvPr>
        </p:nvSpPr>
        <p:spPr>
          <a:xfrm>
            <a:off x="734715" y="2331716"/>
            <a:ext cx="5920086" cy="4754155"/>
          </a:xfrm>
        </p:spPr>
        <p:txBody>
          <a:bodyPr>
            <a:normAutofit/>
          </a:bodyPr>
          <a:lstStyle/>
          <a:p>
            <a:pPr marL="342900" indent="-342900" algn="l" rtl="0">
              <a:lnSpc>
                <a:spcPts val="2280"/>
              </a:lnSpc>
              <a:spcBef>
                <a:spcPts val="0"/>
              </a:spcBef>
              <a:buClr>
                <a:srgbClr val="F16924"/>
              </a:buClr>
              <a:buFont typeface="Arial" panose="020B0604020202020204" pitchFamily="34" charset="0"/>
              <a:buChar char="•"/>
            </a:pPr>
            <a:r>
              <a:rPr lang="en-GB" sz="2200" dirty="0">
                <a:ea typeface="Open Sans Light" panose="020B0306030504020204" pitchFamily="34" charset="0"/>
                <a:cs typeface="Open Sans Light" panose="020B0306030504020204" pitchFamily="34" charset="0"/>
              </a:rPr>
              <a:t>La gestión de las partes interesadas es un proceso global. Tiene una importancia inestimable en la gestión de crisis para alinear los objetivos de los proyectos de reestructuración con los intereses de las personas afectadas e involucradas.</a:t>
            </a:r>
          </a:p>
          <a:p>
            <a:pPr marL="342900" indent="-342900" algn="l" rtl="0">
              <a:lnSpc>
                <a:spcPts val="2280"/>
              </a:lnSpc>
              <a:spcBef>
                <a:spcPts val="0"/>
              </a:spcBef>
              <a:buClr>
                <a:srgbClr val="F16924"/>
              </a:buClr>
              <a:buFont typeface="Arial" panose="020B0604020202020204" pitchFamily="34" charset="0"/>
              <a:buChar char="•"/>
            </a:pPr>
            <a:r>
              <a:rPr lang="en-GB" sz="2200" dirty="0">
                <a:ea typeface="Open Sans Light" panose="020B0306030504020204" pitchFamily="34" charset="0"/>
                <a:cs typeface="Open Sans Light" panose="020B0306030504020204" pitchFamily="34" charset="0"/>
              </a:rPr>
              <a:t>La resistencia de las partes interesadas puede tener un impacto directo en el éxito de la reestructuración. La gestión de las partes interesadas debe llevarse a cabo a un nivel más profundo, ya que más partes interesadas se ven afectadas y pueden influir en el éxito.</a:t>
            </a:r>
          </a:p>
        </p:txBody>
      </p:sp>
      <p:sp>
        <p:nvSpPr>
          <p:cNvPr id="7" name="Text Placeholder 6">
            <a:extLst>
              <a:ext uri="{FF2B5EF4-FFF2-40B4-BE49-F238E27FC236}">
                <a16:creationId xmlns:a16="http://schemas.microsoft.com/office/drawing/2014/main" id="{EED3B07A-32D0-929B-7C57-DD4398ACFFF4}"/>
              </a:ext>
            </a:extLst>
          </p:cNvPr>
          <p:cNvSpPr>
            <a:spLocks noGrp="1"/>
          </p:cNvSpPr>
          <p:nvPr>
            <p:ph type="body" sz="quarter" idx="16"/>
          </p:nvPr>
        </p:nvSpPr>
        <p:spPr>
          <a:xfrm>
            <a:off x="734715" y="642972"/>
            <a:ext cx="6123286" cy="1896905"/>
          </a:xfrm>
        </p:spPr>
        <p:txBody>
          <a:bodyPr>
            <a:normAutofit/>
          </a:bodyPr>
          <a:lstStyle/>
          <a:p>
            <a:pPr algn="l" rtl="0"/>
            <a:r>
              <a:rPr lang="en-US" dirty="0"/>
              <a:t>Identificación de partes interesadas clave y gestión de relaciones</a:t>
            </a:r>
          </a:p>
        </p:txBody>
      </p:sp>
      <p:pic>
        <p:nvPicPr>
          <p:cNvPr id="12" name="Picture Placeholder 11">
            <a:extLst>
              <a:ext uri="{FF2B5EF4-FFF2-40B4-BE49-F238E27FC236}">
                <a16:creationId xmlns:a16="http://schemas.microsoft.com/office/drawing/2014/main" id="{6694CCDA-46B6-8AE5-EE04-98F7748A11B7}"/>
              </a:ext>
            </a:extLst>
          </p:cNvPr>
          <p:cNvPicPr>
            <a:picLocks noGrp="1" noChangeAspect="1"/>
          </p:cNvPicPr>
          <p:nvPr>
            <p:ph type="pic" sz="quarter" idx="4294967295"/>
          </p:nvPr>
        </p:nvPicPr>
        <p:blipFill rotWithShape="1">
          <a:blip r:embed="rId2" cstate="screen">
            <a:extLst>
              <a:ext uri="{28A0092B-C50C-407E-A947-70E740481C1C}">
                <a14:useLocalDpi xmlns:a14="http://schemas.microsoft.com/office/drawing/2010/main"/>
              </a:ext>
            </a:extLst>
          </a:blip>
          <a:srcRect l="45177" r="16347"/>
          <a:stretch/>
        </p:blipFill>
        <p:spPr>
          <a:xfrm>
            <a:off x="7479777" y="-33744"/>
            <a:ext cx="3977508" cy="6891744"/>
          </a:xfrm>
        </p:spPr>
      </p:pic>
      <p:sp>
        <p:nvSpPr>
          <p:cNvPr id="4" name="Rectangle 3">
            <a:extLst>
              <a:ext uri="{FF2B5EF4-FFF2-40B4-BE49-F238E27FC236}">
                <a16:creationId xmlns:a16="http://schemas.microsoft.com/office/drawing/2014/main" id="{DA70C79E-5E83-BFC9-41DF-94E1FAAE3A8A}"/>
              </a:ext>
            </a:extLst>
          </p:cNvPr>
          <p:cNvSpPr/>
          <p:nvPr/>
        </p:nvSpPr>
        <p:spPr>
          <a:xfrm>
            <a:off x="734714" y="1998255"/>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Tree>
    <p:extLst>
      <p:ext uri="{BB962C8B-B14F-4D97-AF65-F5344CB8AC3E}">
        <p14:creationId xmlns:p14="http://schemas.microsoft.com/office/powerpoint/2010/main" val="12385879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0" name="Graphic 6">
            <a:extLst>
              <a:ext uri="{FF2B5EF4-FFF2-40B4-BE49-F238E27FC236}">
                <a16:creationId xmlns:a16="http://schemas.microsoft.com/office/drawing/2014/main" id="{8D0DA333-BDF2-F467-C724-59576AA5E893}"/>
              </a:ext>
            </a:extLst>
          </p:cNvPr>
          <p:cNvGrpSpPr/>
          <p:nvPr/>
        </p:nvGrpSpPr>
        <p:grpSpPr>
          <a:xfrm>
            <a:off x="1830999" y="6092113"/>
            <a:ext cx="1797205" cy="215595"/>
            <a:chOff x="1459938" y="6156789"/>
            <a:chExt cx="1797205" cy="215595"/>
          </a:xfrm>
          <a:solidFill>
            <a:srgbClr val="FFFFFF"/>
          </a:solidFill>
        </p:grpSpPr>
        <p:grpSp>
          <p:nvGrpSpPr>
            <p:cNvPr id="651" name="Graphic 6">
              <a:extLst>
                <a:ext uri="{FF2B5EF4-FFF2-40B4-BE49-F238E27FC236}">
                  <a16:creationId xmlns:a16="http://schemas.microsoft.com/office/drawing/2014/main" id="{90BFE4EC-D047-1AB7-4583-D6B12AB6552C}"/>
                </a:ext>
              </a:extLst>
            </p:cNvPr>
            <p:cNvGrpSpPr/>
            <p:nvPr/>
          </p:nvGrpSpPr>
          <p:grpSpPr>
            <a:xfrm>
              <a:off x="2450684" y="6156789"/>
              <a:ext cx="806459" cy="215595"/>
              <a:chOff x="2450684" y="6156789"/>
              <a:chExt cx="806459" cy="215595"/>
            </a:xfrm>
            <a:solidFill>
              <a:srgbClr val="FFFFFF"/>
            </a:solidFill>
          </p:grpSpPr>
          <p:grpSp>
            <p:nvGrpSpPr>
              <p:cNvPr id="652" name="Graphic 6">
                <a:extLst>
                  <a:ext uri="{FF2B5EF4-FFF2-40B4-BE49-F238E27FC236}">
                    <a16:creationId xmlns:a16="http://schemas.microsoft.com/office/drawing/2014/main" id="{06A080ED-F63C-E10E-9E8B-339173D31E08}"/>
                  </a:ext>
                </a:extLst>
              </p:cNvPr>
              <p:cNvGrpSpPr/>
              <p:nvPr/>
            </p:nvGrpSpPr>
            <p:grpSpPr>
              <a:xfrm>
                <a:off x="2450684" y="6156789"/>
                <a:ext cx="195404" cy="185193"/>
                <a:chOff x="2450684" y="6156789"/>
                <a:chExt cx="195404" cy="185193"/>
              </a:xfrm>
              <a:solidFill>
                <a:srgbClr val="FFFFFF"/>
              </a:solidFill>
            </p:grpSpPr>
            <p:sp>
              <p:nvSpPr>
                <p:cNvPr id="653" name="Freeform 652">
                  <a:extLst>
                    <a:ext uri="{FF2B5EF4-FFF2-40B4-BE49-F238E27FC236}">
                      <a16:creationId xmlns:a16="http://schemas.microsoft.com/office/drawing/2014/main" id="{6E56F148-BE1D-E6B8-3968-02703CEFF7B5}"/>
                    </a:ext>
                  </a:extLst>
                </p:cNvPr>
                <p:cNvSpPr/>
                <p:nvPr/>
              </p:nvSpPr>
              <p:spPr>
                <a:xfrm>
                  <a:off x="2450684" y="6208972"/>
                  <a:ext cx="43280" cy="49403"/>
                </a:xfrm>
                <a:custGeom>
                  <a:avLst/>
                  <a:gdLst>
                    <a:gd name="connsiteX0" fmla="*/ 35686 w 43280"/>
                    <a:gd name="connsiteY0" fmla="*/ 0 h 49403"/>
                    <a:gd name="connsiteX1" fmla="*/ 21764 w 43280"/>
                    <a:gd name="connsiteY1" fmla="*/ 19001 h 49403"/>
                    <a:gd name="connsiteX2" fmla="*/ 15436 w 43280"/>
                    <a:gd name="connsiteY2" fmla="*/ 16468 h 49403"/>
                    <a:gd name="connsiteX3" fmla="*/ 6576 w 43280"/>
                    <a:gd name="connsiteY3" fmla="*/ 10134 h 49403"/>
                    <a:gd name="connsiteX4" fmla="*/ 248 w 43280"/>
                    <a:gd name="connsiteY4" fmla="*/ 19001 h 49403"/>
                    <a:gd name="connsiteX5" fmla="*/ 9108 w 43280"/>
                    <a:gd name="connsiteY5" fmla="*/ 25335 h 49403"/>
                    <a:gd name="connsiteX6" fmla="*/ 11639 w 43280"/>
                    <a:gd name="connsiteY6" fmla="*/ 24068 h 49403"/>
                    <a:gd name="connsiteX7" fmla="*/ 17967 w 43280"/>
                    <a:gd name="connsiteY7" fmla="*/ 26602 h 49403"/>
                    <a:gd name="connsiteX8" fmla="*/ 11639 w 43280"/>
                    <a:gd name="connsiteY8" fmla="*/ 48137 h 49403"/>
                    <a:gd name="connsiteX9" fmla="*/ 20498 w 43280"/>
                    <a:gd name="connsiteY9" fmla="*/ 49404 h 49403"/>
                    <a:gd name="connsiteX10" fmla="*/ 43280 w 43280"/>
                    <a:gd name="connsiteY10" fmla="*/ 5067 h 49403"/>
                    <a:gd name="connsiteX11" fmla="*/ 35686 w 43280"/>
                    <a:gd name="connsiteY11" fmla="*/ 0 h 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0" h="49403">
                      <a:moveTo>
                        <a:pt x="35686" y="0"/>
                      </a:moveTo>
                      <a:cubicBezTo>
                        <a:pt x="30624" y="5067"/>
                        <a:pt x="25561" y="11401"/>
                        <a:pt x="21764" y="19001"/>
                      </a:cubicBezTo>
                      <a:lnTo>
                        <a:pt x="15436" y="16468"/>
                      </a:lnTo>
                      <a:cubicBezTo>
                        <a:pt x="14170" y="12668"/>
                        <a:pt x="11639" y="10134"/>
                        <a:pt x="6576" y="10134"/>
                      </a:cubicBezTo>
                      <a:cubicBezTo>
                        <a:pt x="2780" y="10134"/>
                        <a:pt x="-1017" y="13934"/>
                        <a:pt x="248" y="19001"/>
                      </a:cubicBezTo>
                      <a:cubicBezTo>
                        <a:pt x="248" y="22802"/>
                        <a:pt x="4045" y="26602"/>
                        <a:pt x="9108" y="25335"/>
                      </a:cubicBezTo>
                      <a:cubicBezTo>
                        <a:pt x="10373" y="25335"/>
                        <a:pt x="10373" y="25335"/>
                        <a:pt x="11639" y="24068"/>
                      </a:cubicBezTo>
                      <a:lnTo>
                        <a:pt x="17967" y="26602"/>
                      </a:lnTo>
                      <a:cubicBezTo>
                        <a:pt x="14170" y="34202"/>
                        <a:pt x="12905" y="40536"/>
                        <a:pt x="11639" y="48137"/>
                      </a:cubicBezTo>
                      <a:lnTo>
                        <a:pt x="20498" y="49404"/>
                      </a:lnTo>
                      <a:cubicBezTo>
                        <a:pt x="23030" y="32936"/>
                        <a:pt x="30624" y="17735"/>
                        <a:pt x="43280" y="5067"/>
                      </a:cubicBezTo>
                      <a:lnTo>
                        <a:pt x="35686" y="0"/>
                      </a:lnTo>
                      <a:close/>
                    </a:path>
                  </a:pathLst>
                </a:custGeom>
                <a:solidFill>
                  <a:srgbClr val="FFFFFF"/>
                </a:solidFill>
                <a:ln w="12649" cap="flat">
                  <a:noFill/>
                  <a:prstDash val="solid"/>
                  <a:miter/>
                </a:ln>
              </p:spPr>
              <p:txBody>
                <a:bodyPr rtlCol="0" anchor="ctr"/>
                <a:lstStyle/>
                <a:p>
                  <a:pPr algn="l" rtl="0"/>
                  <a:endParaRPr lang="en-US"/>
                </a:p>
              </p:txBody>
            </p:sp>
            <p:sp>
              <p:nvSpPr>
                <p:cNvPr id="654" name="Freeform 653">
                  <a:extLst>
                    <a:ext uri="{FF2B5EF4-FFF2-40B4-BE49-F238E27FC236}">
                      <a16:creationId xmlns:a16="http://schemas.microsoft.com/office/drawing/2014/main" id="{80AAC930-63FC-A283-996C-1ADB58ECB2D3}"/>
                    </a:ext>
                  </a:extLst>
                </p:cNvPr>
                <p:cNvSpPr/>
                <p:nvPr/>
              </p:nvSpPr>
              <p:spPr>
                <a:xfrm>
                  <a:off x="2514214" y="6156789"/>
                  <a:ext cx="63281" cy="42048"/>
                </a:xfrm>
                <a:custGeom>
                  <a:avLst/>
                  <a:gdLst>
                    <a:gd name="connsiteX0" fmla="*/ 41766 w 63281"/>
                    <a:gd name="connsiteY0" fmla="*/ 23047 h 42048"/>
                    <a:gd name="connsiteX1" fmla="*/ 35438 w 63281"/>
                    <a:gd name="connsiteY1" fmla="*/ 23047 h 42048"/>
                    <a:gd name="connsiteX2" fmla="*/ 34172 w 63281"/>
                    <a:gd name="connsiteY2" fmla="*/ 15447 h 42048"/>
                    <a:gd name="connsiteX3" fmla="*/ 37969 w 63281"/>
                    <a:gd name="connsiteY3" fmla="*/ 7846 h 42048"/>
                    <a:gd name="connsiteX4" fmla="*/ 27844 w 63281"/>
                    <a:gd name="connsiteY4" fmla="*/ 246 h 42048"/>
                    <a:gd name="connsiteX5" fmla="*/ 20250 w 63281"/>
                    <a:gd name="connsiteY5" fmla="*/ 10379 h 42048"/>
                    <a:gd name="connsiteX6" fmla="*/ 25313 w 63281"/>
                    <a:gd name="connsiteY6" fmla="*/ 17980 h 42048"/>
                    <a:gd name="connsiteX7" fmla="*/ 26578 w 63281"/>
                    <a:gd name="connsiteY7" fmla="*/ 25581 h 42048"/>
                    <a:gd name="connsiteX8" fmla="*/ 0 w 63281"/>
                    <a:gd name="connsiteY8" fmla="*/ 33181 h 42048"/>
                    <a:gd name="connsiteX9" fmla="*/ 3797 w 63281"/>
                    <a:gd name="connsiteY9" fmla="*/ 42049 h 42048"/>
                    <a:gd name="connsiteX10" fmla="*/ 41766 w 63281"/>
                    <a:gd name="connsiteY10" fmla="*/ 33181 h 42048"/>
                    <a:gd name="connsiteX11" fmla="*/ 60751 w 63281"/>
                    <a:gd name="connsiteY11" fmla="*/ 35715 h 42048"/>
                    <a:gd name="connsiteX12" fmla="*/ 63282 w 63281"/>
                    <a:gd name="connsiteY12" fmla="*/ 26848 h 42048"/>
                    <a:gd name="connsiteX13" fmla="*/ 41766 w 63281"/>
                    <a:gd name="connsiteY13" fmla="*/ 23047 h 42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281" h="42048">
                      <a:moveTo>
                        <a:pt x="41766" y="23047"/>
                      </a:moveTo>
                      <a:cubicBezTo>
                        <a:pt x="39235" y="23047"/>
                        <a:pt x="37969" y="23047"/>
                        <a:pt x="35438" y="23047"/>
                      </a:cubicBezTo>
                      <a:lnTo>
                        <a:pt x="34172" y="15447"/>
                      </a:lnTo>
                      <a:cubicBezTo>
                        <a:pt x="36704" y="14180"/>
                        <a:pt x="37969" y="10379"/>
                        <a:pt x="37969" y="7846"/>
                      </a:cubicBezTo>
                      <a:cubicBezTo>
                        <a:pt x="37969" y="2779"/>
                        <a:pt x="32907" y="-1021"/>
                        <a:pt x="27844" y="246"/>
                      </a:cubicBezTo>
                      <a:cubicBezTo>
                        <a:pt x="22782" y="246"/>
                        <a:pt x="18985" y="5313"/>
                        <a:pt x="20250" y="10379"/>
                      </a:cubicBezTo>
                      <a:cubicBezTo>
                        <a:pt x="20250" y="14180"/>
                        <a:pt x="22782" y="16713"/>
                        <a:pt x="25313" y="17980"/>
                      </a:cubicBezTo>
                      <a:lnTo>
                        <a:pt x="26578" y="25581"/>
                      </a:lnTo>
                      <a:cubicBezTo>
                        <a:pt x="17719" y="26848"/>
                        <a:pt x="8860" y="29381"/>
                        <a:pt x="0" y="33181"/>
                      </a:cubicBezTo>
                      <a:lnTo>
                        <a:pt x="3797" y="42049"/>
                      </a:lnTo>
                      <a:cubicBezTo>
                        <a:pt x="15188" y="36982"/>
                        <a:pt x="27844" y="33181"/>
                        <a:pt x="41766" y="33181"/>
                      </a:cubicBezTo>
                      <a:cubicBezTo>
                        <a:pt x="48094" y="33181"/>
                        <a:pt x="54423" y="34448"/>
                        <a:pt x="60751" y="35715"/>
                      </a:cubicBezTo>
                      <a:lnTo>
                        <a:pt x="63282" y="26848"/>
                      </a:lnTo>
                      <a:cubicBezTo>
                        <a:pt x="55688" y="24314"/>
                        <a:pt x="48094" y="23047"/>
                        <a:pt x="41766" y="23047"/>
                      </a:cubicBezTo>
                      <a:close/>
                    </a:path>
                  </a:pathLst>
                </a:custGeom>
                <a:solidFill>
                  <a:srgbClr val="FFFFFF"/>
                </a:solidFill>
                <a:ln w="12649" cap="flat">
                  <a:noFill/>
                  <a:prstDash val="solid"/>
                  <a:miter/>
                </a:ln>
              </p:spPr>
              <p:txBody>
                <a:bodyPr rtlCol="0" anchor="ctr"/>
                <a:lstStyle/>
                <a:p>
                  <a:pPr algn="l" rtl="0"/>
                  <a:endParaRPr lang="en-US"/>
                </a:p>
              </p:txBody>
            </p:sp>
            <p:sp>
              <p:nvSpPr>
                <p:cNvPr id="655" name="Freeform 654">
                  <a:extLst>
                    <a:ext uri="{FF2B5EF4-FFF2-40B4-BE49-F238E27FC236}">
                      <a16:creationId xmlns:a16="http://schemas.microsoft.com/office/drawing/2014/main" id="{7CE41118-197F-62EB-A0D1-4B3C7BF0291C}"/>
                    </a:ext>
                  </a:extLst>
                </p:cNvPr>
                <p:cNvSpPr/>
                <p:nvPr/>
              </p:nvSpPr>
              <p:spPr>
                <a:xfrm>
                  <a:off x="2602808" y="6195037"/>
                  <a:ext cx="43280" cy="44336"/>
                </a:xfrm>
                <a:custGeom>
                  <a:avLst/>
                  <a:gdLst>
                    <a:gd name="connsiteX0" fmla="*/ 36704 w 43280"/>
                    <a:gd name="connsiteY0" fmla="*/ 16468 h 44336"/>
                    <a:gd name="connsiteX1" fmla="*/ 43032 w 43280"/>
                    <a:gd name="connsiteY1" fmla="*/ 7601 h 44336"/>
                    <a:gd name="connsiteX2" fmla="*/ 34172 w 43280"/>
                    <a:gd name="connsiteY2" fmla="*/ 1267 h 44336"/>
                    <a:gd name="connsiteX3" fmla="*/ 27844 w 43280"/>
                    <a:gd name="connsiteY3" fmla="*/ 8868 h 44336"/>
                    <a:gd name="connsiteX4" fmla="*/ 22782 w 43280"/>
                    <a:gd name="connsiteY4" fmla="*/ 13934 h 44336"/>
                    <a:gd name="connsiteX5" fmla="*/ 5063 w 43280"/>
                    <a:gd name="connsiteY5" fmla="*/ 0 h 44336"/>
                    <a:gd name="connsiteX6" fmla="*/ 0 w 43280"/>
                    <a:gd name="connsiteY6" fmla="*/ 7601 h 44336"/>
                    <a:gd name="connsiteX7" fmla="*/ 32907 w 43280"/>
                    <a:gd name="connsiteY7" fmla="*/ 44337 h 44336"/>
                    <a:gd name="connsiteX8" fmla="*/ 41766 w 43280"/>
                    <a:gd name="connsiteY8" fmla="*/ 40537 h 44336"/>
                    <a:gd name="connsiteX9" fmla="*/ 30376 w 43280"/>
                    <a:gd name="connsiteY9" fmla="*/ 21535 h 44336"/>
                    <a:gd name="connsiteX10" fmla="*/ 35438 w 43280"/>
                    <a:gd name="connsiteY10" fmla="*/ 16468 h 44336"/>
                    <a:gd name="connsiteX11" fmla="*/ 36704 w 43280"/>
                    <a:gd name="connsiteY11" fmla="*/ 16468 h 4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0" h="44336">
                      <a:moveTo>
                        <a:pt x="36704" y="16468"/>
                      </a:moveTo>
                      <a:cubicBezTo>
                        <a:pt x="40501" y="16468"/>
                        <a:pt x="44297" y="12668"/>
                        <a:pt x="43032" y="7601"/>
                      </a:cubicBezTo>
                      <a:cubicBezTo>
                        <a:pt x="43032" y="3800"/>
                        <a:pt x="39235" y="0"/>
                        <a:pt x="34172" y="1267"/>
                      </a:cubicBezTo>
                      <a:cubicBezTo>
                        <a:pt x="30376" y="1267"/>
                        <a:pt x="27844" y="5067"/>
                        <a:pt x="27844" y="8868"/>
                      </a:cubicBezTo>
                      <a:lnTo>
                        <a:pt x="22782" y="13934"/>
                      </a:lnTo>
                      <a:cubicBezTo>
                        <a:pt x="17719" y="8868"/>
                        <a:pt x="11391" y="3800"/>
                        <a:pt x="5063" y="0"/>
                      </a:cubicBezTo>
                      <a:lnTo>
                        <a:pt x="0" y="7601"/>
                      </a:lnTo>
                      <a:cubicBezTo>
                        <a:pt x="13922" y="16468"/>
                        <a:pt x="25313" y="29135"/>
                        <a:pt x="32907" y="44337"/>
                      </a:cubicBezTo>
                      <a:lnTo>
                        <a:pt x="41766" y="40537"/>
                      </a:lnTo>
                      <a:cubicBezTo>
                        <a:pt x="37969" y="32936"/>
                        <a:pt x="34172" y="26602"/>
                        <a:pt x="30376" y="21535"/>
                      </a:cubicBezTo>
                      <a:lnTo>
                        <a:pt x="35438" y="16468"/>
                      </a:lnTo>
                      <a:cubicBezTo>
                        <a:pt x="34172" y="16468"/>
                        <a:pt x="35438" y="16468"/>
                        <a:pt x="36704" y="16468"/>
                      </a:cubicBezTo>
                      <a:close/>
                    </a:path>
                  </a:pathLst>
                </a:custGeom>
                <a:solidFill>
                  <a:srgbClr val="FFFFFF"/>
                </a:solidFill>
                <a:ln w="12649" cap="flat">
                  <a:noFill/>
                  <a:prstDash val="solid"/>
                  <a:miter/>
                </a:ln>
              </p:spPr>
              <p:txBody>
                <a:bodyPr rtlCol="0" anchor="ctr"/>
                <a:lstStyle/>
                <a:p>
                  <a:pPr algn="l" rtl="0"/>
                  <a:endParaRPr lang="en-US"/>
                </a:p>
              </p:txBody>
            </p:sp>
            <p:sp>
              <p:nvSpPr>
                <p:cNvPr id="656" name="Freeform 655">
                  <a:extLst>
                    <a:ext uri="{FF2B5EF4-FFF2-40B4-BE49-F238E27FC236}">
                      <a16:creationId xmlns:a16="http://schemas.microsoft.com/office/drawing/2014/main" id="{82425D37-DB56-D25D-37F3-70E80C1D9FF3}"/>
                    </a:ext>
                  </a:extLst>
                </p:cNvPr>
                <p:cNvSpPr/>
                <p:nvPr/>
              </p:nvSpPr>
              <p:spPr>
                <a:xfrm>
                  <a:off x="2485104" y="6284978"/>
                  <a:ext cx="143016" cy="57004"/>
                </a:xfrm>
                <a:custGeom>
                  <a:avLst/>
                  <a:gdLst>
                    <a:gd name="connsiteX0" fmla="*/ 63282 w 143016"/>
                    <a:gd name="connsiteY0" fmla="*/ 24068 h 57004"/>
                    <a:gd name="connsiteX1" fmla="*/ 48094 w 143016"/>
                    <a:gd name="connsiteY1" fmla="*/ 24068 h 57004"/>
                    <a:gd name="connsiteX2" fmla="*/ 16453 w 143016"/>
                    <a:gd name="connsiteY2" fmla="*/ 21535 h 57004"/>
                    <a:gd name="connsiteX3" fmla="*/ 0 w 143016"/>
                    <a:gd name="connsiteY3" fmla="*/ 17735 h 57004"/>
                    <a:gd name="connsiteX4" fmla="*/ 68344 w 143016"/>
                    <a:gd name="connsiteY4" fmla="*/ 57004 h 57004"/>
                    <a:gd name="connsiteX5" fmla="*/ 143017 w 143016"/>
                    <a:gd name="connsiteY5" fmla="*/ 0 h 57004"/>
                    <a:gd name="connsiteX6" fmla="*/ 111376 w 143016"/>
                    <a:gd name="connsiteY6" fmla="*/ 13934 h 57004"/>
                    <a:gd name="connsiteX7" fmla="*/ 63282 w 143016"/>
                    <a:gd name="connsiteY7" fmla="*/ 24068 h 5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016" h="57004">
                      <a:moveTo>
                        <a:pt x="63282" y="24068"/>
                      </a:moveTo>
                      <a:cubicBezTo>
                        <a:pt x="58219" y="24068"/>
                        <a:pt x="53157" y="24068"/>
                        <a:pt x="48094" y="24068"/>
                      </a:cubicBezTo>
                      <a:cubicBezTo>
                        <a:pt x="36703" y="24068"/>
                        <a:pt x="26578" y="22802"/>
                        <a:pt x="16453" y="21535"/>
                      </a:cubicBezTo>
                      <a:cubicBezTo>
                        <a:pt x="11391" y="20268"/>
                        <a:pt x="6328" y="19001"/>
                        <a:pt x="0" y="17735"/>
                      </a:cubicBezTo>
                      <a:cubicBezTo>
                        <a:pt x="12656" y="41803"/>
                        <a:pt x="39235" y="57004"/>
                        <a:pt x="68344" y="57004"/>
                      </a:cubicBezTo>
                      <a:cubicBezTo>
                        <a:pt x="105048" y="57004"/>
                        <a:pt x="135423" y="32936"/>
                        <a:pt x="143017" y="0"/>
                      </a:cubicBezTo>
                      <a:cubicBezTo>
                        <a:pt x="134158" y="5067"/>
                        <a:pt x="124032" y="10134"/>
                        <a:pt x="111376" y="13934"/>
                      </a:cubicBezTo>
                      <a:cubicBezTo>
                        <a:pt x="98720" y="20268"/>
                        <a:pt x="81001" y="22802"/>
                        <a:pt x="63282" y="24068"/>
                      </a:cubicBezTo>
                      <a:close/>
                    </a:path>
                  </a:pathLst>
                </a:custGeom>
                <a:solidFill>
                  <a:srgbClr val="FFFFFF"/>
                </a:solidFill>
                <a:ln w="12649" cap="flat">
                  <a:noFill/>
                  <a:prstDash val="solid"/>
                  <a:miter/>
                </a:ln>
              </p:spPr>
              <p:txBody>
                <a:bodyPr rtlCol="0" anchor="ctr"/>
                <a:lstStyle/>
                <a:p>
                  <a:pPr algn="l" rtl="0"/>
                  <a:endParaRPr lang="en-US"/>
                </a:p>
              </p:txBody>
            </p:sp>
            <p:sp>
              <p:nvSpPr>
                <p:cNvPr id="657" name="Freeform 656">
                  <a:extLst>
                    <a:ext uri="{FF2B5EF4-FFF2-40B4-BE49-F238E27FC236}">
                      <a16:creationId xmlns:a16="http://schemas.microsoft.com/office/drawing/2014/main" id="{C858AE95-B1DD-DB60-2829-69E6686EE35E}"/>
                    </a:ext>
                  </a:extLst>
                </p:cNvPr>
                <p:cNvSpPr/>
                <p:nvPr/>
              </p:nvSpPr>
              <p:spPr>
                <a:xfrm>
                  <a:off x="2478776" y="6198838"/>
                  <a:ext cx="153142" cy="100740"/>
                </a:xfrm>
                <a:custGeom>
                  <a:avLst/>
                  <a:gdLst>
                    <a:gd name="connsiteX0" fmla="*/ 77204 w 153142"/>
                    <a:gd name="connsiteY0" fmla="*/ 0 h 100740"/>
                    <a:gd name="connsiteX1" fmla="*/ 0 w 153142"/>
                    <a:gd name="connsiteY1" fmla="*/ 74739 h 100740"/>
                    <a:gd name="connsiteX2" fmla="*/ 1266 w 153142"/>
                    <a:gd name="connsiteY2" fmla="*/ 91207 h 100740"/>
                    <a:gd name="connsiteX3" fmla="*/ 68344 w 153142"/>
                    <a:gd name="connsiteY3" fmla="*/ 100075 h 100740"/>
                    <a:gd name="connsiteX4" fmla="*/ 153142 w 153142"/>
                    <a:gd name="connsiteY4" fmla="*/ 72206 h 100740"/>
                    <a:gd name="connsiteX5" fmla="*/ 153142 w 153142"/>
                    <a:gd name="connsiteY5" fmla="*/ 64605 h 100740"/>
                    <a:gd name="connsiteX6" fmla="*/ 77204 w 153142"/>
                    <a:gd name="connsiteY6" fmla="*/ 0 h 100740"/>
                    <a:gd name="connsiteX7" fmla="*/ 49360 w 153142"/>
                    <a:gd name="connsiteY7" fmla="*/ 82340 h 100740"/>
                    <a:gd name="connsiteX8" fmla="*/ 26578 w 153142"/>
                    <a:gd name="connsiteY8" fmla="*/ 59538 h 100740"/>
                    <a:gd name="connsiteX9" fmla="*/ 49360 w 153142"/>
                    <a:gd name="connsiteY9" fmla="*/ 36736 h 100740"/>
                    <a:gd name="connsiteX10" fmla="*/ 72142 w 153142"/>
                    <a:gd name="connsiteY10" fmla="*/ 59538 h 100740"/>
                    <a:gd name="connsiteX11" fmla="*/ 49360 w 153142"/>
                    <a:gd name="connsiteY11" fmla="*/ 82340 h 100740"/>
                    <a:gd name="connsiteX12" fmla="*/ 108845 w 153142"/>
                    <a:gd name="connsiteY12" fmla="*/ 70939 h 100740"/>
                    <a:gd name="connsiteX13" fmla="*/ 91126 w 153142"/>
                    <a:gd name="connsiteY13" fmla="*/ 53204 h 100740"/>
                    <a:gd name="connsiteX14" fmla="*/ 108845 w 153142"/>
                    <a:gd name="connsiteY14" fmla="*/ 35470 h 100740"/>
                    <a:gd name="connsiteX15" fmla="*/ 126564 w 153142"/>
                    <a:gd name="connsiteY15" fmla="*/ 53204 h 100740"/>
                    <a:gd name="connsiteX16" fmla="*/ 108845 w 153142"/>
                    <a:gd name="connsiteY16" fmla="*/ 70939 h 10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142" h="100740">
                      <a:moveTo>
                        <a:pt x="77204" y="0"/>
                      </a:moveTo>
                      <a:cubicBezTo>
                        <a:pt x="35438" y="0"/>
                        <a:pt x="0" y="34203"/>
                        <a:pt x="0" y="74739"/>
                      </a:cubicBezTo>
                      <a:cubicBezTo>
                        <a:pt x="0" y="79806"/>
                        <a:pt x="0" y="84873"/>
                        <a:pt x="1266" y="91207"/>
                      </a:cubicBezTo>
                      <a:cubicBezTo>
                        <a:pt x="10125" y="97541"/>
                        <a:pt x="35438" y="102608"/>
                        <a:pt x="68344" y="100075"/>
                      </a:cubicBezTo>
                      <a:cubicBezTo>
                        <a:pt x="105048" y="97541"/>
                        <a:pt x="135423" y="87407"/>
                        <a:pt x="153142" y="72206"/>
                      </a:cubicBezTo>
                      <a:cubicBezTo>
                        <a:pt x="153142" y="69672"/>
                        <a:pt x="153142" y="67139"/>
                        <a:pt x="153142" y="64605"/>
                      </a:cubicBezTo>
                      <a:cubicBezTo>
                        <a:pt x="148080" y="27869"/>
                        <a:pt x="115173" y="0"/>
                        <a:pt x="77204" y="0"/>
                      </a:cubicBezTo>
                      <a:close/>
                      <a:moveTo>
                        <a:pt x="49360" y="82340"/>
                      </a:moveTo>
                      <a:cubicBezTo>
                        <a:pt x="36703" y="82340"/>
                        <a:pt x="26578" y="72206"/>
                        <a:pt x="26578" y="59538"/>
                      </a:cubicBezTo>
                      <a:cubicBezTo>
                        <a:pt x="26578" y="46870"/>
                        <a:pt x="36703" y="36736"/>
                        <a:pt x="49360" y="36736"/>
                      </a:cubicBezTo>
                      <a:cubicBezTo>
                        <a:pt x="62016" y="36736"/>
                        <a:pt x="72142" y="46870"/>
                        <a:pt x="72142" y="59538"/>
                      </a:cubicBezTo>
                      <a:cubicBezTo>
                        <a:pt x="73407" y="72206"/>
                        <a:pt x="62016" y="82340"/>
                        <a:pt x="49360" y="82340"/>
                      </a:cubicBezTo>
                      <a:close/>
                      <a:moveTo>
                        <a:pt x="108845" y="70939"/>
                      </a:moveTo>
                      <a:cubicBezTo>
                        <a:pt x="99985" y="70939"/>
                        <a:pt x="91126" y="63338"/>
                        <a:pt x="91126" y="53204"/>
                      </a:cubicBezTo>
                      <a:cubicBezTo>
                        <a:pt x="91126" y="44337"/>
                        <a:pt x="98720" y="35470"/>
                        <a:pt x="108845" y="35470"/>
                      </a:cubicBezTo>
                      <a:cubicBezTo>
                        <a:pt x="117704" y="35470"/>
                        <a:pt x="126564" y="43070"/>
                        <a:pt x="126564" y="53204"/>
                      </a:cubicBezTo>
                      <a:cubicBezTo>
                        <a:pt x="126564" y="63338"/>
                        <a:pt x="118970" y="70939"/>
                        <a:pt x="108845" y="70939"/>
                      </a:cubicBezTo>
                      <a:close/>
                    </a:path>
                  </a:pathLst>
                </a:custGeom>
                <a:solidFill>
                  <a:srgbClr val="FFFFFF"/>
                </a:solidFill>
                <a:ln w="12649" cap="flat">
                  <a:noFill/>
                  <a:prstDash val="solid"/>
                  <a:miter/>
                </a:ln>
              </p:spPr>
              <p:txBody>
                <a:bodyPr rtlCol="0" anchor="ctr"/>
                <a:lstStyle/>
                <a:p>
                  <a:pPr algn="l" rtl="0"/>
                  <a:endParaRPr lang="en-US"/>
                </a:p>
              </p:txBody>
            </p:sp>
          </p:grpSp>
          <p:sp>
            <p:nvSpPr>
              <p:cNvPr id="658" name="Freeform 657">
                <a:extLst>
                  <a:ext uri="{FF2B5EF4-FFF2-40B4-BE49-F238E27FC236}">
                    <a16:creationId xmlns:a16="http://schemas.microsoft.com/office/drawing/2014/main" id="{9C8F8F45-5849-4FFA-5A0D-76A32E1C7F8C}"/>
                  </a:ext>
                </a:extLst>
              </p:cNvPr>
              <p:cNvSpPr/>
              <p:nvPr/>
            </p:nvSpPr>
            <p:spPr>
              <a:xfrm>
                <a:off x="2688872" y="6197571"/>
                <a:ext cx="69610" cy="136810"/>
              </a:xfrm>
              <a:custGeom>
                <a:avLst/>
                <a:gdLst>
                  <a:gd name="connsiteX0" fmla="*/ 68344 w 69610"/>
                  <a:gd name="connsiteY0" fmla="*/ 25335 h 136810"/>
                  <a:gd name="connsiteX1" fmla="*/ 50626 w 69610"/>
                  <a:gd name="connsiteY1" fmla="*/ 22802 h 136810"/>
                  <a:gd name="connsiteX2" fmla="*/ 40500 w 69610"/>
                  <a:gd name="connsiteY2" fmla="*/ 35469 h 136810"/>
                  <a:gd name="connsiteX3" fmla="*/ 40500 w 69610"/>
                  <a:gd name="connsiteY3" fmla="*/ 46870 h 136810"/>
                  <a:gd name="connsiteX4" fmla="*/ 68344 w 69610"/>
                  <a:gd name="connsiteY4" fmla="*/ 46870 h 136810"/>
                  <a:gd name="connsiteX5" fmla="*/ 68344 w 69610"/>
                  <a:gd name="connsiteY5" fmla="*/ 68405 h 136810"/>
                  <a:gd name="connsiteX6" fmla="*/ 40500 w 69610"/>
                  <a:gd name="connsiteY6" fmla="*/ 68405 h 136810"/>
                  <a:gd name="connsiteX7" fmla="*/ 40500 w 69610"/>
                  <a:gd name="connsiteY7" fmla="*/ 136810 h 136810"/>
                  <a:gd name="connsiteX8" fmla="*/ 16453 w 69610"/>
                  <a:gd name="connsiteY8" fmla="*/ 136810 h 136810"/>
                  <a:gd name="connsiteX9" fmla="*/ 16453 w 69610"/>
                  <a:gd name="connsiteY9" fmla="*/ 68405 h 136810"/>
                  <a:gd name="connsiteX10" fmla="*/ 0 w 69610"/>
                  <a:gd name="connsiteY10" fmla="*/ 68405 h 136810"/>
                  <a:gd name="connsiteX11" fmla="*/ 0 w 69610"/>
                  <a:gd name="connsiteY11" fmla="*/ 46870 h 136810"/>
                  <a:gd name="connsiteX12" fmla="*/ 16453 w 69610"/>
                  <a:gd name="connsiteY12" fmla="*/ 46870 h 136810"/>
                  <a:gd name="connsiteX13" fmla="*/ 16453 w 69610"/>
                  <a:gd name="connsiteY13" fmla="*/ 35469 h 136810"/>
                  <a:gd name="connsiteX14" fmla="*/ 49360 w 69610"/>
                  <a:gd name="connsiteY14" fmla="*/ 0 h 136810"/>
                  <a:gd name="connsiteX15" fmla="*/ 69610 w 69610"/>
                  <a:gd name="connsiteY15" fmla="*/ 3800 h 136810"/>
                  <a:gd name="connsiteX16" fmla="*/ 68344 w 69610"/>
                  <a:gd name="connsiteY16" fmla="*/ 25335 h 13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9610" h="136810">
                    <a:moveTo>
                      <a:pt x="68344" y="25335"/>
                    </a:moveTo>
                    <a:cubicBezTo>
                      <a:pt x="64548" y="24068"/>
                      <a:pt x="58219" y="21535"/>
                      <a:pt x="50626" y="22802"/>
                    </a:cubicBezTo>
                    <a:cubicBezTo>
                      <a:pt x="44297" y="24068"/>
                      <a:pt x="40500" y="26602"/>
                      <a:pt x="40500" y="35469"/>
                    </a:cubicBezTo>
                    <a:lnTo>
                      <a:pt x="40500" y="46870"/>
                    </a:lnTo>
                    <a:lnTo>
                      <a:pt x="68344" y="46870"/>
                    </a:lnTo>
                    <a:lnTo>
                      <a:pt x="68344" y="68405"/>
                    </a:lnTo>
                    <a:lnTo>
                      <a:pt x="40500" y="68405"/>
                    </a:lnTo>
                    <a:lnTo>
                      <a:pt x="40500" y="136810"/>
                    </a:lnTo>
                    <a:lnTo>
                      <a:pt x="16453" y="136810"/>
                    </a:lnTo>
                    <a:lnTo>
                      <a:pt x="16453" y="68405"/>
                    </a:lnTo>
                    <a:lnTo>
                      <a:pt x="0" y="68405"/>
                    </a:lnTo>
                    <a:lnTo>
                      <a:pt x="0" y="46870"/>
                    </a:lnTo>
                    <a:lnTo>
                      <a:pt x="16453" y="46870"/>
                    </a:lnTo>
                    <a:lnTo>
                      <a:pt x="16453" y="35469"/>
                    </a:lnTo>
                    <a:cubicBezTo>
                      <a:pt x="16453" y="13934"/>
                      <a:pt x="27844" y="0"/>
                      <a:pt x="49360" y="0"/>
                    </a:cubicBezTo>
                    <a:cubicBezTo>
                      <a:pt x="56954" y="0"/>
                      <a:pt x="64548" y="1266"/>
                      <a:pt x="69610" y="3800"/>
                    </a:cubicBezTo>
                    <a:lnTo>
                      <a:pt x="68344" y="25335"/>
                    </a:lnTo>
                    <a:close/>
                  </a:path>
                </a:pathLst>
              </a:custGeom>
              <a:solidFill>
                <a:srgbClr val="FFFFFF"/>
              </a:solidFill>
              <a:ln w="12649" cap="flat">
                <a:noFill/>
                <a:prstDash val="solid"/>
                <a:miter/>
              </a:ln>
            </p:spPr>
            <p:txBody>
              <a:bodyPr rtlCol="0" anchor="ctr"/>
              <a:lstStyle/>
              <a:p>
                <a:pPr algn="l" rtl="0"/>
                <a:endParaRPr lang="en-US"/>
              </a:p>
            </p:txBody>
          </p:sp>
          <p:sp>
            <p:nvSpPr>
              <p:cNvPr id="659" name="Freeform 658">
                <a:extLst>
                  <a:ext uri="{FF2B5EF4-FFF2-40B4-BE49-F238E27FC236}">
                    <a16:creationId xmlns:a16="http://schemas.microsoft.com/office/drawing/2014/main" id="{351E61CA-9045-722C-B450-65941EA1A5BA}"/>
                  </a:ext>
                </a:extLst>
              </p:cNvPr>
              <p:cNvSpPr/>
              <p:nvPr/>
            </p:nvSpPr>
            <p:spPr>
              <a:xfrm>
                <a:off x="2767341" y="6240641"/>
                <a:ext cx="63281" cy="93740"/>
              </a:xfrm>
              <a:custGeom>
                <a:avLst/>
                <a:gdLst>
                  <a:gd name="connsiteX0" fmla="*/ 49360 w 63281"/>
                  <a:gd name="connsiteY0" fmla="*/ 24068 h 93740"/>
                  <a:gd name="connsiteX1" fmla="*/ 43032 w 63281"/>
                  <a:gd name="connsiteY1" fmla="*/ 24068 h 93740"/>
                  <a:gd name="connsiteX2" fmla="*/ 24047 w 63281"/>
                  <a:gd name="connsiteY2" fmla="*/ 44337 h 93740"/>
                  <a:gd name="connsiteX3" fmla="*/ 24047 w 63281"/>
                  <a:gd name="connsiteY3" fmla="*/ 93740 h 93740"/>
                  <a:gd name="connsiteX4" fmla="*/ 0 w 63281"/>
                  <a:gd name="connsiteY4" fmla="*/ 93740 h 93740"/>
                  <a:gd name="connsiteX5" fmla="*/ 0 w 63281"/>
                  <a:gd name="connsiteY5" fmla="*/ 2533 h 93740"/>
                  <a:gd name="connsiteX6" fmla="*/ 24047 w 63281"/>
                  <a:gd name="connsiteY6" fmla="*/ 2533 h 93740"/>
                  <a:gd name="connsiteX7" fmla="*/ 24047 w 63281"/>
                  <a:gd name="connsiteY7" fmla="*/ 12668 h 93740"/>
                  <a:gd name="connsiteX8" fmla="*/ 49360 w 63281"/>
                  <a:gd name="connsiteY8" fmla="*/ 0 h 93740"/>
                  <a:gd name="connsiteX9" fmla="*/ 63282 w 63281"/>
                  <a:gd name="connsiteY9" fmla="*/ 3800 h 93740"/>
                  <a:gd name="connsiteX10" fmla="*/ 49360 w 63281"/>
                  <a:gd name="connsiteY10" fmla="*/ 24068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281" h="93740">
                    <a:moveTo>
                      <a:pt x="49360" y="24068"/>
                    </a:moveTo>
                    <a:cubicBezTo>
                      <a:pt x="46829" y="24068"/>
                      <a:pt x="44297" y="24068"/>
                      <a:pt x="43032" y="24068"/>
                    </a:cubicBezTo>
                    <a:cubicBezTo>
                      <a:pt x="31641" y="24068"/>
                      <a:pt x="24047" y="30402"/>
                      <a:pt x="24047" y="44337"/>
                    </a:cubicBezTo>
                    <a:lnTo>
                      <a:pt x="24047" y="93740"/>
                    </a:lnTo>
                    <a:lnTo>
                      <a:pt x="0" y="93740"/>
                    </a:lnTo>
                    <a:lnTo>
                      <a:pt x="0" y="2533"/>
                    </a:lnTo>
                    <a:lnTo>
                      <a:pt x="24047" y="2533"/>
                    </a:lnTo>
                    <a:lnTo>
                      <a:pt x="24047" y="12668"/>
                    </a:lnTo>
                    <a:cubicBezTo>
                      <a:pt x="30376" y="3800"/>
                      <a:pt x="37969" y="0"/>
                      <a:pt x="49360" y="0"/>
                    </a:cubicBezTo>
                    <a:cubicBezTo>
                      <a:pt x="54423" y="0"/>
                      <a:pt x="59485" y="1267"/>
                      <a:pt x="63282" y="3800"/>
                    </a:cubicBezTo>
                    <a:lnTo>
                      <a:pt x="49360" y="24068"/>
                    </a:lnTo>
                    <a:close/>
                  </a:path>
                </a:pathLst>
              </a:custGeom>
              <a:solidFill>
                <a:srgbClr val="FFFFFF"/>
              </a:solidFill>
              <a:ln w="12649" cap="flat">
                <a:noFill/>
                <a:prstDash val="solid"/>
                <a:miter/>
              </a:ln>
            </p:spPr>
            <p:txBody>
              <a:bodyPr rtlCol="0" anchor="ctr"/>
              <a:lstStyle/>
              <a:p>
                <a:pPr algn="l" rtl="0"/>
                <a:endParaRPr lang="en-US"/>
              </a:p>
            </p:txBody>
          </p:sp>
          <p:sp>
            <p:nvSpPr>
              <p:cNvPr id="660" name="Freeform 659">
                <a:extLst>
                  <a:ext uri="{FF2B5EF4-FFF2-40B4-BE49-F238E27FC236}">
                    <a16:creationId xmlns:a16="http://schemas.microsoft.com/office/drawing/2014/main" id="{7AECDC5D-0EB7-D2A7-4C55-9CA2F9B797FD}"/>
                  </a:ext>
                </a:extLst>
              </p:cNvPr>
              <p:cNvSpPr/>
              <p:nvPr/>
            </p:nvSpPr>
            <p:spPr>
              <a:xfrm>
                <a:off x="2823030" y="6241848"/>
                <a:ext cx="91125" cy="95066"/>
              </a:xfrm>
              <a:custGeom>
                <a:avLst/>
                <a:gdLst>
                  <a:gd name="connsiteX0" fmla="*/ 91126 w 91125"/>
                  <a:gd name="connsiteY0" fmla="*/ 46930 h 95066"/>
                  <a:gd name="connsiteX1" fmla="*/ 91126 w 91125"/>
                  <a:gd name="connsiteY1" fmla="*/ 55797 h 95066"/>
                  <a:gd name="connsiteX2" fmla="*/ 26578 w 91125"/>
                  <a:gd name="connsiteY2" fmla="*/ 55797 h 95066"/>
                  <a:gd name="connsiteX3" fmla="*/ 49360 w 91125"/>
                  <a:gd name="connsiteY3" fmla="*/ 74799 h 95066"/>
                  <a:gd name="connsiteX4" fmla="*/ 72141 w 91125"/>
                  <a:gd name="connsiteY4" fmla="*/ 65931 h 95066"/>
                  <a:gd name="connsiteX5" fmla="*/ 86063 w 91125"/>
                  <a:gd name="connsiteY5" fmla="*/ 81133 h 95066"/>
                  <a:gd name="connsiteX6" fmla="*/ 46828 w 91125"/>
                  <a:gd name="connsiteY6" fmla="*/ 95067 h 95066"/>
                  <a:gd name="connsiteX7" fmla="*/ 0 w 91125"/>
                  <a:gd name="connsiteY7" fmla="*/ 48197 h 95066"/>
                  <a:gd name="connsiteX8" fmla="*/ 45563 w 91125"/>
                  <a:gd name="connsiteY8" fmla="*/ 60 h 95066"/>
                  <a:gd name="connsiteX9" fmla="*/ 91126 w 91125"/>
                  <a:gd name="connsiteY9" fmla="*/ 46930 h 95066"/>
                  <a:gd name="connsiteX10" fmla="*/ 26578 w 91125"/>
                  <a:gd name="connsiteY10" fmla="*/ 38063 h 95066"/>
                  <a:gd name="connsiteX11" fmla="*/ 67079 w 91125"/>
                  <a:gd name="connsiteY11" fmla="*/ 38063 h 95066"/>
                  <a:gd name="connsiteX12" fmla="*/ 46828 w 91125"/>
                  <a:gd name="connsiteY12" fmla="*/ 20328 h 95066"/>
                  <a:gd name="connsiteX13" fmla="*/ 26578 w 91125"/>
                  <a:gd name="connsiteY13" fmla="*/ 38063 h 9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25" h="95066">
                    <a:moveTo>
                      <a:pt x="91126" y="46930"/>
                    </a:moveTo>
                    <a:cubicBezTo>
                      <a:pt x="91126" y="49463"/>
                      <a:pt x="91126" y="53264"/>
                      <a:pt x="91126" y="55797"/>
                    </a:cubicBezTo>
                    <a:lnTo>
                      <a:pt x="26578" y="55797"/>
                    </a:lnTo>
                    <a:cubicBezTo>
                      <a:pt x="29110" y="68465"/>
                      <a:pt x="37969" y="74799"/>
                      <a:pt x="49360" y="74799"/>
                    </a:cubicBezTo>
                    <a:cubicBezTo>
                      <a:pt x="56954" y="74799"/>
                      <a:pt x="65813" y="70998"/>
                      <a:pt x="72141" y="65931"/>
                    </a:cubicBezTo>
                    <a:lnTo>
                      <a:pt x="86063" y="81133"/>
                    </a:lnTo>
                    <a:cubicBezTo>
                      <a:pt x="75938" y="90000"/>
                      <a:pt x="63282" y="95067"/>
                      <a:pt x="46828" y="95067"/>
                    </a:cubicBezTo>
                    <a:cubicBezTo>
                      <a:pt x="18985" y="95067"/>
                      <a:pt x="0" y="76066"/>
                      <a:pt x="0" y="48197"/>
                    </a:cubicBezTo>
                    <a:cubicBezTo>
                      <a:pt x="0" y="19061"/>
                      <a:pt x="18985" y="60"/>
                      <a:pt x="45563" y="60"/>
                    </a:cubicBezTo>
                    <a:cubicBezTo>
                      <a:pt x="73407" y="-1207"/>
                      <a:pt x="91126" y="17794"/>
                      <a:pt x="91126" y="46930"/>
                    </a:cubicBezTo>
                    <a:close/>
                    <a:moveTo>
                      <a:pt x="26578" y="38063"/>
                    </a:moveTo>
                    <a:lnTo>
                      <a:pt x="67079" y="38063"/>
                    </a:lnTo>
                    <a:cubicBezTo>
                      <a:pt x="64547" y="26661"/>
                      <a:pt x="58219" y="20328"/>
                      <a:pt x="46828" y="20328"/>
                    </a:cubicBezTo>
                    <a:cubicBezTo>
                      <a:pt x="35438" y="20328"/>
                      <a:pt x="29110" y="26661"/>
                      <a:pt x="26578" y="38063"/>
                    </a:cubicBezTo>
                    <a:close/>
                  </a:path>
                </a:pathLst>
              </a:custGeom>
              <a:solidFill>
                <a:srgbClr val="FFFFFF"/>
              </a:solidFill>
              <a:ln w="12649" cap="flat">
                <a:noFill/>
                <a:prstDash val="solid"/>
                <a:miter/>
              </a:ln>
            </p:spPr>
            <p:txBody>
              <a:bodyPr rtlCol="0" anchor="ctr"/>
              <a:lstStyle/>
              <a:p>
                <a:pPr algn="l" rtl="0"/>
                <a:endParaRPr lang="en-US"/>
              </a:p>
            </p:txBody>
          </p:sp>
          <p:sp>
            <p:nvSpPr>
              <p:cNvPr id="661" name="Freeform 660">
                <a:extLst>
                  <a:ext uri="{FF2B5EF4-FFF2-40B4-BE49-F238E27FC236}">
                    <a16:creationId xmlns:a16="http://schemas.microsoft.com/office/drawing/2014/main" id="{3AB96E42-5AF9-F059-E179-4EE745814F13}"/>
                  </a:ext>
                </a:extLst>
              </p:cNvPr>
              <p:cNvSpPr/>
              <p:nvPr/>
            </p:nvSpPr>
            <p:spPr>
              <a:xfrm>
                <a:off x="2919218" y="6241848"/>
                <a:ext cx="91126" cy="95066"/>
              </a:xfrm>
              <a:custGeom>
                <a:avLst/>
                <a:gdLst>
                  <a:gd name="connsiteX0" fmla="*/ 91126 w 91126"/>
                  <a:gd name="connsiteY0" fmla="*/ 46930 h 95066"/>
                  <a:gd name="connsiteX1" fmla="*/ 91126 w 91126"/>
                  <a:gd name="connsiteY1" fmla="*/ 55797 h 95066"/>
                  <a:gd name="connsiteX2" fmla="*/ 26578 w 91126"/>
                  <a:gd name="connsiteY2" fmla="*/ 55797 h 95066"/>
                  <a:gd name="connsiteX3" fmla="*/ 49360 w 91126"/>
                  <a:gd name="connsiteY3" fmla="*/ 74799 h 95066"/>
                  <a:gd name="connsiteX4" fmla="*/ 72142 w 91126"/>
                  <a:gd name="connsiteY4" fmla="*/ 65931 h 95066"/>
                  <a:gd name="connsiteX5" fmla="*/ 86064 w 91126"/>
                  <a:gd name="connsiteY5" fmla="*/ 81133 h 95066"/>
                  <a:gd name="connsiteX6" fmla="*/ 46829 w 91126"/>
                  <a:gd name="connsiteY6" fmla="*/ 95067 h 95066"/>
                  <a:gd name="connsiteX7" fmla="*/ 0 w 91126"/>
                  <a:gd name="connsiteY7" fmla="*/ 48197 h 95066"/>
                  <a:gd name="connsiteX8" fmla="*/ 45563 w 91126"/>
                  <a:gd name="connsiteY8" fmla="*/ 60 h 95066"/>
                  <a:gd name="connsiteX9" fmla="*/ 91126 w 91126"/>
                  <a:gd name="connsiteY9" fmla="*/ 46930 h 95066"/>
                  <a:gd name="connsiteX10" fmla="*/ 26578 w 91126"/>
                  <a:gd name="connsiteY10" fmla="*/ 38063 h 95066"/>
                  <a:gd name="connsiteX11" fmla="*/ 67079 w 91126"/>
                  <a:gd name="connsiteY11" fmla="*/ 38063 h 95066"/>
                  <a:gd name="connsiteX12" fmla="*/ 46829 w 91126"/>
                  <a:gd name="connsiteY12" fmla="*/ 20328 h 95066"/>
                  <a:gd name="connsiteX13" fmla="*/ 26578 w 91126"/>
                  <a:gd name="connsiteY13" fmla="*/ 38063 h 9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26" h="95066">
                    <a:moveTo>
                      <a:pt x="91126" y="46930"/>
                    </a:moveTo>
                    <a:cubicBezTo>
                      <a:pt x="91126" y="49463"/>
                      <a:pt x="91126" y="53264"/>
                      <a:pt x="91126" y="55797"/>
                    </a:cubicBezTo>
                    <a:lnTo>
                      <a:pt x="26578" y="55797"/>
                    </a:lnTo>
                    <a:cubicBezTo>
                      <a:pt x="29110" y="68465"/>
                      <a:pt x="37969" y="74799"/>
                      <a:pt x="49360" y="74799"/>
                    </a:cubicBezTo>
                    <a:cubicBezTo>
                      <a:pt x="56954" y="74799"/>
                      <a:pt x="65813" y="70998"/>
                      <a:pt x="72142" y="65931"/>
                    </a:cubicBezTo>
                    <a:lnTo>
                      <a:pt x="86064" y="81133"/>
                    </a:lnTo>
                    <a:cubicBezTo>
                      <a:pt x="75938" y="90000"/>
                      <a:pt x="63282" y="95067"/>
                      <a:pt x="46829" y="95067"/>
                    </a:cubicBezTo>
                    <a:cubicBezTo>
                      <a:pt x="18985" y="95067"/>
                      <a:pt x="0" y="76066"/>
                      <a:pt x="0" y="48197"/>
                    </a:cubicBezTo>
                    <a:cubicBezTo>
                      <a:pt x="0" y="19061"/>
                      <a:pt x="18985" y="60"/>
                      <a:pt x="45563" y="60"/>
                    </a:cubicBezTo>
                    <a:cubicBezTo>
                      <a:pt x="73407" y="-1207"/>
                      <a:pt x="91126" y="17794"/>
                      <a:pt x="91126" y="46930"/>
                    </a:cubicBezTo>
                    <a:close/>
                    <a:moveTo>
                      <a:pt x="26578" y="38063"/>
                    </a:moveTo>
                    <a:lnTo>
                      <a:pt x="67079" y="38063"/>
                    </a:lnTo>
                    <a:cubicBezTo>
                      <a:pt x="64548" y="26661"/>
                      <a:pt x="58219" y="20328"/>
                      <a:pt x="46829" y="20328"/>
                    </a:cubicBezTo>
                    <a:cubicBezTo>
                      <a:pt x="35438" y="20328"/>
                      <a:pt x="29110" y="26661"/>
                      <a:pt x="26578" y="38063"/>
                    </a:cubicBezTo>
                    <a:close/>
                  </a:path>
                </a:pathLst>
              </a:custGeom>
              <a:solidFill>
                <a:srgbClr val="FFFFFF"/>
              </a:solidFill>
              <a:ln w="12649" cap="flat">
                <a:noFill/>
                <a:prstDash val="solid"/>
                <a:miter/>
              </a:ln>
            </p:spPr>
            <p:txBody>
              <a:bodyPr rtlCol="0" anchor="ctr"/>
              <a:lstStyle/>
              <a:p>
                <a:pPr algn="l" rtl="0"/>
                <a:endParaRPr lang="en-US"/>
              </a:p>
            </p:txBody>
          </p:sp>
          <p:sp>
            <p:nvSpPr>
              <p:cNvPr id="662" name="Freeform 661">
                <a:extLst>
                  <a:ext uri="{FF2B5EF4-FFF2-40B4-BE49-F238E27FC236}">
                    <a16:creationId xmlns:a16="http://schemas.microsoft.com/office/drawing/2014/main" id="{1924172E-D236-028D-FCA3-820E7EA16C08}"/>
                  </a:ext>
                </a:extLst>
              </p:cNvPr>
              <p:cNvSpPr/>
              <p:nvPr/>
            </p:nvSpPr>
            <p:spPr>
              <a:xfrm>
                <a:off x="3021735" y="6241852"/>
                <a:ext cx="94922" cy="130532"/>
              </a:xfrm>
              <a:custGeom>
                <a:avLst/>
                <a:gdLst>
                  <a:gd name="connsiteX0" fmla="*/ 94923 w 94922"/>
                  <a:gd name="connsiteY0" fmla="*/ 46926 h 130532"/>
                  <a:gd name="connsiteX1" fmla="*/ 50626 w 94922"/>
                  <a:gd name="connsiteY1" fmla="*/ 95064 h 130532"/>
                  <a:gd name="connsiteX2" fmla="*/ 24047 w 94922"/>
                  <a:gd name="connsiteY2" fmla="*/ 83662 h 130532"/>
                  <a:gd name="connsiteX3" fmla="*/ 24047 w 94922"/>
                  <a:gd name="connsiteY3" fmla="*/ 130533 h 130532"/>
                  <a:gd name="connsiteX4" fmla="*/ 0 w 94922"/>
                  <a:gd name="connsiteY4" fmla="*/ 130533 h 130532"/>
                  <a:gd name="connsiteX5" fmla="*/ 0 w 94922"/>
                  <a:gd name="connsiteY5" fmla="*/ 2590 h 130532"/>
                  <a:gd name="connsiteX6" fmla="*/ 24047 w 94922"/>
                  <a:gd name="connsiteY6" fmla="*/ 2590 h 130532"/>
                  <a:gd name="connsiteX7" fmla="*/ 24047 w 94922"/>
                  <a:gd name="connsiteY7" fmla="*/ 12724 h 130532"/>
                  <a:gd name="connsiteX8" fmla="*/ 50626 w 94922"/>
                  <a:gd name="connsiteY8" fmla="*/ 56 h 130532"/>
                  <a:gd name="connsiteX9" fmla="*/ 94923 w 94922"/>
                  <a:gd name="connsiteY9" fmla="*/ 46926 h 130532"/>
                  <a:gd name="connsiteX10" fmla="*/ 22782 w 94922"/>
                  <a:gd name="connsiteY10" fmla="*/ 46926 h 130532"/>
                  <a:gd name="connsiteX11" fmla="*/ 45563 w 94922"/>
                  <a:gd name="connsiteY11" fmla="*/ 72262 h 130532"/>
                  <a:gd name="connsiteX12" fmla="*/ 68344 w 94922"/>
                  <a:gd name="connsiteY12" fmla="*/ 46926 h 130532"/>
                  <a:gd name="connsiteX13" fmla="*/ 45563 w 94922"/>
                  <a:gd name="connsiteY13" fmla="*/ 21591 h 130532"/>
                  <a:gd name="connsiteX14" fmla="*/ 22782 w 94922"/>
                  <a:gd name="connsiteY14" fmla="*/ 46926 h 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922" h="130532">
                    <a:moveTo>
                      <a:pt x="94923" y="46926"/>
                    </a:moveTo>
                    <a:cubicBezTo>
                      <a:pt x="94923" y="74795"/>
                      <a:pt x="75938" y="95064"/>
                      <a:pt x="50626" y="95064"/>
                    </a:cubicBezTo>
                    <a:cubicBezTo>
                      <a:pt x="37969" y="95064"/>
                      <a:pt x="30375" y="89996"/>
                      <a:pt x="24047" y="83662"/>
                    </a:cubicBezTo>
                    <a:lnTo>
                      <a:pt x="24047" y="130533"/>
                    </a:lnTo>
                    <a:lnTo>
                      <a:pt x="0" y="130533"/>
                    </a:lnTo>
                    <a:lnTo>
                      <a:pt x="0" y="2590"/>
                    </a:lnTo>
                    <a:lnTo>
                      <a:pt x="24047" y="2590"/>
                    </a:lnTo>
                    <a:lnTo>
                      <a:pt x="24047" y="12724"/>
                    </a:lnTo>
                    <a:cubicBezTo>
                      <a:pt x="30375" y="5123"/>
                      <a:pt x="39235" y="56"/>
                      <a:pt x="50626" y="56"/>
                    </a:cubicBezTo>
                    <a:cubicBezTo>
                      <a:pt x="75938" y="-1211"/>
                      <a:pt x="94923" y="19058"/>
                      <a:pt x="94923" y="46926"/>
                    </a:cubicBezTo>
                    <a:close/>
                    <a:moveTo>
                      <a:pt x="22782" y="46926"/>
                    </a:moveTo>
                    <a:cubicBezTo>
                      <a:pt x="22782" y="60861"/>
                      <a:pt x="31641" y="72262"/>
                      <a:pt x="45563" y="72262"/>
                    </a:cubicBezTo>
                    <a:cubicBezTo>
                      <a:pt x="59485" y="72262"/>
                      <a:pt x="68344" y="60861"/>
                      <a:pt x="68344" y="46926"/>
                    </a:cubicBezTo>
                    <a:cubicBezTo>
                      <a:pt x="68344" y="32992"/>
                      <a:pt x="59485" y="21591"/>
                      <a:pt x="45563" y="21591"/>
                    </a:cubicBezTo>
                    <a:cubicBezTo>
                      <a:pt x="31641" y="21591"/>
                      <a:pt x="22782" y="32992"/>
                      <a:pt x="22782" y="46926"/>
                    </a:cubicBezTo>
                    <a:close/>
                  </a:path>
                </a:pathLst>
              </a:custGeom>
              <a:solidFill>
                <a:srgbClr val="FFFFFF"/>
              </a:solidFill>
              <a:ln w="12649" cap="flat">
                <a:noFill/>
                <a:prstDash val="solid"/>
                <a:miter/>
              </a:ln>
            </p:spPr>
            <p:txBody>
              <a:bodyPr rtlCol="0" anchor="ctr"/>
              <a:lstStyle/>
              <a:p>
                <a:pPr algn="l" rtl="0"/>
                <a:endParaRPr lang="en-US"/>
              </a:p>
            </p:txBody>
          </p:sp>
          <p:sp>
            <p:nvSpPr>
              <p:cNvPr id="663" name="Freeform 662">
                <a:extLst>
                  <a:ext uri="{FF2B5EF4-FFF2-40B4-BE49-F238E27FC236}">
                    <a16:creationId xmlns:a16="http://schemas.microsoft.com/office/drawing/2014/main" id="{879A85CF-01B5-4A40-390C-2EB81B418DA2}"/>
                  </a:ext>
                </a:extLst>
              </p:cNvPr>
              <p:cNvSpPr/>
              <p:nvPr/>
            </p:nvSpPr>
            <p:spPr>
              <a:xfrm>
                <a:off x="3125517" y="6198699"/>
                <a:ext cx="30375" cy="135682"/>
              </a:xfrm>
              <a:custGeom>
                <a:avLst/>
                <a:gdLst>
                  <a:gd name="connsiteX0" fmla="*/ 30375 w 30375"/>
                  <a:gd name="connsiteY0" fmla="*/ 15340 h 135682"/>
                  <a:gd name="connsiteX1" fmla="*/ 15187 w 30375"/>
                  <a:gd name="connsiteY1" fmla="*/ 30541 h 135682"/>
                  <a:gd name="connsiteX2" fmla="*/ 0 w 30375"/>
                  <a:gd name="connsiteY2" fmla="*/ 15340 h 135682"/>
                  <a:gd name="connsiteX3" fmla="*/ 15187 w 30375"/>
                  <a:gd name="connsiteY3" fmla="*/ 139 h 135682"/>
                  <a:gd name="connsiteX4" fmla="*/ 30375 w 30375"/>
                  <a:gd name="connsiteY4" fmla="*/ 15340 h 135682"/>
                  <a:gd name="connsiteX5" fmla="*/ 26578 w 30375"/>
                  <a:gd name="connsiteY5" fmla="*/ 135682 h 135682"/>
                  <a:gd name="connsiteX6" fmla="*/ 2531 w 30375"/>
                  <a:gd name="connsiteY6" fmla="*/ 135682 h 135682"/>
                  <a:gd name="connsiteX7" fmla="*/ 2531 w 30375"/>
                  <a:gd name="connsiteY7" fmla="*/ 44475 h 135682"/>
                  <a:gd name="connsiteX8" fmla="*/ 26578 w 30375"/>
                  <a:gd name="connsiteY8" fmla="*/ 44475 h 135682"/>
                  <a:gd name="connsiteX9" fmla="*/ 26578 w 30375"/>
                  <a:gd name="connsiteY9" fmla="*/ 135682 h 135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75" h="135682">
                    <a:moveTo>
                      <a:pt x="30375" y="15340"/>
                    </a:moveTo>
                    <a:cubicBezTo>
                      <a:pt x="30375" y="24207"/>
                      <a:pt x="24047" y="30541"/>
                      <a:pt x="15187" y="30541"/>
                    </a:cubicBezTo>
                    <a:cubicBezTo>
                      <a:pt x="6328" y="30541"/>
                      <a:pt x="0" y="24207"/>
                      <a:pt x="0" y="15340"/>
                    </a:cubicBezTo>
                    <a:cubicBezTo>
                      <a:pt x="0" y="6472"/>
                      <a:pt x="6328" y="139"/>
                      <a:pt x="15187" y="139"/>
                    </a:cubicBezTo>
                    <a:cubicBezTo>
                      <a:pt x="22781" y="-1128"/>
                      <a:pt x="30375" y="6472"/>
                      <a:pt x="30375" y="15340"/>
                    </a:cubicBezTo>
                    <a:close/>
                    <a:moveTo>
                      <a:pt x="26578" y="135682"/>
                    </a:moveTo>
                    <a:lnTo>
                      <a:pt x="2531" y="135682"/>
                    </a:lnTo>
                    <a:lnTo>
                      <a:pt x="2531" y="44475"/>
                    </a:lnTo>
                    <a:lnTo>
                      <a:pt x="26578" y="44475"/>
                    </a:lnTo>
                    <a:lnTo>
                      <a:pt x="26578" y="135682"/>
                    </a:lnTo>
                    <a:close/>
                  </a:path>
                </a:pathLst>
              </a:custGeom>
              <a:solidFill>
                <a:srgbClr val="FFFFFF"/>
              </a:solidFill>
              <a:ln w="12649" cap="flat">
                <a:noFill/>
                <a:prstDash val="solid"/>
                <a:miter/>
              </a:ln>
            </p:spPr>
            <p:txBody>
              <a:bodyPr rtlCol="0" anchor="ctr"/>
              <a:lstStyle/>
              <a:p>
                <a:pPr algn="l" rtl="0"/>
                <a:endParaRPr lang="en-US"/>
              </a:p>
            </p:txBody>
          </p:sp>
          <p:sp>
            <p:nvSpPr>
              <p:cNvPr id="664" name="Freeform 663">
                <a:extLst>
                  <a:ext uri="{FF2B5EF4-FFF2-40B4-BE49-F238E27FC236}">
                    <a16:creationId xmlns:a16="http://schemas.microsoft.com/office/drawing/2014/main" id="{B71EAA5E-D692-8BF5-9FCC-4BE214241D1E}"/>
                  </a:ext>
                </a:extLst>
              </p:cNvPr>
              <p:cNvSpPr/>
              <p:nvPr/>
            </p:nvSpPr>
            <p:spPr>
              <a:xfrm>
                <a:off x="3168549" y="6201371"/>
                <a:ext cx="88594" cy="134277"/>
              </a:xfrm>
              <a:custGeom>
                <a:avLst/>
                <a:gdLst>
                  <a:gd name="connsiteX0" fmla="*/ 24047 w 88594"/>
                  <a:gd name="connsiteY0" fmla="*/ 74739 h 134277"/>
                  <a:gd name="connsiteX1" fmla="*/ 58219 w 88594"/>
                  <a:gd name="connsiteY1" fmla="*/ 43070 h 134277"/>
                  <a:gd name="connsiteX2" fmla="*/ 88595 w 88594"/>
                  <a:gd name="connsiteY2" fmla="*/ 43070 h 134277"/>
                  <a:gd name="connsiteX3" fmla="*/ 44297 w 88594"/>
                  <a:gd name="connsiteY3" fmla="*/ 86140 h 134277"/>
                  <a:gd name="connsiteX4" fmla="*/ 88595 w 88594"/>
                  <a:gd name="connsiteY4" fmla="*/ 134277 h 134277"/>
                  <a:gd name="connsiteX5" fmla="*/ 58219 w 88594"/>
                  <a:gd name="connsiteY5" fmla="*/ 134277 h 134277"/>
                  <a:gd name="connsiteX6" fmla="*/ 24047 w 88594"/>
                  <a:gd name="connsiteY6" fmla="*/ 97541 h 134277"/>
                  <a:gd name="connsiteX7" fmla="*/ 24047 w 88594"/>
                  <a:gd name="connsiteY7" fmla="*/ 134277 h 134277"/>
                  <a:gd name="connsiteX8" fmla="*/ 0 w 88594"/>
                  <a:gd name="connsiteY8" fmla="*/ 134277 h 134277"/>
                  <a:gd name="connsiteX9" fmla="*/ 0 w 88594"/>
                  <a:gd name="connsiteY9" fmla="*/ 0 h 134277"/>
                  <a:gd name="connsiteX10" fmla="*/ 24047 w 88594"/>
                  <a:gd name="connsiteY10" fmla="*/ 0 h 134277"/>
                  <a:gd name="connsiteX11" fmla="*/ 24047 w 88594"/>
                  <a:gd name="connsiteY11" fmla="*/ 74739 h 134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94" h="134277">
                    <a:moveTo>
                      <a:pt x="24047" y="74739"/>
                    </a:moveTo>
                    <a:lnTo>
                      <a:pt x="58219" y="43070"/>
                    </a:lnTo>
                    <a:lnTo>
                      <a:pt x="88595" y="43070"/>
                    </a:lnTo>
                    <a:lnTo>
                      <a:pt x="44297" y="86140"/>
                    </a:lnTo>
                    <a:lnTo>
                      <a:pt x="88595" y="134277"/>
                    </a:lnTo>
                    <a:lnTo>
                      <a:pt x="58219" y="134277"/>
                    </a:lnTo>
                    <a:lnTo>
                      <a:pt x="24047" y="97541"/>
                    </a:lnTo>
                    <a:lnTo>
                      <a:pt x="24047" y="134277"/>
                    </a:lnTo>
                    <a:lnTo>
                      <a:pt x="0" y="134277"/>
                    </a:lnTo>
                    <a:lnTo>
                      <a:pt x="0" y="0"/>
                    </a:lnTo>
                    <a:lnTo>
                      <a:pt x="24047" y="0"/>
                    </a:lnTo>
                    <a:lnTo>
                      <a:pt x="24047" y="74739"/>
                    </a:lnTo>
                    <a:close/>
                  </a:path>
                </a:pathLst>
              </a:custGeom>
              <a:solidFill>
                <a:srgbClr val="FFFFFF"/>
              </a:solidFill>
              <a:ln w="12649" cap="flat">
                <a:noFill/>
                <a:prstDash val="solid"/>
                <a:miter/>
              </a:ln>
            </p:spPr>
            <p:txBody>
              <a:bodyPr rtlCol="0" anchor="ctr"/>
              <a:lstStyle/>
              <a:p>
                <a:pPr algn="l" rtl="0"/>
                <a:endParaRPr lang="en-US"/>
              </a:p>
            </p:txBody>
          </p:sp>
        </p:grpSp>
        <p:grpSp>
          <p:nvGrpSpPr>
            <p:cNvPr id="665" name="Graphic 6">
              <a:extLst>
                <a:ext uri="{FF2B5EF4-FFF2-40B4-BE49-F238E27FC236}">
                  <a16:creationId xmlns:a16="http://schemas.microsoft.com/office/drawing/2014/main" id="{EAF7253D-DCE0-306A-56C0-434CCC92A528}"/>
                </a:ext>
              </a:extLst>
            </p:cNvPr>
            <p:cNvGrpSpPr/>
            <p:nvPr/>
          </p:nvGrpSpPr>
          <p:grpSpPr>
            <a:xfrm>
              <a:off x="1459938" y="6207705"/>
              <a:ext cx="946696" cy="162145"/>
              <a:chOff x="1459938" y="6207705"/>
              <a:chExt cx="946696" cy="162145"/>
            </a:xfrm>
            <a:solidFill>
              <a:srgbClr val="FFFFFF"/>
            </a:solidFill>
          </p:grpSpPr>
          <p:sp>
            <p:nvSpPr>
              <p:cNvPr id="666" name="Freeform 665">
                <a:extLst>
                  <a:ext uri="{FF2B5EF4-FFF2-40B4-BE49-F238E27FC236}">
                    <a16:creationId xmlns:a16="http://schemas.microsoft.com/office/drawing/2014/main" id="{E8005837-3197-1BB5-94BD-FAFBFEFA10C8}"/>
                  </a:ext>
                </a:extLst>
              </p:cNvPr>
              <p:cNvSpPr/>
              <p:nvPr/>
            </p:nvSpPr>
            <p:spPr>
              <a:xfrm>
                <a:off x="1459938" y="6207705"/>
                <a:ext cx="83532" cy="126676"/>
              </a:xfrm>
              <a:custGeom>
                <a:avLst/>
                <a:gdLst>
                  <a:gd name="connsiteX0" fmla="*/ 69610 w 83532"/>
                  <a:gd name="connsiteY0" fmla="*/ 125410 h 126676"/>
                  <a:gd name="connsiteX1" fmla="*/ 69610 w 83532"/>
                  <a:gd name="connsiteY1" fmla="*/ 111475 h 126676"/>
                  <a:gd name="connsiteX2" fmla="*/ 39235 w 83532"/>
                  <a:gd name="connsiteY2" fmla="*/ 126676 h 126676"/>
                  <a:gd name="connsiteX3" fmla="*/ 0 w 83532"/>
                  <a:gd name="connsiteY3" fmla="*/ 79806 h 126676"/>
                  <a:gd name="connsiteX4" fmla="*/ 39235 w 83532"/>
                  <a:gd name="connsiteY4" fmla="*/ 32936 h 126676"/>
                  <a:gd name="connsiteX5" fmla="*/ 69610 w 83532"/>
                  <a:gd name="connsiteY5" fmla="*/ 48137 h 126676"/>
                  <a:gd name="connsiteX6" fmla="*/ 69610 w 83532"/>
                  <a:gd name="connsiteY6" fmla="*/ 0 h 126676"/>
                  <a:gd name="connsiteX7" fmla="*/ 83532 w 83532"/>
                  <a:gd name="connsiteY7" fmla="*/ 0 h 126676"/>
                  <a:gd name="connsiteX8" fmla="*/ 83532 w 83532"/>
                  <a:gd name="connsiteY8" fmla="*/ 124143 h 126676"/>
                  <a:gd name="connsiteX9" fmla="*/ 69610 w 83532"/>
                  <a:gd name="connsiteY9" fmla="*/ 124143 h 126676"/>
                  <a:gd name="connsiteX10" fmla="*/ 69610 w 83532"/>
                  <a:gd name="connsiteY10" fmla="*/ 101341 h 126676"/>
                  <a:gd name="connsiteX11" fmla="*/ 69610 w 83532"/>
                  <a:gd name="connsiteY11" fmla="*/ 60805 h 126676"/>
                  <a:gd name="connsiteX12" fmla="*/ 43032 w 83532"/>
                  <a:gd name="connsiteY12" fmla="*/ 46870 h 126676"/>
                  <a:gd name="connsiteX13" fmla="*/ 13922 w 83532"/>
                  <a:gd name="connsiteY13" fmla="*/ 81073 h 126676"/>
                  <a:gd name="connsiteX14" fmla="*/ 43032 w 83532"/>
                  <a:gd name="connsiteY14" fmla="*/ 115276 h 126676"/>
                  <a:gd name="connsiteX15" fmla="*/ 69610 w 83532"/>
                  <a:gd name="connsiteY15" fmla="*/ 101341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2" h="126676">
                    <a:moveTo>
                      <a:pt x="69610" y="125410"/>
                    </a:moveTo>
                    <a:lnTo>
                      <a:pt x="69610" y="111475"/>
                    </a:lnTo>
                    <a:cubicBezTo>
                      <a:pt x="63282" y="120343"/>
                      <a:pt x="51891" y="126676"/>
                      <a:pt x="39235" y="126676"/>
                    </a:cubicBezTo>
                    <a:cubicBezTo>
                      <a:pt x="16453" y="126676"/>
                      <a:pt x="0" y="108942"/>
                      <a:pt x="0" y="79806"/>
                    </a:cubicBezTo>
                    <a:cubicBezTo>
                      <a:pt x="0" y="50671"/>
                      <a:pt x="16453" y="32936"/>
                      <a:pt x="39235" y="32936"/>
                    </a:cubicBezTo>
                    <a:cubicBezTo>
                      <a:pt x="51891" y="32936"/>
                      <a:pt x="62016" y="39270"/>
                      <a:pt x="69610" y="48137"/>
                    </a:cubicBezTo>
                    <a:lnTo>
                      <a:pt x="69610" y="0"/>
                    </a:lnTo>
                    <a:lnTo>
                      <a:pt x="83532" y="0"/>
                    </a:lnTo>
                    <a:lnTo>
                      <a:pt x="83532" y="124143"/>
                    </a:lnTo>
                    <a:lnTo>
                      <a:pt x="69610" y="124143"/>
                    </a:lnTo>
                    <a:close/>
                    <a:moveTo>
                      <a:pt x="69610" y="101341"/>
                    </a:moveTo>
                    <a:lnTo>
                      <a:pt x="69610" y="60805"/>
                    </a:lnTo>
                    <a:cubicBezTo>
                      <a:pt x="64548" y="53204"/>
                      <a:pt x="54422" y="46870"/>
                      <a:pt x="43032" y="46870"/>
                    </a:cubicBezTo>
                    <a:cubicBezTo>
                      <a:pt x="25313" y="46870"/>
                      <a:pt x="13922" y="62071"/>
                      <a:pt x="13922" y="81073"/>
                    </a:cubicBezTo>
                    <a:cubicBezTo>
                      <a:pt x="13922" y="101341"/>
                      <a:pt x="24047" y="115276"/>
                      <a:pt x="43032" y="115276"/>
                    </a:cubicBezTo>
                    <a:cubicBezTo>
                      <a:pt x="54422" y="115276"/>
                      <a:pt x="64548" y="108942"/>
                      <a:pt x="69610" y="101341"/>
                    </a:cubicBezTo>
                    <a:close/>
                  </a:path>
                </a:pathLst>
              </a:custGeom>
              <a:solidFill>
                <a:srgbClr val="FFFFFF"/>
              </a:solidFill>
              <a:ln w="12649" cap="flat">
                <a:noFill/>
                <a:prstDash val="solid"/>
                <a:miter/>
              </a:ln>
            </p:spPr>
            <p:txBody>
              <a:bodyPr rtlCol="0" anchor="ctr"/>
              <a:lstStyle/>
              <a:p>
                <a:pPr algn="l" rtl="0"/>
                <a:endParaRPr lang="en-US"/>
              </a:p>
            </p:txBody>
          </p:sp>
          <p:sp>
            <p:nvSpPr>
              <p:cNvPr id="667" name="Freeform 666">
                <a:extLst>
                  <a:ext uri="{FF2B5EF4-FFF2-40B4-BE49-F238E27FC236}">
                    <a16:creationId xmlns:a16="http://schemas.microsoft.com/office/drawing/2014/main" id="{E94A77C3-6080-717E-7B04-37DAD5DC80C3}"/>
                  </a:ext>
                </a:extLst>
              </p:cNvPr>
              <p:cNvSpPr/>
              <p:nvPr/>
            </p:nvSpPr>
            <p:spPr>
              <a:xfrm>
                <a:off x="1561189" y="6241908"/>
                <a:ext cx="87328" cy="93740"/>
              </a:xfrm>
              <a:custGeom>
                <a:avLst/>
                <a:gdLst>
                  <a:gd name="connsiteX0" fmla="*/ 0 w 87328"/>
                  <a:gd name="connsiteY0" fmla="*/ 46870 h 93740"/>
                  <a:gd name="connsiteX1" fmla="*/ 44297 w 87328"/>
                  <a:gd name="connsiteY1" fmla="*/ 0 h 93740"/>
                  <a:gd name="connsiteX2" fmla="*/ 87329 w 87328"/>
                  <a:gd name="connsiteY2" fmla="*/ 48137 h 93740"/>
                  <a:gd name="connsiteX3" fmla="*/ 87329 w 87328"/>
                  <a:gd name="connsiteY3" fmla="*/ 51937 h 93740"/>
                  <a:gd name="connsiteX4" fmla="*/ 15188 w 87328"/>
                  <a:gd name="connsiteY4" fmla="*/ 51937 h 93740"/>
                  <a:gd name="connsiteX5" fmla="*/ 46829 w 87328"/>
                  <a:gd name="connsiteY5" fmla="*/ 82340 h 93740"/>
                  <a:gd name="connsiteX6" fmla="*/ 74673 w 87328"/>
                  <a:gd name="connsiteY6" fmla="*/ 70938 h 93740"/>
                  <a:gd name="connsiteX7" fmla="*/ 81001 w 87328"/>
                  <a:gd name="connsiteY7" fmla="*/ 79806 h 93740"/>
                  <a:gd name="connsiteX8" fmla="*/ 45563 w 87328"/>
                  <a:gd name="connsiteY8" fmla="*/ 93740 h 93740"/>
                  <a:gd name="connsiteX9" fmla="*/ 0 w 87328"/>
                  <a:gd name="connsiteY9" fmla="*/ 46870 h 93740"/>
                  <a:gd name="connsiteX10" fmla="*/ 44297 w 87328"/>
                  <a:gd name="connsiteY10" fmla="*/ 11401 h 93740"/>
                  <a:gd name="connsiteX11" fmla="*/ 15188 w 87328"/>
                  <a:gd name="connsiteY11" fmla="*/ 41803 h 93740"/>
                  <a:gd name="connsiteX12" fmla="*/ 73407 w 87328"/>
                  <a:gd name="connsiteY12" fmla="*/ 41803 h 93740"/>
                  <a:gd name="connsiteX13" fmla="*/ 44297 w 87328"/>
                  <a:gd name="connsiteY13" fmla="*/ 11401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328" h="93740">
                    <a:moveTo>
                      <a:pt x="0" y="46870"/>
                    </a:moveTo>
                    <a:cubicBezTo>
                      <a:pt x="0" y="21535"/>
                      <a:pt x="18985" y="0"/>
                      <a:pt x="44297" y="0"/>
                    </a:cubicBezTo>
                    <a:cubicBezTo>
                      <a:pt x="70876" y="0"/>
                      <a:pt x="87329" y="21535"/>
                      <a:pt x="87329" y="48137"/>
                    </a:cubicBezTo>
                    <a:lnTo>
                      <a:pt x="87329" y="51937"/>
                    </a:lnTo>
                    <a:lnTo>
                      <a:pt x="15188" y="51937"/>
                    </a:lnTo>
                    <a:cubicBezTo>
                      <a:pt x="16453" y="68405"/>
                      <a:pt x="27844" y="82340"/>
                      <a:pt x="46829" y="82340"/>
                    </a:cubicBezTo>
                    <a:cubicBezTo>
                      <a:pt x="56954" y="82340"/>
                      <a:pt x="67079" y="78539"/>
                      <a:pt x="74673" y="70938"/>
                    </a:cubicBezTo>
                    <a:lnTo>
                      <a:pt x="81001" y="79806"/>
                    </a:lnTo>
                    <a:cubicBezTo>
                      <a:pt x="72142" y="88673"/>
                      <a:pt x="59485" y="93740"/>
                      <a:pt x="45563" y="93740"/>
                    </a:cubicBezTo>
                    <a:cubicBezTo>
                      <a:pt x="18985" y="93740"/>
                      <a:pt x="0" y="74739"/>
                      <a:pt x="0" y="46870"/>
                    </a:cubicBezTo>
                    <a:close/>
                    <a:moveTo>
                      <a:pt x="44297" y="11401"/>
                    </a:moveTo>
                    <a:cubicBezTo>
                      <a:pt x="25313" y="11401"/>
                      <a:pt x="15188" y="27869"/>
                      <a:pt x="15188" y="41803"/>
                    </a:cubicBezTo>
                    <a:lnTo>
                      <a:pt x="73407" y="41803"/>
                    </a:lnTo>
                    <a:cubicBezTo>
                      <a:pt x="73407" y="27869"/>
                      <a:pt x="64548" y="11401"/>
                      <a:pt x="44297" y="11401"/>
                    </a:cubicBezTo>
                    <a:close/>
                  </a:path>
                </a:pathLst>
              </a:custGeom>
              <a:solidFill>
                <a:srgbClr val="FFFFFF"/>
              </a:solidFill>
              <a:ln w="12649" cap="flat">
                <a:noFill/>
                <a:prstDash val="solid"/>
                <a:miter/>
              </a:ln>
            </p:spPr>
            <p:txBody>
              <a:bodyPr rtlCol="0" anchor="ctr"/>
              <a:lstStyle/>
              <a:p>
                <a:pPr algn="l" rtl="0"/>
                <a:endParaRPr lang="en-US"/>
              </a:p>
            </p:txBody>
          </p:sp>
          <p:sp>
            <p:nvSpPr>
              <p:cNvPr id="668" name="Freeform 667">
                <a:extLst>
                  <a:ext uri="{FF2B5EF4-FFF2-40B4-BE49-F238E27FC236}">
                    <a16:creationId xmlns:a16="http://schemas.microsoft.com/office/drawing/2014/main" id="{A8E5B4C1-7E27-6C1B-5F08-BB5AD65F022D}"/>
                  </a:ext>
                </a:extLst>
              </p:cNvPr>
              <p:cNvSpPr/>
              <p:nvPr/>
            </p:nvSpPr>
            <p:spPr>
              <a:xfrm>
                <a:off x="1658643" y="6241908"/>
                <a:ext cx="70875" cy="93740"/>
              </a:xfrm>
              <a:custGeom>
                <a:avLst/>
                <a:gdLst>
                  <a:gd name="connsiteX0" fmla="*/ 0 w 70875"/>
                  <a:gd name="connsiteY0" fmla="*/ 79806 h 93740"/>
                  <a:gd name="connsiteX1" fmla="*/ 7594 w 70875"/>
                  <a:gd name="connsiteY1" fmla="*/ 69672 h 93740"/>
                  <a:gd name="connsiteX2" fmla="*/ 36703 w 70875"/>
                  <a:gd name="connsiteY2" fmla="*/ 82340 h 93740"/>
                  <a:gd name="connsiteX3" fmla="*/ 58219 w 70875"/>
                  <a:gd name="connsiteY3" fmla="*/ 67138 h 93740"/>
                  <a:gd name="connsiteX4" fmla="*/ 2531 w 70875"/>
                  <a:gd name="connsiteY4" fmla="*/ 25335 h 93740"/>
                  <a:gd name="connsiteX5" fmla="*/ 35438 w 70875"/>
                  <a:gd name="connsiteY5" fmla="*/ 0 h 93740"/>
                  <a:gd name="connsiteX6" fmla="*/ 68344 w 70875"/>
                  <a:gd name="connsiteY6" fmla="*/ 12668 h 93740"/>
                  <a:gd name="connsiteX7" fmla="*/ 62016 w 70875"/>
                  <a:gd name="connsiteY7" fmla="*/ 22802 h 93740"/>
                  <a:gd name="connsiteX8" fmla="*/ 35438 w 70875"/>
                  <a:gd name="connsiteY8" fmla="*/ 11401 h 93740"/>
                  <a:gd name="connsiteX9" fmla="*/ 15187 w 70875"/>
                  <a:gd name="connsiteY9" fmla="*/ 25335 h 93740"/>
                  <a:gd name="connsiteX10" fmla="*/ 70875 w 70875"/>
                  <a:gd name="connsiteY10" fmla="*/ 67138 h 93740"/>
                  <a:gd name="connsiteX11" fmla="*/ 35438 w 70875"/>
                  <a:gd name="connsiteY11" fmla="*/ 93740 h 93740"/>
                  <a:gd name="connsiteX12" fmla="*/ 0 w 70875"/>
                  <a:gd name="connsiteY12" fmla="*/ 79806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875" h="93740">
                    <a:moveTo>
                      <a:pt x="0" y="79806"/>
                    </a:moveTo>
                    <a:lnTo>
                      <a:pt x="7594" y="69672"/>
                    </a:lnTo>
                    <a:cubicBezTo>
                      <a:pt x="13922" y="76006"/>
                      <a:pt x="25313" y="82340"/>
                      <a:pt x="36703" y="82340"/>
                    </a:cubicBezTo>
                    <a:cubicBezTo>
                      <a:pt x="50626" y="82340"/>
                      <a:pt x="58219" y="76006"/>
                      <a:pt x="58219" y="67138"/>
                    </a:cubicBezTo>
                    <a:cubicBezTo>
                      <a:pt x="58219" y="45603"/>
                      <a:pt x="2531" y="58271"/>
                      <a:pt x="2531" y="25335"/>
                    </a:cubicBezTo>
                    <a:cubicBezTo>
                      <a:pt x="2531" y="11401"/>
                      <a:pt x="15187" y="0"/>
                      <a:pt x="35438" y="0"/>
                    </a:cubicBezTo>
                    <a:cubicBezTo>
                      <a:pt x="50626" y="0"/>
                      <a:pt x="60750" y="6334"/>
                      <a:pt x="68344" y="12668"/>
                    </a:cubicBezTo>
                    <a:lnTo>
                      <a:pt x="62016" y="22802"/>
                    </a:lnTo>
                    <a:cubicBezTo>
                      <a:pt x="56954" y="16468"/>
                      <a:pt x="46828" y="11401"/>
                      <a:pt x="35438" y="11401"/>
                    </a:cubicBezTo>
                    <a:cubicBezTo>
                      <a:pt x="22781" y="11401"/>
                      <a:pt x="15187" y="17735"/>
                      <a:pt x="15187" y="25335"/>
                    </a:cubicBezTo>
                    <a:cubicBezTo>
                      <a:pt x="15187" y="44337"/>
                      <a:pt x="70875" y="31669"/>
                      <a:pt x="70875" y="67138"/>
                    </a:cubicBezTo>
                    <a:cubicBezTo>
                      <a:pt x="70875" y="82340"/>
                      <a:pt x="58219" y="93740"/>
                      <a:pt x="35438" y="93740"/>
                    </a:cubicBezTo>
                    <a:cubicBezTo>
                      <a:pt x="21516" y="93740"/>
                      <a:pt x="8859" y="88673"/>
                      <a:pt x="0" y="79806"/>
                    </a:cubicBezTo>
                    <a:close/>
                  </a:path>
                </a:pathLst>
              </a:custGeom>
              <a:solidFill>
                <a:srgbClr val="FFFFFF"/>
              </a:solidFill>
              <a:ln w="12649" cap="flat">
                <a:noFill/>
                <a:prstDash val="solid"/>
                <a:miter/>
              </a:ln>
            </p:spPr>
            <p:txBody>
              <a:bodyPr rtlCol="0" anchor="ctr"/>
              <a:lstStyle/>
              <a:p>
                <a:pPr algn="l" rtl="0"/>
                <a:endParaRPr lang="en-US"/>
              </a:p>
            </p:txBody>
          </p:sp>
          <p:sp>
            <p:nvSpPr>
              <p:cNvPr id="669" name="Freeform 668">
                <a:extLst>
                  <a:ext uri="{FF2B5EF4-FFF2-40B4-BE49-F238E27FC236}">
                    <a16:creationId xmlns:a16="http://schemas.microsoft.com/office/drawing/2014/main" id="{456C672D-5713-C6DA-CE33-0A44A0227B49}"/>
                  </a:ext>
                </a:extLst>
              </p:cNvPr>
              <p:cNvSpPr/>
              <p:nvPr/>
            </p:nvSpPr>
            <p:spPr>
              <a:xfrm>
                <a:off x="1745972" y="6212772"/>
                <a:ext cx="17718" cy="120342"/>
              </a:xfrm>
              <a:custGeom>
                <a:avLst/>
                <a:gdLst>
                  <a:gd name="connsiteX0" fmla="*/ 0 w 17718"/>
                  <a:gd name="connsiteY0" fmla="*/ 8868 h 120342"/>
                  <a:gd name="connsiteX1" fmla="*/ 8859 w 17718"/>
                  <a:gd name="connsiteY1" fmla="*/ 0 h 120342"/>
                  <a:gd name="connsiteX2" fmla="*/ 17719 w 17718"/>
                  <a:gd name="connsiteY2" fmla="*/ 8868 h 120342"/>
                  <a:gd name="connsiteX3" fmla="*/ 8859 w 17718"/>
                  <a:gd name="connsiteY3" fmla="*/ 17735 h 120342"/>
                  <a:gd name="connsiteX4" fmla="*/ 0 w 17718"/>
                  <a:gd name="connsiteY4" fmla="*/ 8868 h 120342"/>
                  <a:gd name="connsiteX5" fmla="*/ 2531 w 17718"/>
                  <a:gd name="connsiteY5" fmla="*/ 120343 h 120342"/>
                  <a:gd name="connsiteX6" fmla="*/ 2531 w 17718"/>
                  <a:gd name="connsiteY6" fmla="*/ 30402 h 120342"/>
                  <a:gd name="connsiteX7" fmla="*/ 16453 w 17718"/>
                  <a:gd name="connsiteY7" fmla="*/ 30402 h 120342"/>
                  <a:gd name="connsiteX8" fmla="*/ 16453 w 17718"/>
                  <a:gd name="connsiteY8" fmla="*/ 120343 h 120342"/>
                  <a:gd name="connsiteX9" fmla="*/ 2531 w 17718"/>
                  <a:gd name="connsiteY9" fmla="*/ 120343 h 12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18" h="120342">
                    <a:moveTo>
                      <a:pt x="0" y="8868"/>
                    </a:moveTo>
                    <a:cubicBezTo>
                      <a:pt x="0" y="3801"/>
                      <a:pt x="3797" y="0"/>
                      <a:pt x="8859" y="0"/>
                    </a:cubicBezTo>
                    <a:cubicBezTo>
                      <a:pt x="13922" y="0"/>
                      <a:pt x="17719" y="3801"/>
                      <a:pt x="17719" y="8868"/>
                    </a:cubicBezTo>
                    <a:cubicBezTo>
                      <a:pt x="17719" y="13934"/>
                      <a:pt x="13922" y="17735"/>
                      <a:pt x="8859" y="17735"/>
                    </a:cubicBezTo>
                    <a:cubicBezTo>
                      <a:pt x="3797" y="17735"/>
                      <a:pt x="0" y="13934"/>
                      <a:pt x="0" y="8868"/>
                    </a:cubicBezTo>
                    <a:close/>
                    <a:moveTo>
                      <a:pt x="2531" y="120343"/>
                    </a:moveTo>
                    <a:lnTo>
                      <a:pt x="2531" y="30402"/>
                    </a:lnTo>
                    <a:lnTo>
                      <a:pt x="16453" y="30402"/>
                    </a:lnTo>
                    <a:lnTo>
                      <a:pt x="16453" y="120343"/>
                    </a:lnTo>
                    <a:lnTo>
                      <a:pt x="2531" y="120343"/>
                    </a:lnTo>
                    <a:close/>
                  </a:path>
                </a:pathLst>
              </a:custGeom>
              <a:solidFill>
                <a:srgbClr val="FFFFFF"/>
              </a:solidFill>
              <a:ln w="12649" cap="flat">
                <a:noFill/>
                <a:prstDash val="solid"/>
                <a:miter/>
              </a:ln>
            </p:spPr>
            <p:txBody>
              <a:bodyPr rtlCol="0" anchor="ctr"/>
              <a:lstStyle/>
              <a:p>
                <a:pPr algn="l" rtl="0"/>
                <a:endParaRPr lang="en-US"/>
              </a:p>
            </p:txBody>
          </p:sp>
          <p:sp>
            <p:nvSpPr>
              <p:cNvPr id="670" name="Freeform 669">
                <a:extLst>
                  <a:ext uri="{FF2B5EF4-FFF2-40B4-BE49-F238E27FC236}">
                    <a16:creationId xmlns:a16="http://schemas.microsoft.com/office/drawing/2014/main" id="{FC543A21-BC3B-8780-5F87-13F3E9DBCD47}"/>
                  </a:ext>
                </a:extLst>
              </p:cNvPr>
              <p:cNvSpPr/>
              <p:nvPr/>
            </p:nvSpPr>
            <p:spPr>
              <a:xfrm>
                <a:off x="1781410" y="6241908"/>
                <a:ext cx="83532" cy="127942"/>
              </a:xfrm>
              <a:custGeom>
                <a:avLst/>
                <a:gdLst>
                  <a:gd name="connsiteX0" fmla="*/ 3797 w 83532"/>
                  <a:gd name="connsiteY0" fmla="*/ 114009 h 127942"/>
                  <a:gd name="connsiteX1" fmla="*/ 11391 w 83532"/>
                  <a:gd name="connsiteY1" fmla="*/ 103874 h 127942"/>
                  <a:gd name="connsiteX2" fmla="*/ 40501 w 83532"/>
                  <a:gd name="connsiteY2" fmla="*/ 116542 h 127942"/>
                  <a:gd name="connsiteX3" fmla="*/ 69610 w 83532"/>
                  <a:gd name="connsiteY3" fmla="*/ 89940 h 127942"/>
                  <a:gd name="connsiteX4" fmla="*/ 69610 w 83532"/>
                  <a:gd name="connsiteY4" fmla="*/ 77272 h 127942"/>
                  <a:gd name="connsiteX5" fmla="*/ 39235 w 83532"/>
                  <a:gd name="connsiteY5" fmla="*/ 93740 h 127942"/>
                  <a:gd name="connsiteX6" fmla="*/ 0 w 83532"/>
                  <a:gd name="connsiteY6" fmla="*/ 46870 h 127942"/>
                  <a:gd name="connsiteX7" fmla="*/ 39235 w 83532"/>
                  <a:gd name="connsiteY7" fmla="*/ 0 h 127942"/>
                  <a:gd name="connsiteX8" fmla="*/ 69610 w 83532"/>
                  <a:gd name="connsiteY8" fmla="*/ 15201 h 127942"/>
                  <a:gd name="connsiteX9" fmla="*/ 69610 w 83532"/>
                  <a:gd name="connsiteY9" fmla="*/ 1266 h 127942"/>
                  <a:gd name="connsiteX10" fmla="*/ 83532 w 83532"/>
                  <a:gd name="connsiteY10" fmla="*/ 1266 h 127942"/>
                  <a:gd name="connsiteX11" fmla="*/ 83532 w 83532"/>
                  <a:gd name="connsiteY11" fmla="*/ 88673 h 127942"/>
                  <a:gd name="connsiteX12" fmla="*/ 40501 w 83532"/>
                  <a:gd name="connsiteY12" fmla="*/ 127943 h 127942"/>
                  <a:gd name="connsiteX13" fmla="*/ 3797 w 83532"/>
                  <a:gd name="connsiteY13" fmla="*/ 114009 h 127942"/>
                  <a:gd name="connsiteX14" fmla="*/ 68344 w 83532"/>
                  <a:gd name="connsiteY14" fmla="*/ 65871 h 127942"/>
                  <a:gd name="connsiteX15" fmla="*/ 68344 w 83532"/>
                  <a:gd name="connsiteY15" fmla="*/ 26602 h 127942"/>
                  <a:gd name="connsiteX16" fmla="*/ 41766 w 83532"/>
                  <a:gd name="connsiteY16" fmla="*/ 12668 h 127942"/>
                  <a:gd name="connsiteX17" fmla="*/ 12656 w 83532"/>
                  <a:gd name="connsiteY17" fmla="*/ 46870 h 127942"/>
                  <a:gd name="connsiteX18" fmla="*/ 41766 w 83532"/>
                  <a:gd name="connsiteY18" fmla="*/ 81073 h 127942"/>
                  <a:gd name="connsiteX19" fmla="*/ 68344 w 83532"/>
                  <a:gd name="connsiteY19" fmla="*/ 65871 h 127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532" h="127942">
                    <a:moveTo>
                      <a:pt x="3797" y="114009"/>
                    </a:moveTo>
                    <a:lnTo>
                      <a:pt x="11391" y="103874"/>
                    </a:lnTo>
                    <a:cubicBezTo>
                      <a:pt x="18985" y="112742"/>
                      <a:pt x="27844" y="116542"/>
                      <a:pt x="40501" y="116542"/>
                    </a:cubicBezTo>
                    <a:cubicBezTo>
                      <a:pt x="55688" y="116542"/>
                      <a:pt x="69610" y="108941"/>
                      <a:pt x="69610" y="89940"/>
                    </a:cubicBezTo>
                    <a:lnTo>
                      <a:pt x="69610" y="77272"/>
                    </a:lnTo>
                    <a:cubicBezTo>
                      <a:pt x="63282" y="86140"/>
                      <a:pt x="51891" y="93740"/>
                      <a:pt x="39235" y="93740"/>
                    </a:cubicBezTo>
                    <a:cubicBezTo>
                      <a:pt x="16454" y="93740"/>
                      <a:pt x="0" y="76006"/>
                      <a:pt x="0" y="46870"/>
                    </a:cubicBezTo>
                    <a:cubicBezTo>
                      <a:pt x="0" y="17735"/>
                      <a:pt x="16454" y="0"/>
                      <a:pt x="39235" y="0"/>
                    </a:cubicBezTo>
                    <a:cubicBezTo>
                      <a:pt x="51891" y="0"/>
                      <a:pt x="62016" y="6334"/>
                      <a:pt x="69610" y="15201"/>
                    </a:cubicBezTo>
                    <a:lnTo>
                      <a:pt x="69610" y="1266"/>
                    </a:lnTo>
                    <a:lnTo>
                      <a:pt x="83532" y="1266"/>
                    </a:lnTo>
                    <a:lnTo>
                      <a:pt x="83532" y="88673"/>
                    </a:lnTo>
                    <a:cubicBezTo>
                      <a:pt x="83532" y="117809"/>
                      <a:pt x="63282" y="127943"/>
                      <a:pt x="40501" y="127943"/>
                    </a:cubicBezTo>
                    <a:cubicBezTo>
                      <a:pt x="24047" y="127943"/>
                      <a:pt x="13922" y="124143"/>
                      <a:pt x="3797" y="114009"/>
                    </a:cubicBezTo>
                    <a:close/>
                    <a:moveTo>
                      <a:pt x="68344" y="65871"/>
                    </a:moveTo>
                    <a:lnTo>
                      <a:pt x="68344" y="26602"/>
                    </a:lnTo>
                    <a:cubicBezTo>
                      <a:pt x="63282" y="19001"/>
                      <a:pt x="53157" y="12668"/>
                      <a:pt x="41766" y="12668"/>
                    </a:cubicBezTo>
                    <a:cubicBezTo>
                      <a:pt x="24047" y="12668"/>
                      <a:pt x="12656" y="26602"/>
                      <a:pt x="12656" y="46870"/>
                    </a:cubicBezTo>
                    <a:cubicBezTo>
                      <a:pt x="12656" y="67138"/>
                      <a:pt x="22782" y="81073"/>
                      <a:pt x="41766" y="81073"/>
                    </a:cubicBezTo>
                    <a:cubicBezTo>
                      <a:pt x="53157" y="79806"/>
                      <a:pt x="63282" y="73472"/>
                      <a:pt x="68344" y="65871"/>
                    </a:cubicBezTo>
                    <a:close/>
                  </a:path>
                </a:pathLst>
              </a:custGeom>
              <a:solidFill>
                <a:srgbClr val="FFFFFF"/>
              </a:solidFill>
              <a:ln w="12649" cap="flat">
                <a:noFill/>
                <a:prstDash val="solid"/>
                <a:miter/>
              </a:ln>
            </p:spPr>
            <p:txBody>
              <a:bodyPr rtlCol="0" anchor="ctr"/>
              <a:lstStyle/>
              <a:p>
                <a:pPr algn="l" rtl="0"/>
                <a:endParaRPr lang="en-US"/>
              </a:p>
            </p:txBody>
          </p:sp>
          <p:sp>
            <p:nvSpPr>
              <p:cNvPr id="671" name="Freeform 670">
                <a:extLst>
                  <a:ext uri="{FF2B5EF4-FFF2-40B4-BE49-F238E27FC236}">
                    <a16:creationId xmlns:a16="http://schemas.microsoft.com/office/drawing/2014/main" id="{B9E596D4-3D5F-1139-8596-5F0B882F3506}"/>
                  </a:ext>
                </a:extLst>
              </p:cNvPr>
              <p:cNvSpPr/>
              <p:nvPr/>
            </p:nvSpPr>
            <p:spPr>
              <a:xfrm>
                <a:off x="1886458" y="6241908"/>
                <a:ext cx="74672" cy="92473"/>
              </a:xfrm>
              <a:custGeom>
                <a:avLst/>
                <a:gdLst>
                  <a:gd name="connsiteX0" fmla="*/ 60750 w 74672"/>
                  <a:gd name="connsiteY0" fmla="*/ 91207 h 92473"/>
                  <a:gd name="connsiteX1" fmla="*/ 60750 w 74672"/>
                  <a:gd name="connsiteY1" fmla="*/ 32936 h 92473"/>
                  <a:gd name="connsiteX2" fmla="*/ 40500 w 74672"/>
                  <a:gd name="connsiteY2" fmla="*/ 12668 h 92473"/>
                  <a:gd name="connsiteX3" fmla="*/ 13922 w 74672"/>
                  <a:gd name="connsiteY3" fmla="*/ 26602 h 92473"/>
                  <a:gd name="connsiteX4" fmla="*/ 13922 w 74672"/>
                  <a:gd name="connsiteY4" fmla="*/ 92474 h 92473"/>
                  <a:gd name="connsiteX5" fmla="*/ 0 w 74672"/>
                  <a:gd name="connsiteY5" fmla="*/ 92474 h 92473"/>
                  <a:gd name="connsiteX6" fmla="*/ 0 w 74672"/>
                  <a:gd name="connsiteY6" fmla="*/ 2533 h 92473"/>
                  <a:gd name="connsiteX7" fmla="*/ 13922 w 74672"/>
                  <a:gd name="connsiteY7" fmla="*/ 2533 h 92473"/>
                  <a:gd name="connsiteX8" fmla="*/ 13922 w 74672"/>
                  <a:gd name="connsiteY8" fmla="*/ 15201 h 92473"/>
                  <a:gd name="connsiteX9" fmla="*/ 45563 w 74672"/>
                  <a:gd name="connsiteY9" fmla="*/ 0 h 92473"/>
                  <a:gd name="connsiteX10" fmla="*/ 74673 w 74672"/>
                  <a:gd name="connsiteY10" fmla="*/ 29135 h 92473"/>
                  <a:gd name="connsiteX11" fmla="*/ 74673 w 74672"/>
                  <a:gd name="connsiteY11" fmla="*/ 92474 h 92473"/>
                  <a:gd name="connsiteX12" fmla="*/ 60750 w 74672"/>
                  <a:gd name="connsiteY12" fmla="*/ 92474 h 92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672" h="92473">
                    <a:moveTo>
                      <a:pt x="60750" y="91207"/>
                    </a:moveTo>
                    <a:lnTo>
                      <a:pt x="60750" y="32936"/>
                    </a:lnTo>
                    <a:cubicBezTo>
                      <a:pt x="60750" y="17735"/>
                      <a:pt x="53157" y="12668"/>
                      <a:pt x="40500" y="12668"/>
                    </a:cubicBezTo>
                    <a:cubicBezTo>
                      <a:pt x="29110" y="12668"/>
                      <a:pt x="18985" y="19001"/>
                      <a:pt x="13922" y="26602"/>
                    </a:cubicBezTo>
                    <a:lnTo>
                      <a:pt x="13922" y="92474"/>
                    </a:lnTo>
                    <a:lnTo>
                      <a:pt x="0" y="92474"/>
                    </a:lnTo>
                    <a:lnTo>
                      <a:pt x="0" y="2533"/>
                    </a:lnTo>
                    <a:lnTo>
                      <a:pt x="13922" y="2533"/>
                    </a:lnTo>
                    <a:lnTo>
                      <a:pt x="13922" y="15201"/>
                    </a:lnTo>
                    <a:cubicBezTo>
                      <a:pt x="20250" y="7600"/>
                      <a:pt x="32906" y="0"/>
                      <a:pt x="45563" y="0"/>
                    </a:cubicBezTo>
                    <a:cubicBezTo>
                      <a:pt x="64547" y="0"/>
                      <a:pt x="74673" y="8867"/>
                      <a:pt x="74673" y="29135"/>
                    </a:cubicBezTo>
                    <a:lnTo>
                      <a:pt x="74673" y="92474"/>
                    </a:lnTo>
                    <a:lnTo>
                      <a:pt x="60750" y="92474"/>
                    </a:lnTo>
                    <a:close/>
                  </a:path>
                </a:pathLst>
              </a:custGeom>
              <a:solidFill>
                <a:srgbClr val="FFFFFF"/>
              </a:solidFill>
              <a:ln w="12649" cap="flat">
                <a:noFill/>
                <a:prstDash val="solid"/>
                <a:miter/>
              </a:ln>
            </p:spPr>
            <p:txBody>
              <a:bodyPr rtlCol="0" anchor="ctr"/>
              <a:lstStyle/>
              <a:p>
                <a:pPr algn="l" rtl="0"/>
                <a:endParaRPr lang="en-US"/>
              </a:p>
            </p:txBody>
          </p:sp>
          <p:sp>
            <p:nvSpPr>
              <p:cNvPr id="672" name="Freeform 671">
                <a:extLst>
                  <a:ext uri="{FF2B5EF4-FFF2-40B4-BE49-F238E27FC236}">
                    <a16:creationId xmlns:a16="http://schemas.microsoft.com/office/drawing/2014/main" id="{1735C4F4-878E-58C5-60E1-FBBEBFDB6740}"/>
                  </a:ext>
                </a:extLst>
              </p:cNvPr>
              <p:cNvSpPr/>
              <p:nvPr/>
            </p:nvSpPr>
            <p:spPr>
              <a:xfrm>
                <a:off x="1978849" y="6241908"/>
                <a:ext cx="87328" cy="93740"/>
              </a:xfrm>
              <a:custGeom>
                <a:avLst/>
                <a:gdLst>
                  <a:gd name="connsiteX0" fmla="*/ 0 w 87328"/>
                  <a:gd name="connsiteY0" fmla="*/ 46870 h 93740"/>
                  <a:gd name="connsiteX1" fmla="*/ 44297 w 87328"/>
                  <a:gd name="connsiteY1" fmla="*/ 0 h 93740"/>
                  <a:gd name="connsiteX2" fmla="*/ 87329 w 87328"/>
                  <a:gd name="connsiteY2" fmla="*/ 48137 h 93740"/>
                  <a:gd name="connsiteX3" fmla="*/ 87329 w 87328"/>
                  <a:gd name="connsiteY3" fmla="*/ 51937 h 93740"/>
                  <a:gd name="connsiteX4" fmla="*/ 15188 w 87328"/>
                  <a:gd name="connsiteY4" fmla="*/ 51937 h 93740"/>
                  <a:gd name="connsiteX5" fmla="*/ 46829 w 87328"/>
                  <a:gd name="connsiteY5" fmla="*/ 82340 h 93740"/>
                  <a:gd name="connsiteX6" fmla="*/ 74673 w 87328"/>
                  <a:gd name="connsiteY6" fmla="*/ 70938 h 93740"/>
                  <a:gd name="connsiteX7" fmla="*/ 81001 w 87328"/>
                  <a:gd name="connsiteY7" fmla="*/ 79806 h 93740"/>
                  <a:gd name="connsiteX8" fmla="*/ 45563 w 87328"/>
                  <a:gd name="connsiteY8" fmla="*/ 93740 h 93740"/>
                  <a:gd name="connsiteX9" fmla="*/ 0 w 87328"/>
                  <a:gd name="connsiteY9" fmla="*/ 46870 h 93740"/>
                  <a:gd name="connsiteX10" fmla="*/ 44297 w 87328"/>
                  <a:gd name="connsiteY10" fmla="*/ 11401 h 93740"/>
                  <a:gd name="connsiteX11" fmla="*/ 15188 w 87328"/>
                  <a:gd name="connsiteY11" fmla="*/ 41803 h 93740"/>
                  <a:gd name="connsiteX12" fmla="*/ 73407 w 87328"/>
                  <a:gd name="connsiteY12" fmla="*/ 41803 h 93740"/>
                  <a:gd name="connsiteX13" fmla="*/ 44297 w 87328"/>
                  <a:gd name="connsiteY13" fmla="*/ 11401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328" h="93740">
                    <a:moveTo>
                      <a:pt x="0" y="46870"/>
                    </a:moveTo>
                    <a:cubicBezTo>
                      <a:pt x="0" y="21535"/>
                      <a:pt x="18985" y="0"/>
                      <a:pt x="44297" y="0"/>
                    </a:cubicBezTo>
                    <a:cubicBezTo>
                      <a:pt x="70876" y="0"/>
                      <a:pt x="87329" y="21535"/>
                      <a:pt x="87329" y="48137"/>
                    </a:cubicBezTo>
                    <a:lnTo>
                      <a:pt x="87329" y="51937"/>
                    </a:lnTo>
                    <a:lnTo>
                      <a:pt x="15188" y="51937"/>
                    </a:lnTo>
                    <a:cubicBezTo>
                      <a:pt x="16453" y="68405"/>
                      <a:pt x="27844" y="82340"/>
                      <a:pt x="46829" y="82340"/>
                    </a:cubicBezTo>
                    <a:cubicBezTo>
                      <a:pt x="56954" y="82340"/>
                      <a:pt x="67079" y="78539"/>
                      <a:pt x="74673" y="70938"/>
                    </a:cubicBezTo>
                    <a:lnTo>
                      <a:pt x="81001" y="79806"/>
                    </a:lnTo>
                    <a:cubicBezTo>
                      <a:pt x="72142" y="88673"/>
                      <a:pt x="59485" y="93740"/>
                      <a:pt x="45563" y="93740"/>
                    </a:cubicBezTo>
                    <a:cubicBezTo>
                      <a:pt x="18985" y="93740"/>
                      <a:pt x="0" y="74739"/>
                      <a:pt x="0" y="46870"/>
                    </a:cubicBezTo>
                    <a:close/>
                    <a:moveTo>
                      <a:pt x="44297" y="11401"/>
                    </a:moveTo>
                    <a:cubicBezTo>
                      <a:pt x="25313" y="11401"/>
                      <a:pt x="15188" y="27869"/>
                      <a:pt x="15188" y="41803"/>
                    </a:cubicBezTo>
                    <a:lnTo>
                      <a:pt x="73407" y="41803"/>
                    </a:lnTo>
                    <a:cubicBezTo>
                      <a:pt x="73407" y="27869"/>
                      <a:pt x="64548" y="11401"/>
                      <a:pt x="44297" y="11401"/>
                    </a:cubicBezTo>
                    <a:close/>
                  </a:path>
                </a:pathLst>
              </a:custGeom>
              <a:solidFill>
                <a:srgbClr val="FFFFFF"/>
              </a:solidFill>
              <a:ln w="12649" cap="flat">
                <a:noFill/>
                <a:prstDash val="solid"/>
                <a:miter/>
              </a:ln>
            </p:spPr>
            <p:txBody>
              <a:bodyPr rtlCol="0" anchor="ctr"/>
              <a:lstStyle/>
              <a:p>
                <a:pPr algn="l" rtl="0"/>
                <a:endParaRPr lang="en-US"/>
              </a:p>
            </p:txBody>
          </p:sp>
          <p:sp>
            <p:nvSpPr>
              <p:cNvPr id="673" name="Freeform 672">
                <a:extLst>
                  <a:ext uri="{FF2B5EF4-FFF2-40B4-BE49-F238E27FC236}">
                    <a16:creationId xmlns:a16="http://schemas.microsoft.com/office/drawing/2014/main" id="{A886A9D6-90FF-5C34-2190-B9079BA812D4}"/>
                  </a:ext>
                </a:extLst>
              </p:cNvPr>
              <p:cNvSpPr/>
              <p:nvPr/>
            </p:nvSpPr>
            <p:spPr>
              <a:xfrm>
                <a:off x="2078834" y="6207705"/>
                <a:ext cx="83532" cy="126676"/>
              </a:xfrm>
              <a:custGeom>
                <a:avLst/>
                <a:gdLst>
                  <a:gd name="connsiteX0" fmla="*/ 69610 w 83532"/>
                  <a:gd name="connsiteY0" fmla="*/ 125410 h 126676"/>
                  <a:gd name="connsiteX1" fmla="*/ 69610 w 83532"/>
                  <a:gd name="connsiteY1" fmla="*/ 111475 h 126676"/>
                  <a:gd name="connsiteX2" fmla="*/ 39235 w 83532"/>
                  <a:gd name="connsiteY2" fmla="*/ 126676 h 126676"/>
                  <a:gd name="connsiteX3" fmla="*/ 0 w 83532"/>
                  <a:gd name="connsiteY3" fmla="*/ 79806 h 126676"/>
                  <a:gd name="connsiteX4" fmla="*/ 39235 w 83532"/>
                  <a:gd name="connsiteY4" fmla="*/ 32936 h 126676"/>
                  <a:gd name="connsiteX5" fmla="*/ 69610 w 83532"/>
                  <a:gd name="connsiteY5" fmla="*/ 48137 h 126676"/>
                  <a:gd name="connsiteX6" fmla="*/ 69610 w 83532"/>
                  <a:gd name="connsiteY6" fmla="*/ 0 h 126676"/>
                  <a:gd name="connsiteX7" fmla="*/ 83532 w 83532"/>
                  <a:gd name="connsiteY7" fmla="*/ 0 h 126676"/>
                  <a:gd name="connsiteX8" fmla="*/ 83532 w 83532"/>
                  <a:gd name="connsiteY8" fmla="*/ 124143 h 126676"/>
                  <a:gd name="connsiteX9" fmla="*/ 69610 w 83532"/>
                  <a:gd name="connsiteY9" fmla="*/ 124143 h 126676"/>
                  <a:gd name="connsiteX10" fmla="*/ 69610 w 83532"/>
                  <a:gd name="connsiteY10" fmla="*/ 101341 h 126676"/>
                  <a:gd name="connsiteX11" fmla="*/ 69610 w 83532"/>
                  <a:gd name="connsiteY11" fmla="*/ 60805 h 126676"/>
                  <a:gd name="connsiteX12" fmla="*/ 43032 w 83532"/>
                  <a:gd name="connsiteY12" fmla="*/ 46870 h 126676"/>
                  <a:gd name="connsiteX13" fmla="*/ 13922 w 83532"/>
                  <a:gd name="connsiteY13" fmla="*/ 81073 h 126676"/>
                  <a:gd name="connsiteX14" fmla="*/ 43032 w 83532"/>
                  <a:gd name="connsiteY14" fmla="*/ 115276 h 126676"/>
                  <a:gd name="connsiteX15" fmla="*/ 69610 w 83532"/>
                  <a:gd name="connsiteY15" fmla="*/ 101341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2" h="126676">
                    <a:moveTo>
                      <a:pt x="69610" y="125410"/>
                    </a:moveTo>
                    <a:lnTo>
                      <a:pt x="69610" y="111475"/>
                    </a:lnTo>
                    <a:cubicBezTo>
                      <a:pt x="63282" y="120343"/>
                      <a:pt x="51891" y="126676"/>
                      <a:pt x="39235" y="126676"/>
                    </a:cubicBezTo>
                    <a:cubicBezTo>
                      <a:pt x="16454" y="126676"/>
                      <a:pt x="0" y="108942"/>
                      <a:pt x="0" y="79806"/>
                    </a:cubicBezTo>
                    <a:cubicBezTo>
                      <a:pt x="0" y="50671"/>
                      <a:pt x="16454" y="32936"/>
                      <a:pt x="39235" y="32936"/>
                    </a:cubicBezTo>
                    <a:cubicBezTo>
                      <a:pt x="51891" y="32936"/>
                      <a:pt x="62016" y="39270"/>
                      <a:pt x="69610" y="48137"/>
                    </a:cubicBezTo>
                    <a:lnTo>
                      <a:pt x="69610" y="0"/>
                    </a:lnTo>
                    <a:lnTo>
                      <a:pt x="83532" y="0"/>
                    </a:lnTo>
                    <a:lnTo>
                      <a:pt x="83532" y="124143"/>
                    </a:lnTo>
                    <a:lnTo>
                      <a:pt x="69610" y="124143"/>
                    </a:lnTo>
                    <a:close/>
                    <a:moveTo>
                      <a:pt x="69610" y="101341"/>
                    </a:moveTo>
                    <a:lnTo>
                      <a:pt x="69610" y="60805"/>
                    </a:lnTo>
                    <a:cubicBezTo>
                      <a:pt x="64548" y="53204"/>
                      <a:pt x="54423" y="46870"/>
                      <a:pt x="43032" y="46870"/>
                    </a:cubicBezTo>
                    <a:cubicBezTo>
                      <a:pt x="25313" y="46870"/>
                      <a:pt x="13922" y="62071"/>
                      <a:pt x="13922" y="81073"/>
                    </a:cubicBezTo>
                    <a:cubicBezTo>
                      <a:pt x="13922" y="101341"/>
                      <a:pt x="24047" y="115276"/>
                      <a:pt x="43032" y="115276"/>
                    </a:cubicBezTo>
                    <a:cubicBezTo>
                      <a:pt x="53157" y="115276"/>
                      <a:pt x="64548" y="108942"/>
                      <a:pt x="69610" y="101341"/>
                    </a:cubicBezTo>
                    <a:close/>
                  </a:path>
                </a:pathLst>
              </a:custGeom>
              <a:solidFill>
                <a:srgbClr val="FFFFFF"/>
              </a:solidFill>
              <a:ln w="12649" cap="flat">
                <a:noFill/>
                <a:prstDash val="solid"/>
                <a:miter/>
              </a:ln>
            </p:spPr>
            <p:txBody>
              <a:bodyPr rtlCol="0" anchor="ctr"/>
              <a:lstStyle/>
              <a:p>
                <a:pPr algn="l" rtl="0"/>
                <a:endParaRPr lang="en-US"/>
              </a:p>
            </p:txBody>
          </p:sp>
          <p:sp>
            <p:nvSpPr>
              <p:cNvPr id="674" name="Freeform 673">
                <a:extLst>
                  <a:ext uri="{FF2B5EF4-FFF2-40B4-BE49-F238E27FC236}">
                    <a16:creationId xmlns:a16="http://schemas.microsoft.com/office/drawing/2014/main" id="{EECCD9E8-5F69-C3B6-FC47-433F85418B2D}"/>
                  </a:ext>
                </a:extLst>
              </p:cNvPr>
              <p:cNvSpPr/>
              <p:nvPr/>
            </p:nvSpPr>
            <p:spPr>
              <a:xfrm>
                <a:off x="2228180" y="6208972"/>
                <a:ext cx="83531" cy="126676"/>
              </a:xfrm>
              <a:custGeom>
                <a:avLst/>
                <a:gdLst>
                  <a:gd name="connsiteX0" fmla="*/ 0 w 83531"/>
                  <a:gd name="connsiteY0" fmla="*/ 124143 h 126676"/>
                  <a:gd name="connsiteX1" fmla="*/ 0 w 83531"/>
                  <a:gd name="connsiteY1" fmla="*/ 0 h 126676"/>
                  <a:gd name="connsiteX2" fmla="*/ 13922 w 83531"/>
                  <a:gd name="connsiteY2" fmla="*/ 0 h 126676"/>
                  <a:gd name="connsiteX3" fmla="*/ 13922 w 83531"/>
                  <a:gd name="connsiteY3" fmla="*/ 48137 h 126676"/>
                  <a:gd name="connsiteX4" fmla="*/ 44297 w 83531"/>
                  <a:gd name="connsiteY4" fmla="*/ 32936 h 126676"/>
                  <a:gd name="connsiteX5" fmla="*/ 83532 w 83531"/>
                  <a:gd name="connsiteY5" fmla="*/ 79806 h 126676"/>
                  <a:gd name="connsiteX6" fmla="*/ 44297 w 83531"/>
                  <a:gd name="connsiteY6" fmla="*/ 126676 h 126676"/>
                  <a:gd name="connsiteX7" fmla="*/ 13922 w 83531"/>
                  <a:gd name="connsiteY7" fmla="*/ 111475 h 126676"/>
                  <a:gd name="connsiteX8" fmla="*/ 13922 w 83531"/>
                  <a:gd name="connsiteY8" fmla="*/ 125410 h 126676"/>
                  <a:gd name="connsiteX9" fmla="*/ 0 w 83531"/>
                  <a:gd name="connsiteY9" fmla="*/ 125410 h 126676"/>
                  <a:gd name="connsiteX10" fmla="*/ 40500 w 83531"/>
                  <a:gd name="connsiteY10" fmla="*/ 114009 h 126676"/>
                  <a:gd name="connsiteX11" fmla="*/ 69610 w 83531"/>
                  <a:gd name="connsiteY11" fmla="*/ 79806 h 126676"/>
                  <a:gd name="connsiteX12" fmla="*/ 40500 w 83531"/>
                  <a:gd name="connsiteY12" fmla="*/ 45604 h 126676"/>
                  <a:gd name="connsiteX13" fmla="*/ 13922 w 83531"/>
                  <a:gd name="connsiteY13" fmla="*/ 59538 h 126676"/>
                  <a:gd name="connsiteX14" fmla="*/ 13922 w 83531"/>
                  <a:gd name="connsiteY14" fmla="*/ 100074 h 126676"/>
                  <a:gd name="connsiteX15" fmla="*/ 40500 w 83531"/>
                  <a:gd name="connsiteY15" fmla="*/ 114009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1" h="126676">
                    <a:moveTo>
                      <a:pt x="0" y="124143"/>
                    </a:moveTo>
                    <a:lnTo>
                      <a:pt x="0" y="0"/>
                    </a:lnTo>
                    <a:lnTo>
                      <a:pt x="13922" y="0"/>
                    </a:lnTo>
                    <a:lnTo>
                      <a:pt x="13922" y="48137"/>
                    </a:lnTo>
                    <a:cubicBezTo>
                      <a:pt x="21516" y="38003"/>
                      <a:pt x="31641" y="32936"/>
                      <a:pt x="44297" y="32936"/>
                    </a:cubicBezTo>
                    <a:cubicBezTo>
                      <a:pt x="67079" y="32936"/>
                      <a:pt x="83532" y="51937"/>
                      <a:pt x="83532" y="79806"/>
                    </a:cubicBezTo>
                    <a:cubicBezTo>
                      <a:pt x="83532" y="108942"/>
                      <a:pt x="67079" y="126676"/>
                      <a:pt x="44297" y="126676"/>
                    </a:cubicBezTo>
                    <a:cubicBezTo>
                      <a:pt x="31641" y="126676"/>
                      <a:pt x="20250" y="120343"/>
                      <a:pt x="13922" y="111475"/>
                    </a:cubicBezTo>
                    <a:lnTo>
                      <a:pt x="13922" y="125410"/>
                    </a:lnTo>
                    <a:lnTo>
                      <a:pt x="0" y="125410"/>
                    </a:lnTo>
                    <a:close/>
                    <a:moveTo>
                      <a:pt x="40500" y="114009"/>
                    </a:moveTo>
                    <a:cubicBezTo>
                      <a:pt x="58219" y="114009"/>
                      <a:pt x="69610" y="98807"/>
                      <a:pt x="69610" y="79806"/>
                    </a:cubicBezTo>
                    <a:cubicBezTo>
                      <a:pt x="69610" y="59538"/>
                      <a:pt x="59485" y="45604"/>
                      <a:pt x="40500" y="45604"/>
                    </a:cubicBezTo>
                    <a:cubicBezTo>
                      <a:pt x="29110" y="45604"/>
                      <a:pt x="18985" y="51937"/>
                      <a:pt x="13922" y="59538"/>
                    </a:cubicBezTo>
                    <a:lnTo>
                      <a:pt x="13922" y="100074"/>
                    </a:lnTo>
                    <a:cubicBezTo>
                      <a:pt x="18985" y="107675"/>
                      <a:pt x="29110" y="114009"/>
                      <a:pt x="40500" y="114009"/>
                    </a:cubicBezTo>
                    <a:close/>
                  </a:path>
                </a:pathLst>
              </a:custGeom>
              <a:solidFill>
                <a:srgbClr val="FFFFFF"/>
              </a:solidFill>
              <a:ln w="12649" cap="flat">
                <a:noFill/>
                <a:prstDash val="solid"/>
                <a:miter/>
              </a:ln>
            </p:spPr>
            <p:txBody>
              <a:bodyPr rtlCol="0" anchor="ctr"/>
              <a:lstStyle/>
              <a:p>
                <a:pPr algn="l" rtl="0"/>
                <a:endParaRPr lang="en-US"/>
              </a:p>
            </p:txBody>
          </p:sp>
          <p:sp>
            <p:nvSpPr>
              <p:cNvPr id="675" name="Freeform 674">
                <a:extLst>
                  <a:ext uri="{FF2B5EF4-FFF2-40B4-BE49-F238E27FC236}">
                    <a16:creationId xmlns:a16="http://schemas.microsoft.com/office/drawing/2014/main" id="{A87EF852-0FC8-C69F-E34C-09F38A9B489E}"/>
                  </a:ext>
                </a:extLst>
              </p:cNvPr>
              <p:cNvSpPr/>
              <p:nvPr/>
            </p:nvSpPr>
            <p:spPr>
              <a:xfrm>
                <a:off x="2316775" y="6244441"/>
                <a:ext cx="89859" cy="125409"/>
              </a:xfrm>
              <a:custGeom>
                <a:avLst/>
                <a:gdLst>
                  <a:gd name="connsiteX0" fmla="*/ 10125 w 89859"/>
                  <a:gd name="connsiteY0" fmla="*/ 111475 h 125409"/>
                  <a:gd name="connsiteX1" fmla="*/ 17719 w 89859"/>
                  <a:gd name="connsiteY1" fmla="*/ 112742 h 125409"/>
                  <a:gd name="connsiteX2" fmla="*/ 31641 w 89859"/>
                  <a:gd name="connsiteY2" fmla="*/ 103875 h 125409"/>
                  <a:gd name="connsiteX3" fmla="*/ 37969 w 89859"/>
                  <a:gd name="connsiteY3" fmla="*/ 89940 h 125409"/>
                  <a:gd name="connsiteX4" fmla="*/ 0 w 89859"/>
                  <a:gd name="connsiteY4" fmla="*/ 0 h 125409"/>
                  <a:gd name="connsiteX5" fmla="*/ 15187 w 89859"/>
                  <a:gd name="connsiteY5" fmla="*/ 0 h 125409"/>
                  <a:gd name="connsiteX6" fmla="*/ 45563 w 89859"/>
                  <a:gd name="connsiteY6" fmla="*/ 73473 h 125409"/>
                  <a:gd name="connsiteX7" fmla="*/ 74673 w 89859"/>
                  <a:gd name="connsiteY7" fmla="*/ 0 h 125409"/>
                  <a:gd name="connsiteX8" fmla="*/ 89860 w 89859"/>
                  <a:gd name="connsiteY8" fmla="*/ 0 h 125409"/>
                  <a:gd name="connsiteX9" fmla="*/ 45563 w 89859"/>
                  <a:gd name="connsiteY9" fmla="*/ 107675 h 125409"/>
                  <a:gd name="connsiteX10" fmla="*/ 18985 w 89859"/>
                  <a:gd name="connsiteY10" fmla="*/ 125410 h 125409"/>
                  <a:gd name="connsiteX11" fmla="*/ 8859 w 89859"/>
                  <a:gd name="connsiteY11" fmla="*/ 124143 h 125409"/>
                  <a:gd name="connsiteX12" fmla="*/ 10125 w 89859"/>
                  <a:gd name="connsiteY12" fmla="*/ 111475 h 12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859" h="125409">
                    <a:moveTo>
                      <a:pt x="10125" y="111475"/>
                    </a:moveTo>
                    <a:cubicBezTo>
                      <a:pt x="12656" y="112742"/>
                      <a:pt x="15187" y="112742"/>
                      <a:pt x="17719" y="112742"/>
                    </a:cubicBezTo>
                    <a:cubicBezTo>
                      <a:pt x="24047" y="112742"/>
                      <a:pt x="27844" y="110209"/>
                      <a:pt x="31641" y="103875"/>
                    </a:cubicBezTo>
                    <a:lnTo>
                      <a:pt x="37969" y="89940"/>
                    </a:lnTo>
                    <a:lnTo>
                      <a:pt x="0" y="0"/>
                    </a:lnTo>
                    <a:lnTo>
                      <a:pt x="15187" y="0"/>
                    </a:lnTo>
                    <a:lnTo>
                      <a:pt x="45563" y="73473"/>
                    </a:lnTo>
                    <a:lnTo>
                      <a:pt x="74673" y="0"/>
                    </a:lnTo>
                    <a:lnTo>
                      <a:pt x="89860" y="0"/>
                    </a:lnTo>
                    <a:lnTo>
                      <a:pt x="45563" y="107675"/>
                    </a:lnTo>
                    <a:cubicBezTo>
                      <a:pt x="40500" y="120343"/>
                      <a:pt x="31641" y="125410"/>
                      <a:pt x="18985" y="125410"/>
                    </a:cubicBezTo>
                    <a:cubicBezTo>
                      <a:pt x="16453" y="125410"/>
                      <a:pt x="11391" y="125410"/>
                      <a:pt x="8859" y="124143"/>
                    </a:cubicBezTo>
                    <a:lnTo>
                      <a:pt x="10125" y="111475"/>
                    </a:lnTo>
                    <a:close/>
                  </a:path>
                </a:pathLst>
              </a:custGeom>
              <a:solidFill>
                <a:srgbClr val="FFFFFF"/>
              </a:solidFill>
              <a:ln w="12649" cap="flat">
                <a:noFill/>
                <a:prstDash val="solid"/>
                <a:miter/>
              </a:ln>
            </p:spPr>
            <p:txBody>
              <a:bodyPr rtlCol="0" anchor="ctr"/>
              <a:lstStyle/>
              <a:p>
                <a:pPr algn="l" rtl="0"/>
                <a:endParaRPr lang="en-US"/>
              </a:p>
            </p:txBody>
          </p:sp>
        </p:grpSp>
      </p:grpSp>
      <p:grpSp>
        <p:nvGrpSpPr>
          <p:cNvPr id="34" name="Group 33">
            <a:extLst>
              <a:ext uri="{FF2B5EF4-FFF2-40B4-BE49-F238E27FC236}">
                <a16:creationId xmlns:a16="http://schemas.microsoft.com/office/drawing/2014/main" id="{1EA0648E-C7C9-7872-B5E1-E2CDEE529A07}"/>
              </a:ext>
            </a:extLst>
          </p:cNvPr>
          <p:cNvGrpSpPr/>
          <p:nvPr/>
        </p:nvGrpSpPr>
        <p:grpSpPr>
          <a:xfrm>
            <a:off x="4792474" y="1266829"/>
            <a:ext cx="6404436" cy="4909136"/>
            <a:chOff x="5872113" y="815406"/>
            <a:chExt cx="6404436" cy="4909136"/>
          </a:xfrm>
        </p:grpSpPr>
        <p:grpSp>
          <p:nvGrpSpPr>
            <p:cNvPr id="376" name="Group 375">
              <a:extLst>
                <a:ext uri="{FF2B5EF4-FFF2-40B4-BE49-F238E27FC236}">
                  <a16:creationId xmlns:a16="http://schemas.microsoft.com/office/drawing/2014/main" id="{9A5150E6-C5CD-BBFB-9398-72325641DB31}"/>
                </a:ext>
              </a:extLst>
            </p:cNvPr>
            <p:cNvGrpSpPr/>
            <p:nvPr/>
          </p:nvGrpSpPr>
          <p:grpSpPr>
            <a:xfrm>
              <a:off x="7086482" y="1165142"/>
              <a:ext cx="1550963" cy="4262671"/>
              <a:chOff x="7086482" y="1315385"/>
              <a:chExt cx="1550963" cy="4262671"/>
            </a:xfrm>
          </p:grpSpPr>
          <p:cxnSp>
            <p:nvCxnSpPr>
              <p:cNvPr id="366" name="Straight Connector 365">
                <a:extLst>
                  <a:ext uri="{FF2B5EF4-FFF2-40B4-BE49-F238E27FC236}">
                    <a16:creationId xmlns:a16="http://schemas.microsoft.com/office/drawing/2014/main" id="{BE8062AE-43BF-0B01-CAD3-34C5355E1538}"/>
                  </a:ext>
                </a:extLst>
              </p:cNvPr>
              <p:cNvCxnSpPr>
                <a:cxnSpLocks/>
              </p:cNvCxnSpPr>
              <p:nvPr/>
            </p:nvCxnSpPr>
            <p:spPr>
              <a:xfrm flipV="1">
                <a:off x="7086482" y="1315385"/>
                <a:ext cx="504154" cy="314051"/>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EA8CE6E0-075E-0B1D-C610-6BF65AC829A6}"/>
                  </a:ext>
                </a:extLst>
              </p:cNvPr>
              <p:cNvCxnSpPr>
                <a:cxnSpLocks/>
              </p:cNvCxnSpPr>
              <p:nvPr/>
            </p:nvCxnSpPr>
            <p:spPr>
              <a:xfrm flipV="1">
                <a:off x="7786309" y="2304320"/>
                <a:ext cx="690942" cy="23770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1010D64B-0A43-E2C9-EDB3-68CAE5A22EA8}"/>
                  </a:ext>
                </a:extLst>
              </p:cNvPr>
              <p:cNvCxnSpPr>
                <a:cxnSpLocks/>
              </p:cNvCxnSpPr>
              <p:nvPr/>
            </p:nvCxnSpPr>
            <p:spPr>
              <a:xfrm>
                <a:off x="7939247" y="3341109"/>
                <a:ext cx="698198"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FD98DBFF-820F-6685-30B1-E6706D04CD34}"/>
                  </a:ext>
                </a:extLst>
              </p:cNvPr>
              <p:cNvCxnSpPr>
                <a:cxnSpLocks/>
              </p:cNvCxnSpPr>
              <p:nvPr/>
            </p:nvCxnSpPr>
            <p:spPr>
              <a:xfrm>
                <a:off x="7797079" y="4150002"/>
                <a:ext cx="680172" cy="32486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5CE669B6-3925-14C6-4249-280DC77C22E4}"/>
                  </a:ext>
                </a:extLst>
              </p:cNvPr>
              <p:cNvCxnSpPr>
                <a:cxnSpLocks/>
              </p:cNvCxnSpPr>
              <p:nvPr/>
            </p:nvCxnSpPr>
            <p:spPr>
              <a:xfrm>
                <a:off x="7128390" y="4998421"/>
                <a:ext cx="469168" cy="579635"/>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grpSp>
        <p:grpSp>
          <p:nvGrpSpPr>
            <p:cNvPr id="687" name="Group 686">
              <a:extLst>
                <a:ext uri="{FF2B5EF4-FFF2-40B4-BE49-F238E27FC236}">
                  <a16:creationId xmlns:a16="http://schemas.microsoft.com/office/drawing/2014/main" id="{8FB11B9B-86AB-75DD-E35F-074F365C72B4}"/>
                </a:ext>
              </a:extLst>
            </p:cNvPr>
            <p:cNvGrpSpPr/>
            <p:nvPr/>
          </p:nvGrpSpPr>
          <p:grpSpPr>
            <a:xfrm>
              <a:off x="5872113" y="815406"/>
              <a:ext cx="6404436" cy="4909136"/>
              <a:chOff x="5501052" y="880082"/>
              <a:chExt cx="6404436" cy="4909136"/>
            </a:xfrm>
          </p:grpSpPr>
          <p:sp>
            <p:nvSpPr>
              <p:cNvPr id="346" name="Freeform 345">
                <a:extLst>
                  <a:ext uri="{FF2B5EF4-FFF2-40B4-BE49-F238E27FC236}">
                    <a16:creationId xmlns:a16="http://schemas.microsoft.com/office/drawing/2014/main" id="{DF7AADC5-B99D-E4BA-9683-6769704BA095}"/>
                  </a:ext>
                </a:extLst>
              </p:cNvPr>
              <p:cNvSpPr/>
              <p:nvPr/>
            </p:nvSpPr>
            <p:spPr>
              <a:xfrm>
                <a:off x="5501052" y="1249104"/>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pPr algn="l" rtl="0"/>
                <a:endParaRPr lang="en-US"/>
              </a:p>
            </p:txBody>
          </p:sp>
          <p:grpSp>
            <p:nvGrpSpPr>
              <p:cNvPr id="23" name="Group 22">
                <a:extLst>
                  <a:ext uri="{FF2B5EF4-FFF2-40B4-BE49-F238E27FC236}">
                    <a16:creationId xmlns:a16="http://schemas.microsoft.com/office/drawing/2014/main" id="{2E5414D3-E0B1-4BDA-1D0D-1558FD55AF7F}"/>
                  </a:ext>
                </a:extLst>
              </p:cNvPr>
              <p:cNvGrpSpPr/>
              <p:nvPr/>
            </p:nvGrpSpPr>
            <p:grpSpPr>
              <a:xfrm>
                <a:off x="6876493" y="880082"/>
                <a:ext cx="3931379" cy="701724"/>
                <a:chOff x="1416598" y="919839"/>
                <a:chExt cx="3931379" cy="701724"/>
              </a:xfrm>
            </p:grpSpPr>
            <p:sp>
              <p:nvSpPr>
                <p:cNvPr id="22" name="Rounded Rectangle 21">
                  <a:extLst>
                    <a:ext uri="{FF2B5EF4-FFF2-40B4-BE49-F238E27FC236}">
                      <a16:creationId xmlns:a16="http://schemas.microsoft.com/office/drawing/2014/main" id="{656CA94F-D6EE-6598-B3D7-8464309398D1}"/>
                    </a:ext>
                  </a:extLst>
                </p:cNvPr>
                <p:cNvSpPr/>
                <p:nvPr/>
              </p:nvSpPr>
              <p:spPr>
                <a:xfrm>
                  <a:off x="1790269" y="960814"/>
                  <a:ext cx="3556800"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679" name="TextBox 49">
                  <a:extLst>
                    <a:ext uri="{FF2B5EF4-FFF2-40B4-BE49-F238E27FC236}">
                      <a16:creationId xmlns:a16="http://schemas.microsoft.com/office/drawing/2014/main" id="{A168F28C-E969-9758-4819-04AB7D11D348}"/>
                    </a:ext>
                  </a:extLst>
                </p:cNvPr>
                <p:cNvSpPr txBox="1"/>
                <p:nvPr/>
              </p:nvSpPr>
              <p:spPr>
                <a:xfrm>
                  <a:off x="2262037" y="1112658"/>
                  <a:ext cx="3085940" cy="352404"/>
                </a:xfrm>
                <a:prstGeom prst="rect">
                  <a:avLst/>
                </a:prstGeom>
                <a:noFill/>
              </p:spPr>
              <p:txBody>
                <a:bodyPr wrap="square" numCol="1" rtlCol="0" anchor="ctr">
                  <a:spAutoFit/>
                </a:bodyPr>
                <a:lstStyle/>
                <a:p>
                  <a:pPr algn="l" rtl="0">
                    <a:lnSpc>
                      <a:spcPts val="2040"/>
                    </a:lnSpc>
                    <a:defRPr/>
                  </a:pPr>
                  <a:r>
                    <a:rPr lang="en-GB" sz="2000" dirty="0">
                      <a:solidFill>
                        <a:schemeClr val="bg1"/>
                      </a:solidFill>
                      <a:ea typeface="Lato Light" panose="020F0502020204030203" pitchFamily="34" charset="0"/>
                      <a:cs typeface="Poppins" pitchFamily="2" charset="77"/>
                    </a:rPr>
                    <a:t>Identificación de partes interesadas</a:t>
                  </a:r>
                </a:p>
              </p:txBody>
            </p:sp>
            <p:grpSp>
              <p:nvGrpSpPr>
                <p:cNvPr id="3" name="Graphic 8">
                  <a:extLst>
                    <a:ext uri="{FF2B5EF4-FFF2-40B4-BE49-F238E27FC236}">
                      <a16:creationId xmlns:a16="http://schemas.microsoft.com/office/drawing/2014/main" id="{CAB9C048-EEEB-3299-B37A-C25DD150D50B}"/>
                    </a:ext>
                  </a:extLst>
                </p:cNvPr>
                <p:cNvGrpSpPr/>
                <p:nvPr/>
              </p:nvGrpSpPr>
              <p:grpSpPr>
                <a:xfrm>
                  <a:off x="1416598" y="919839"/>
                  <a:ext cx="701992" cy="701724"/>
                  <a:chOff x="4817897" y="694433"/>
                  <a:chExt cx="1446392" cy="1445841"/>
                </a:xfrm>
              </p:grpSpPr>
              <p:sp>
                <p:nvSpPr>
                  <p:cNvPr id="4" name="Freeform 3">
                    <a:extLst>
                      <a:ext uri="{FF2B5EF4-FFF2-40B4-BE49-F238E27FC236}">
                        <a16:creationId xmlns:a16="http://schemas.microsoft.com/office/drawing/2014/main" id="{C7565399-F7AE-B2BB-4394-36084FABE02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5" name="Freeform 4">
                    <a:extLst>
                      <a:ext uri="{FF2B5EF4-FFF2-40B4-BE49-F238E27FC236}">
                        <a16:creationId xmlns:a16="http://schemas.microsoft.com/office/drawing/2014/main" id="{ECA8422A-A9B5-5089-84EE-7BB66F96DC6C}"/>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6" name="TextBox 5">
                  <a:extLst>
                    <a:ext uri="{FF2B5EF4-FFF2-40B4-BE49-F238E27FC236}">
                      <a16:creationId xmlns:a16="http://schemas.microsoft.com/office/drawing/2014/main" id="{08459152-7851-517D-FFEB-17D84DD995C1}"/>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grpSp>
            <p:nvGrpSpPr>
              <p:cNvPr id="9" name="Group 8">
                <a:extLst>
                  <a:ext uri="{FF2B5EF4-FFF2-40B4-BE49-F238E27FC236}">
                    <a16:creationId xmlns:a16="http://schemas.microsoft.com/office/drawing/2014/main" id="{640D5918-EABC-C933-FC3D-09CB9F021CEF}"/>
                  </a:ext>
                </a:extLst>
              </p:cNvPr>
              <p:cNvGrpSpPr/>
              <p:nvPr/>
            </p:nvGrpSpPr>
            <p:grpSpPr>
              <a:xfrm>
                <a:off x="6533411" y="1488076"/>
                <a:ext cx="230346" cy="230551"/>
                <a:chOff x="1073516" y="1527833"/>
                <a:chExt cx="230346" cy="230551"/>
              </a:xfrm>
            </p:grpSpPr>
            <p:sp>
              <p:nvSpPr>
                <p:cNvPr id="7" name="Freeform 6">
                  <a:extLst>
                    <a:ext uri="{FF2B5EF4-FFF2-40B4-BE49-F238E27FC236}">
                      <a16:creationId xmlns:a16="http://schemas.microsoft.com/office/drawing/2014/main" id="{B70D8705-D7C9-A1E5-3A15-7CA3AB0FC1E9}"/>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8" name="Freeform 7">
                  <a:extLst>
                    <a:ext uri="{FF2B5EF4-FFF2-40B4-BE49-F238E27FC236}">
                      <a16:creationId xmlns:a16="http://schemas.microsoft.com/office/drawing/2014/main" id="{E29CD5C3-2443-4F7B-C655-5A9DD1C60C6E}"/>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10" name="Group 9">
                <a:extLst>
                  <a:ext uri="{FF2B5EF4-FFF2-40B4-BE49-F238E27FC236}">
                    <a16:creationId xmlns:a16="http://schemas.microsoft.com/office/drawing/2014/main" id="{88B1891E-5662-3737-E347-788D49247272}"/>
                  </a:ext>
                </a:extLst>
              </p:cNvPr>
              <p:cNvGrpSpPr/>
              <p:nvPr/>
            </p:nvGrpSpPr>
            <p:grpSpPr>
              <a:xfrm>
                <a:off x="7202070" y="2367788"/>
                <a:ext cx="230346" cy="230551"/>
                <a:chOff x="1073516" y="1527833"/>
                <a:chExt cx="230346" cy="230551"/>
              </a:xfrm>
            </p:grpSpPr>
            <p:sp>
              <p:nvSpPr>
                <p:cNvPr id="11" name="Freeform 10">
                  <a:extLst>
                    <a:ext uri="{FF2B5EF4-FFF2-40B4-BE49-F238E27FC236}">
                      <a16:creationId xmlns:a16="http://schemas.microsoft.com/office/drawing/2014/main" id="{80E1B792-21A9-76F5-44F0-83A62D5C70A0}"/>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12" name="Freeform 11">
                  <a:extLst>
                    <a:ext uri="{FF2B5EF4-FFF2-40B4-BE49-F238E27FC236}">
                      <a16:creationId xmlns:a16="http://schemas.microsoft.com/office/drawing/2014/main" id="{6A9DB2FA-B297-2297-18F4-1310F4A75360}"/>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13" name="Group 12">
                <a:extLst>
                  <a:ext uri="{FF2B5EF4-FFF2-40B4-BE49-F238E27FC236}">
                    <a16:creationId xmlns:a16="http://schemas.microsoft.com/office/drawing/2014/main" id="{0A450D7F-9A78-1F49-E861-7A5A264B7882}"/>
                  </a:ext>
                </a:extLst>
              </p:cNvPr>
              <p:cNvGrpSpPr/>
              <p:nvPr/>
            </p:nvGrpSpPr>
            <p:grpSpPr>
              <a:xfrm>
                <a:off x="7361503" y="3134049"/>
                <a:ext cx="230346" cy="230551"/>
                <a:chOff x="1073516" y="1527833"/>
                <a:chExt cx="230346" cy="230551"/>
              </a:xfrm>
            </p:grpSpPr>
            <p:sp>
              <p:nvSpPr>
                <p:cNvPr id="14" name="Freeform 13">
                  <a:extLst>
                    <a:ext uri="{FF2B5EF4-FFF2-40B4-BE49-F238E27FC236}">
                      <a16:creationId xmlns:a16="http://schemas.microsoft.com/office/drawing/2014/main" id="{934D7625-9490-270C-5613-77B2C153A546}"/>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15" name="Freeform 14">
                  <a:extLst>
                    <a:ext uri="{FF2B5EF4-FFF2-40B4-BE49-F238E27FC236}">
                      <a16:creationId xmlns:a16="http://schemas.microsoft.com/office/drawing/2014/main" id="{BC6ECDE5-5264-37FF-EBDF-57D94DB4BF7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16" name="Group 15">
                <a:extLst>
                  <a:ext uri="{FF2B5EF4-FFF2-40B4-BE49-F238E27FC236}">
                    <a16:creationId xmlns:a16="http://schemas.microsoft.com/office/drawing/2014/main" id="{E45B436A-65F6-A7DC-50F3-B47C518CBA92}"/>
                  </a:ext>
                </a:extLst>
              </p:cNvPr>
              <p:cNvGrpSpPr/>
              <p:nvPr/>
            </p:nvGrpSpPr>
            <p:grpSpPr>
              <a:xfrm>
                <a:off x="6585763" y="4710560"/>
                <a:ext cx="230346" cy="230551"/>
                <a:chOff x="1073516" y="1527833"/>
                <a:chExt cx="230346" cy="230551"/>
              </a:xfrm>
            </p:grpSpPr>
            <p:sp>
              <p:nvSpPr>
                <p:cNvPr id="17" name="Freeform 16">
                  <a:extLst>
                    <a:ext uri="{FF2B5EF4-FFF2-40B4-BE49-F238E27FC236}">
                      <a16:creationId xmlns:a16="http://schemas.microsoft.com/office/drawing/2014/main" id="{5AA0FF22-8255-DBFD-F482-3EB0FF0A722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18" name="Freeform 17">
                  <a:extLst>
                    <a:ext uri="{FF2B5EF4-FFF2-40B4-BE49-F238E27FC236}">
                      <a16:creationId xmlns:a16="http://schemas.microsoft.com/office/drawing/2014/main" id="{E73B8D94-0A67-E5EA-C028-A585095B548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19" name="Group 18">
                <a:extLst>
                  <a:ext uri="{FF2B5EF4-FFF2-40B4-BE49-F238E27FC236}">
                    <a16:creationId xmlns:a16="http://schemas.microsoft.com/office/drawing/2014/main" id="{251D77FF-FBF4-A823-F2E0-64D85F161C26}"/>
                  </a:ext>
                </a:extLst>
              </p:cNvPr>
              <p:cNvGrpSpPr/>
              <p:nvPr/>
            </p:nvGrpSpPr>
            <p:grpSpPr>
              <a:xfrm>
                <a:off x="7233223" y="3909177"/>
                <a:ext cx="230346" cy="230551"/>
                <a:chOff x="1073516" y="1527833"/>
                <a:chExt cx="230346" cy="230551"/>
              </a:xfrm>
            </p:grpSpPr>
            <p:sp>
              <p:nvSpPr>
                <p:cNvPr id="20" name="Freeform 19">
                  <a:extLst>
                    <a:ext uri="{FF2B5EF4-FFF2-40B4-BE49-F238E27FC236}">
                      <a16:creationId xmlns:a16="http://schemas.microsoft.com/office/drawing/2014/main" id="{BFD3C6A7-C747-F328-8998-B12F8F47E1F5}"/>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pPr algn="l" rtl="0"/>
                  <a:endParaRPr lang="en-US"/>
                </a:p>
              </p:txBody>
            </p:sp>
            <p:sp>
              <p:nvSpPr>
                <p:cNvPr id="21" name="Freeform 20">
                  <a:extLst>
                    <a:ext uri="{FF2B5EF4-FFF2-40B4-BE49-F238E27FC236}">
                      <a16:creationId xmlns:a16="http://schemas.microsoft.com/office/drawing/2014/main" id="{FDC0B6C0-CEC3-7673-FD9E-A9B51A03E94E}"/>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pPr algn="l" rtl="0"/>
                  <a:endParaRPr lang="en-US"/>
                </a:p>
              </p:txBody>
            </p:sp>
          </p:grpSp>
          <p:grpSp>
            <p:nvGrpSpPr>
              <p:cNvPr id="45" name="Group 44">
                <a:extLst>
                  <a:ext uri="{FF2B5EF4-FFF2-40B4-BE49-F238E27FC236}">
                    <a16:creationId xmlns:a16="http://schemas.microsoft.com/office/drawing/2014/main" id="{91497CDF-7AEB-9BB8-29EB-C19273B56192}"/>
                  </a:ext>
                </a:extLst>
              </p:cNvPr>
              <p:cNvGrpSpPr/>
              <p:nvPr/>
            </p:nvGrpSpPr>
            <p:grpSpPr>
              <a:xfrm>
                <a:off x="7706148" y="1854681"/>
                <a:ext cx="3931379" cy="701724"/>
                <a:chOff x="1416598" y="919839"/>
                <a:chExt cx="3931379" cy="701724"/>
              </a:xfrm>
            </p:grpSpPr>
            <p:sp>
              <p:nvSpPr>
                <p:cNvPr id="46" name="Rounded Rectangle 45">
                  <a:extLst>
                    <a:ext uri="{FF2B5EF4-FFF2-40B4-BE49-F238E27FC236}">
                      <a16:creationId xmlns:a16="http://schemas.microsoft.com/office/drawing/2014/main" id="{61B6D1AC-971C-7337-50AA-657B5FF3619B}"/>
                    </a:ext>
                  </a:extLst>
                </p:cNvPr>
                <p:cNvSpPr/>
                <p:nvPr/>
              </p:nvSpPr>
              <p:spPr>
                <a:xfrm>
                  <a:off x="1790268" y="960814"/>
                  <a:ext cx="3556800"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7" name="TextBox 49">
                  <a:extLst>
                    <a:ext uri="{FF2B5EF4-FFF2-40B4-BE49-F238E27FC236}">
                      <a16:creationId xmlns:a16="http://schemas.microsoft.com/office/drawing/2014/main" id="{289FC85E-471F-70F4-8AE5-1A897F5C796B}"/>
                    </a:ext>
                  </a:extLst>
                </p:cNvPr>
                <p:cNvSpPr txBox="1"/>
                <p:nvPr/>
              </p:nvSpPr>
              <p:spPr>
                <a:xfrm>
                  <a:off x="2262037" y="1112658"/>
                  <a:ext cx="3085940" cy="352404"/>
                </a:xfrm>
                <a:prstGeom prst="rect">
                  <a:avLst/>
                </a:prstGeom>
                <a:noFill/>
              </p:spPr>
              <p:txBody>
                <a:bodyPr wrap="square" numCol="1" rtlCol="0" anchor="ctr">
                  <a:spAutoFit/>
                </a:bodyPr>
                <a:lstStyle/>
                <a:p>
                  <a:pPr algn="l" rtl="0">
                    <a:lnSpc>
                      <a:spcPts val="2040"/>
                    </a:lnSpc>
                    <a:defRPr/>
                  </a:pPr>
                  <a:r>
                    <a:rPr lang="en-GB" sz="2000" dirty="0">
                      <a:solidFill>
                        <a:schemeClr val="bg1"/>
                      </a:solidFill>
                      <a:ea typeface="Lato Light" panose="020F0502020204030203" pitchFamily="34" charset="0"/>
                      <a:cs typeface="Poppins" pitchFamily="2" charset="77"/>
                    </a:rPr>
                    <a:t>Analisis de los interesados</a:t>
                  </a:r>
                </a:p>
              </p:txBody>
            </p:sp>
            <p:grpSp>
              <p:nvGrpSpPr>
                <p:cNvPr id="48" name="Graphic 8">
                  <a:extLst>
                    <a:ext uri="{FF2B5EF4-FFF2-40B4-BE49-F238E27FC236}">
                      <a16:creationId xmlns:a16="http://schemas.microsoft.com/office/drawing/2014/main" id="{AA771BF4-E88A-AD46-58F5-292A0FADDEA1}"/>
                    </a:ext>
                  </a:extLst>
                </p:cNvPr>
                <p:cNvGrpSpPr/>
                <p:nvPr/>
              </p:nvGrpSpPr>
              <p:grpSpPr>
                <a:xfrm>
                  <a:off x="1416598" y="919839"/>
                  <a:ext cx="701992" cy="701724"/>
                  <a:chOff x="4817897" y="694433"/>
                  <a:chExt cx="1446392" cy="1445841"/>
                </a:xfrm>
              </p:grpSpPr>
              <p:sp>
                <p:nvSpPr>
                  <p:cNvPr id="50" name="Freeform 49">
                    <a:extLst>
                      <a:ext uri="{FF2B5EF4-FFF2-40B4-BE49-F238E27FC236}">
                        <a16:creationId xmlns:a16="http://schemas.microsoft.com/office/drawing/2014/main" id="{BB3F5E0F-CD2B-9E8A-1F75-02323006CAD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51" name="Freeform 50">
                    <a:extLst>
                      <a:ext uri="{FF2B5EF4-FFF2-40B4-BE49-F238E27FC236}">
                        <a16:creationId xmlns:a16="http://schemas.microsoft.com/office/drawing/2014/main" id="{9502B25F-57CA-E28C-2FDA-5E3C2337B2C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49" name="TextBox 48">
                  <a:extLst>
                    <a:ext uri="{FF2B5EF4-FFF2-40B4-BE49-F238E27FC236}">
                      <a16:creationId xmlns:a16="http://schemas.microsoft.com/office/drawing/2014/main" id="{EE7F49A7-9C53-A77B-AA0B-859C0EABBA92}"/>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52" name="Group 51">
                <a:extLst>
                  <a:ext uri="{FF2B5EF4-FFF2-40B4-BE49-F238E27FC236}">
                    <a16:creationId xmlns:a16="http://schemas.microsoft.com/office/drawing/2014/main" id="{229054F6-283C-EE21-7487-6653C023860D}"/>
                  </a:ext>
                </a:extLst>
              </p:cNvPr>
              <p:cNvGrpSpPr/>
              <p:nvPr/>
            </p:nvGrpSpPr>
            <p:grpSpPr>
              <a:xfrm>
                <a:off x="7706148" y="4011500"/>
                <a:ext cx="3930470" cy="701724"/>
                <a:chOff x="1416598" y="919839"/>
                <a:chExt cx="3930470" cy="701724"/>
              </a:xfrm>
            </p:grpSpPr>
            <p:sp>
              <p:nvSpPr>
                <p:cNvPr id="53" name="Rounded Rectangle 52">
                  <a:extLst>
                    <a:ext uri="{FF2B5EF4-FFF2-40B4-BE49-F238E27FC236}">
                      <a16:creationId xmlns:a16="http://schemas.microsoft.com/office/drawing/2014/main" id="{7476D459-FA29-574A-2A25-431B3ABB116D}"/>
                    </a:ext>
                  </a:extLst>
                </p:cNvPr>
                <p:cNvSpPr/>
                <p:nvPr/>
              </p:nvSpPr>
              <p:spPr>
                <a:xfrm>
                  <a:off x="1790268" y="960814"/>
                  <a:ext cx="3556800"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54" name="TextBox 49">
                  <a:extLst>
                    <a:ext uri="{FF2B5EF4-FFF2-40B4-BE49-F238E27FC236}">
                      <a16:creationId xmlns:a16="http://schemas.microsoft.com/office/drawing/2014/main" id="{F60F12D7-0920-3727-48DA-B25BB7710F4A}"/>
                    </a:ext>
                  </a:extLst>
                </p:cNvPr>
                <p:cNvSpPr txBox="1"/>
                <p:nvPr/>
              </p:nvSpPr>
              <p:spPr>
                <a:xfrm>
                  <a:off x="2262037" y="984418"/>
                  <a:ext cx="3085031" cy="608885"/>
                </a:xfrm>
                <a:prstGeom prst="rect">
                  <a:avLst/>
                </a:prstGeom>
                <a:noFill/>
              </p:spPr>
              <p:txBody>
                <a:bodyPr wrap="square" numCol="1" rtlCol="0" anchor="ctr">
                  <a:spAutoFit/>
                </a:bodyPr>
                <a:lstStyle/>
                <a:p>
                  <a:pPr algn="l" rtl="0">
                    <a:lnSpc>
                      <a:spcPts val="2040"/>
                    </a:lnSpc>
                    <a:defRPr/>
                  </a:pPr>
                  <a:r>
                    <a:rPr lang="en-GB" sz="2000" dirty="0">
                      <a:solidFill>
                        <a:schemeClr val="bg1"/>
                      </a:solidFill>
                      <a:ea typeface="Lato Light" panose="020F0502020204030203" pitchFamily="34" charset="0"/>
                      <a:cs typeface="Poppins" pitchFamily="2" charset="77"/>
                    </a:rPr>
                    <a:t>Implementación y seguimiento de comunicaciones</a:t>
                  </a:r>
                </a:p>
              </p:txBody>
            </p:sp>
            <p:grpSp>
              <p:nvGrpSpPr>
                <p:cNvPr id="55" name="Graphic 8">
                  <a:extLst>
                    <a:ext uri="{FF2B5EF4-FFF2-40B4-BE49-F238E27FC236}">
                      <a16:creationId xmlns:a16="http://schemas.microsoft.com/office/drawing/2014/main" id="{72F04772-7356-E04C-AAC8-6D99D3814ED5}"/>
                    </a:ext>
                  </a:extLst>
                </p:cNvPr>
                <p:cNvGrpSpPr/>
                <p:nvPr/>
              </p:nvGrpSpPr>
              <p:grpSpPr>
                <a:xfrm>
                  <a:off x="1416598" y="919839"/>
                  <a:ext cx="701992" cy="701724"/>
                  <a:chOff x="4817897" y="694433"/>
                  <a:chExt cx="1446392" cy="1445841"/>
                </a:xfrm>
              </p:grpSpPr>
              <p:sp>
                <p:nvSpPr>
                  <p:cNvPr id="57" name="Freeform 56">
                    <a:extLst>
                      <a:ext uri="{FF2B5EF4-FFF2-40B4-BE49-F238E27FC236}">
                        <a16:creationId xmlns:a16="http://schemas.microsoft.com/office/drawing/2014/main" id="{AA993F06-1F1A-3E62-8877-AC4CF9C0F848}"/>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58" name="Freeform 57">
                    <a:extLst>
                      <a:ext uri="{FF2B5EF4-FFF2-40B4-BE49-F238E27FC236}">
                        <a16:creationId xmlns:a16="http://schemas.microsoft.com/office/drawing/2014/main" id="{DB7A0F0F-AD9B-4BDC-FEF5-D59C10706F06}"/>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56" name="TextBox 55">
                  <a:extLst>
                    <a:ext uri="{FF2B5EF4-FFF2-40B4-BE49-F238E27FC236}">
                      <a16:creationId xmlns:a16="http://schemas.microsoft.com/office/drawing/2014/main" id="{FFD788F7-5CD1-A760-49B9-B3E3C25C9698}"/>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grpSp>
            <p:nvGrpSpPr>
              <p:cNvPr id="59" name="Group 58">
                <a:extLst>
                  <a:ext uri="{FF2B5EF4-FFF2-40B4-BE49-F238E27FC236}">
                    <a16:creationId xmlns:a16="http://schemas.microsoft.com/office/drawing/2014/main" id="{CD89D7BC-8C91-0624-04E1-6C4BFF96AA38}"/>
                  </a:ext>
                </a:extLst>
              </p:cNvPr>
              <p:cNvGrpSpPr/>
              <p:nvPr/>
            </p:nvGrpSpPr>
            <p:grpSpPr>
              <a:xfrm>
                <a:off x="7974109" y="2914157"/>
                <a:ext cx="3931379" cy="701724"/>
                <a:chOff x="1416598" y="919839"/>
                <a:chExt cx="3931379" cy="701724"/>
              </a:xfrm>
            </p:grpSpPr>
            <p:sp>
              <p:nvSpPr>
                <p:cNvPr id="60" name="Rounded Rectangle 59">
                  <a:extLst>
                    <a:ext uri="{FF2B5EF4-FFF2-40B4-BE49-F238E27FC236}">
                      <a16:creationId xmlns:a16="http://schemas.microsoft.com/office/drawing/2014/main" id="{D18D0D7E-72E0-508A-C06B-6836CAA21713}"/>
                    </a:ext>
                  </a:extLst>
                </p:cNvPr>
                <p:cNvSpPr/>
                <p:nvPr/>
              </p:nvSpPr>
              <p:spPr>
                <a:xfrm>
                  <a:off x="1790268" y="960814"/>
                  <a:ext cx="3556800"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61" name="TextBox 49">
                  <a:extLst>
                    <a:ext uri="{FF2B5EF4-FFF2-40B4-BE49-F238E27FC236}">
                      <a16:creationId xmlns:a16="http://schemas.microsoft.com/office/drawing/2014/main" id="{6E94B39E-0FB0-8241-E724-D0A56D550404}"/>
                    </a:ext>
                  </a:extLst>
                </p:cNvPr>
                <p:cNvSpPr txBox="1"/>
                <p:nvPr/>
              </p:nvSpPr>
              <p:spPr>
                <a:xfrm>
                  <a:off x="2262037" y="1112658"/>
                  <a:ext cx="3085940" cy="352404"/>
                </a:xfrm>
                <a:prstGeom prst="rect">
                  <a:avLst/>
                </a:prstGeom>
                <a:noFill/>
              </p:spPr>
              <p:txBody>
                <a:bodyPr wrap="square" numCol="1" rtlCol="0" anchor="ctr">
                  <a:spAutoFit/>
                </a:bodyPr>
                <a:lstStyle/>
                <a:p>
                  <a:pPr algn="l" rtl="0">
                    <a:lnSpc>
                      <a:spcPts val="2040"/>
                    </a:lnSpc>
                    <a:defRPr/>
                  </a:pPr>
                  <a:r>
                    <a:rPr lang="en-GB" sz="2000" dirty="0">
                      <a:solidFill>
                        <a:schemeClr val="bg1"/>
                      </a:solidFill>
                      <a:ea typeface="Lato Light" panose="020F0502020204030203" pitchFamily="34" charset="0"/>
                      <a:cs typeface="Poppins" pitchFamily="2" charset="77"/>
                    </a:rPr>
                    <a:t>Medidas y Plan de Acción</a:t>
                  </a:r>
                </a:p>
              </p:txBody>
            </p:sp>
            <p:grpSp>
              <p:nvGrpSpPr>
                <p:cNvPr id="62" name="Graphic 8">
                  <a:extLst>
                    <a:ext uri="{FF2B5EF4-FFF2-40B4-BE49-F238E27FC236}">
                      <a16:creationId xmlns:a16="http://schemas.microsoft.com/office/drawing/2014/main" id="{9C5C8EC4-B4F0-4591-C3DB-744646E2FBAF}"/>
                    </a:ext>
                  </a:extLst>
                </p:cNvPr>
                <p:cNvGrpSpPr/>
                <p:nvPr/>
              </p:nvGrpSpPr>
              <p:grpSpPr>
                <a:xfrm>
                  <a:off x="1416598" y="919839"/>
                  <a:ext cx="701992" cy="701724"/>
                  <a:chOff x="4817897" y="694433"/>
                  <a:chExt cx="1446392" cy="1445841"/>
                </a:xfrm>
              </p:grpSpPr>
              <p:sp>
                <p:nvSpPr>
                  <p:cNvPr id="676" name="Freeform 675">
                    <a:extLst>
                      <a:ext uri="{FF2B5EF4-FFF2-40B4-BE49-F238E27FC236}">
                        <a16:creationId xmlns:a16="http://schemas.microsoft.com/office/drawing/2014/main" id="{D08D9F91-E8AD-9360-E43F-0425DE7F2030}"/>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677" name="Freeform 676">
                    <a:extLst>
                      <a:ext uri="{FF2B5EF4-FFF2-40B4-BE49-F238E27FC236}">
                        <a16:creationId xmlns:a16="http://schemas.microsoft.com/office/drawing/2014/main" id="{6761B59A-BD9D-D5A4-41CE-9B045081C80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63" name="TextBox 62">
                  <a:extLst>
                    <a:ext uri="{FF2B5EF4-FFF2-40B4-BE49-F238E27FC236}">
                      <a16:creationId xmlns:a16="http://schemas.microsoft.com/office/drawing/2014/main" id="{4A249D8F-35A0-B18E-790C-5D5E536E13D4}"/>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680" name="Group 679">
                <a:extLst>
                  <a:ext uri="{FF2B5EF4-FFF2-40B4-BE49-F238E27FC236}">
                    <a16:creationId xmlns:a16="http://schemas.microsoft.com/office/drawing/2014/main" id="{80FDEE5E-B3AC-1272-1662-D9A4E4326464}"/>
                  </a:ext>
                </a:extLst>
              </p:cNvPr>
              <p:cNvGrpSpPr/>
              <p:nvPr/>
            </p:nvGrpSpPr>
            <p:grpSpPr>
              <a:xfrm>
                <a:off x="6876493" y="5087494"/>
                <a:ext cx="3930470" cy="701724"/>
                <a:chOff x="1416598" y="919839"/>
                <a:chExt cx="3930470" cy="701724"/>
              </a:xfrm>
            </p:grpSpPr>
            <p:sp>
              <p:nvSpPr>
                <p:cNvPr id="681" name="Rounded Rectangle 680">
                  <a:extLst>
                    <a:ext uri="{FF2B5EF4-FFF2-40B4-BE49-F238E27FC236}">
                      <a16:creationId xmlns:a16="http://schemas.microsoft.com/office/drawing/2014/main" id="{94C73EC3-7DE8-BBCC-FEE6-C66FDF945D75}"/>
                    </a:ext>
                  </a:extLst>
                </p:cNvPr>
                <p:cNvSpPr/>
                <p:nvPr/>
              </p:nvSpPr>
              <p:spPr>
                <a:xfrm>
                  <a:off x="1790268" y="960814"/>
                  <a:ext cx="3556800"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682" name="TextBox 49">
                  <a:extLst>
                    <a:ext uri="{FF2B5EF4-FFF2-40B4-BE49-F238E27FC236}">
                      <a16:creationId xmlns:a16="http://schemas.microsoft.com/office/drawing/2014/main" id="{DC39FED6-813B-49E5-813E-D3156616D751}"/>
                    </a:ext>
                  </a:extLst>
                </p:cNvPr>
                <p:cNvSpPr txBox="1"/>
                <p:nvPr/>
              </p:nvSpPr>
              <p:spPr>
                <a:xfrm>
                  <a:off x="2262037" y="984419"/>
                  <a:ext cx="3085031" cy="608885"/>
                </a:xfrm>
                <a:prstGeom prst="rect">
                  <a:avLst/>
                </a:prstGeom>
                <a:noFill/>
              </p:spPr>
              <p:txBody>
                <a:bodyPr wrap="square" numCol="1" rtlCol="0" anchor="ctr">
                  <a:spAutoFit/>
                </a:bodyPr>
                <a:lstStyle/>
                <a:p>
                  <a:pPr algn="l" rtl="0">
                    <a:lnSpc>
                      <a:spcPts val="2040"/>
                    </a:lnSpc>
                    <a:defRPr/>
                  </a:pPr>
                  <a:r>
                    <a:rPr lang="en-GB" sz="2000" dirty="0">
                      <a:solidFill>
                        <a:schemeClr val="bg1"/>
                      </a:solidFill>
                      <a:ea typeface="Lato Light" panose="020F0502020204030203" pitchFamily="34" charset="0"/>
                      <a:cs typeface="Poppins" pitchFamily="2" charset="77"/>
                    </a:rPr>
                    <a:t>Supervisión y revisión de las partes interesadas</a:t>
                  </a:r>
                </a:p>
              </p:txBody>
            </p:sp>
            <p:grpSp>
              <p:nvGrpSpPr>
                <p:cNvPr id="683" name="Graphic 8">
                  <a:extLst>
                    <a:ext uri="{FF2B5EF4-FFF2-40B4-BE49-F238E27FC236}">
                      <a16:creationId xmlns:a16="http://schemas.microsoft.com/office/drawing/2014/main" id="{754CB4FB-FA33-6BD7-606E-2366A5D1389A}"/>
                    </a:ext>
                  </a:extLst>
                </p:cNvPr>
                <p:cNvGrpSpPr/>
                <p:nvPr/>
              </p:nvGrpSpPr>
              <p:grpSpPr>
                <a:xfrm>
                  <a:off x="1416598" y="919839"/>
                  <a:ext cx="701992" cy="701724"/>
                  <a:chOff x="4817897" y="694433"/>
                  <a:chExt cx="1446392" cy="1445841"/>
                </a:xfrm>
              </p:grpSpPr>
              <p:sp>
                <p:nvSpPr>
                  <p:cNvPr id="685" name="Freeform 684">
                    <a:extLst>
                      <a:ext uri="{FF2B5EF4-FFF2-40B4-BE49-F238E27FC236}">
                        <a16:creationId xmlns:a16="http://schemas.microsoft.com/office/drawing/2014/main" id="{980684D2-4DCA-7FC4-BE9C-BCADAAEC496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686" name="Freeform 685">
                    <a:extLst>
                      <a:ext uri="{FF2B5EF4-FFF2-40B4-BE49-F238E27FC236}">
                        <a16:creationId xmlns:a16="http://schemas.microsoft.com/office/drawing/2014/main" id="{E0C2BE8D-9686-5F51-18C3-3F6B716C483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684" name="TextBox 683">
                  <a:extLst>
                    <a:ext uri="{FF2B5EF4-FFF2-40B4-BE49-F238E27FC236}">
                      <a16:creationId xmlns:a16="http://schemas.microsoft.com/office/drawing/2014/main" id="{10FBDAE9-36FF-016A-771A-174BB9638041}"/>
                    </a:ext>
                  </a:extLst>
                </p:cNvPr>
                <p:cNvSpPr txBox="1"/>
                <p:nvPr/>
              </p:nvSpPr>
              <p:spPr>
                <a:xfrm>
                  <a:off x="1505237" y="1006782"/>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grpSp>
      <p:sp>
        <p:nvSpPr>
          <p:cNvPr id="28" name="Rectangle 27">
            <a:extLst>
              <a:ext uri="{FF2B5EF4-FFF2-40B4-BE49-F238E27FC236}">
                <a16:creationId xmlns:a16="http://schemas.microsoft.com/office/drawing/2014/main" id="{2F2BCB54-4AD5-5A10-EE74-16CE2B08880F}"/>
              </a:ext>
            </a:extLst>
          </p:cNvPr>
          <p:cNvSpPr/>
          <p:nvPr/>
        </p:nvSpPr>
        <p:spPr>
          <a:xfrm>
            <a:off x="1" y="0"/>
            <a:ext cx="4767160"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9" name="Text Placeholder 10">
            <a:extLst>
              <a:ext uri="{FF2B5EF4-FFF2-40B4-BE49-F238E27FC236}">
                <a16:creationId xmlns:a16="http://schemas.microsoft.com/office/drawing/2014/main" id="{BC500B40-0023-12D1-E294-17AD3C25DDAE}"/>
              </a:ext>
            </a:extLst>
          </p:cNvPr>
          <p:cNvSpPr txBox="1">
            <a:spLocks/>
          </p:cNvSpPr>
          <p:nvPr/>
        </p:nvSpPr>
        <p:spPr>
          <a:xfrm>
            <a:off x="538194" y="430173"/>
            <a:ext cx="3407358" cy="581244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dirty="0">
                <a:solidFill>
                  <a:schemeClr val="bg1"/>
                </a:solidFill>
              </a:rPr>
              <a:t>Los 5 pasos de la Gestión de Stakeholders</a:t>
            </a:r>
          </a:p>
        </p:txBody>
      </p:sp>
      <p:sp>
        <p:nvSpPr>
          <p:cNvPr id="30" name="Rectangle 29">
            <a:extLst>
              <a:ext uri="{FF2B5EF4-FFF2-40B4-BE49-F238E27FC236}">
                <a16:creationId xmlns:a16="http://schemas.microsoft.com/office/drawing/2014/main" id="{69B703A5-2327-0D30-455B-43ECE620F1B0}"/>
              </a:ext>
            </a:extLst>
          </p:cNvPr>
          <p:cNvSpPr/>
          <p:nvPr/>
        </p:nvSpPr>
        <p:spPr>
          <a:xfrm>
            <a:off x="533968" y="228612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pic>
        <p:nvPicPr>
          <p:cNvPr id="31" name="Picture 30" descr="Icon  Description automatically generated">
            <a:extLst>
              <a:ext uri="{FF2B5EF4-FFF2-40B4-BE49-F238E27FC236}">
                <a16:creationId xmlns:a16="http://schemas.microsoft.com/office/drawing/2014/main" id="{21F1D58D-EBD1-856D-6125-28A5A1A0D85C}"/>
              </a:ext>
            </a:extLst>
          </p:cNvPr>
          <p:cNvPicPr/>
          <p:nvPr/>
        </p:nvPicPr>
        <p:blipFill rotWithShape="1">
          <a:blip r:embed="rId2" cstate="screen">
            <a:extLst>
              <a:ext uri="{28A0092B-C50C-407E-A947-70E740481C1C}">
                <a14:useLocalDpi xmlns:a14="http://schemas.microsoft.com/office/drawing/2010/main"/>
              </a:ext>
            </a:extLst>
          </a:blip>
          <a:srcRect l="18944" t="-17643" r="9491" b="40286"/>
          <a:stretch/>
        </p:blipFill>
        <p:spPr>
          <a:xfrm>
            <a:off x="-67609" y="2611814"/>
            <a:ext cx="4250484" cy="4220217"/>
          </a:xfrm>
          <a:prstGeom prst="rect">
            <a:avLst/>
          </a:prstGeom>
        </p:spPr>
      </p:pic>
    </p:spTree>
    <p:extLst>
      <p:ext uri="{BB962C8B-B14F-4D97-AF65-F5344CB8AC3E}">
        <p14:creationId xmlns:p14="http://schemas.microsoft.com/office/powerpoint/2010/main" val="222956942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29BCBB0-2531-B07C-F79F-E806EA32F80C}"/>
              </a:ext>
            </a:extLst>
          </p:cNvPr>
          <p:cNvSpPr>
            <a:spLocks noGrp="1"/>
          </p:cNvSpPr>
          <p:nvPr>
            <p:ph type="body" sz="quarter" idx="18"/>
          </p:nvPr>
        </p:nvSpPr>
        <p:spPr>
          <a:xfrm>
            <a:off x="2243138" y="2114549"/>
            <a:ext cx="9201150" cy="4614864"/>
          </a:xfrm>
        </p:spPr>
        <p:txBody>
          <a:bodyPr>
            <a:normAutofit/>
          </a:bodyPr>
          <a:lstStyle/>
          <a:p>
            <a:pPr marL="12700" indent="-12700" algn="l" rtl="0"/>
            <a:r>
              <a:rPr lang="en-US" dirty="0"/>
              <a:t>En el primer paso, identifique a las partes interesadas que deben ser consideradas. Este paso puede ser apoyado por un método de creatividad como la lluvia de ideas.</a:t>
            </a:r>
          </a:p>
          <a:p>
            <a:pPr marL="12700" indent="-12700" algn="l" rtl="0"/>
            <a:endParaRPr lang="en-US" dirty="0"/>
          </a:p>
          <a:p>
            <a:pPr marL="12700" indent="-12700" algn="l" rtl="0"/>
            <a:r>
              <a:rPr lang="en-US" b="1" dirty="0"/>
              <a:t> </a:t>
            </a:r>
            <a:r>
              <a:rPr lang="en-US" b="1" dirty="0">
                <a:solidFill>
                  <a:srgbClr val="F16924"/>
                </a:solidFill>
              </a:rPr>
              <a:t>Use las siguientes preguntas guía:</a:t>
            </a:r>
          </a:p>
          <a:p>
            <a:pPr marL="12700" indent="-12700" algn="l" rtl="0"/>
            <a:endParaRPr lang="en-US" dirty="0"/>
          </a:p>
          <a:p>
            <a:pPr marL="342900" indent="-342900" algn="l" rtl="0">
              <a:buClr>
                <a:srgbClr val="F16924"/>
              </a:buClr>
              <a:buFont typeface="Arial" panose="020B0604020202020204" pitchFamily="34" charset="0"/>
              <a:buChar char="•"/>
            </a:pPr>
            <a:r>
              <a:rPr lang="en-US" dirty="0"/>
              <a:t>¿Quién puede influir en mi empresa?</a:t>
            </a:r>
          </a:p>
          <a:p>
            <a:pPr marL="342900" indent="-342900" algn="l" rtl="0">
              <a:buClr>
                <a:srgbClr val="F16924"/>
              </a:buClr>
              <a:buFont typeface="Arial" panose="020B0604020202020204" pitchFamily="34" charset="0"/>
              <a:buChar char="•"/>
            </a:pPr>
            <a:r>
              <a:rPr lang="en-US" dirty="0"/>
              <a:t>¿Quién está involucrado en mi empresa?</a:t>
            </a:r>
          </a:p>
          <a:p>
            <a:pPr marL="342900" indent="-342900" algn="l" rtl="0">
              <a:buClr>
                <a:srgbClr val="F16924"/>
              </a:buClr>
              <a:buFont typeface="Arial" panose="020B0604020202020204" pitchFamily="34" charset="0"/>
              <a:buChar char="•"/>
            </a:pPr>
            <a:r>
              <a:rPr lang="en-US" dirty="0"/>
              <a:t>¿Quién se ve afectado por el impacto del negocio de mi empresa?</a:t>
            </a:r>
          </a:p>
          <a:p>
            <a:pPr marL="342900" indent="-342900" algn="l" rtl="0">
              <a:buClr>
                <a:srgbClr val="F16924"/>
              </a:buClr>
              <a:buFont typeface="Arial" panose="020B0604020202020204" pitchFamily="34" charset="0"/>
              <a:buChar char="•"/>
            </a:pPr>
            <a:r>
              <a:rPr lang="en-US" dirty="0"/>
              <a:t>¿Quién tiene interés en el resultado de los negocios de mi empresa?</a:t>
            </a:r>
          </a:p>
          <a:p>
            <a:pPr marL="342900" indent="-342900" algn="l" rtl="0">
              <a:buClr>
                <a:srgbClr val="F16924"/>
              </a:buClr>
              <a:buFont typeface="Arial" panose="020B0604020202020204" pitchFamily="34" charset="0"/>
              <a:buChar char="•"/>
            </a:pPr>
            <a:endParaRPr lang="en-US" dirty="0"/>
          </a:p>
          <a:p>
            <a:pPr marL="12700" indent="-12700" algn="l" rtl="0"/>
            <a:r>
              <a:rPr lang="en-US" dirty="0"/>
              <a:t>Las partes interesadas identificadas deben estar claramente ilustradas, ya sea en forma tabular o como un mapa mental o tarjetas de partes interesadas.</a:t>
            </a:r>
          </a:p>
        </p:txBody>
      </p:sp>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fontScale="92500" lnSpcReduction="20000"/>
          </a:bodyPr>
          <a:lstStyle/>
          <a:p>
            <a:pPr algn="l" rtl="0"/>
            <a:r>
              <a:rPr lang="en-US" dirty="0"/>
              <a:t>Identificación de partes interesadas</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a:buNone/>
            </a:pPr>
            <a:r>
              <a:rPr lang="en-US" sz="8000" dirty="0">
                <a:solidFill>
                  <a:schemeClr val="bg1"/>
                </a:solidFill>
              </a:rPr>
              <a:t>01</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Tree>
    <p:extLst>
      <p:ext uri="{BB962C8B-B14F-4D97-AF65-F5344CB8AC3E}">
        <p14:creationId xmlns:p14="http://schemas.microsoft.com/office/powerpoint/2010/main" val="11690185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311A9AD-2D5B-A34E-9FC6-7EABDA526717}"/>
              </a:ext>
            </a:extLst>
          </p:cNvPr>
          <p:cNvSpPr>
            <a:spLocks noGrp="1"/>
          </p:cNvSpPr>
          <p:nvPr>
            <p:ph type="body" sz="quarter" idx="14"/>
          </p:nvPr>
        </p:nvSpPr>
        <p:spPr>
          <a:xfrm>
            <a:off x="6930951" y="685318"/>
            <a:ext cx="4754535" cy="822373"/>
          </a:xfrm>
        </p:spPr>
        <p:txBody>
          <a:bodyPr/>
          <a:lstStyle/>
          <a:p>
            <a:pPr algn="l" rtl="0"/>
            <a:r>
              <a:rPr lang="en-US" sz="2400" dirty="0">
                <a:latin typeface="Calibri" panose="020F0502020204030204" pitchFamily="34" charset="0"/>
                <a:ea typeface="Calibri" panose="020F0502020204030204" pitchFamily="34" charset="0"/>
                <a:cs typeface="Calibri" panose="020F0502020204030204" pitchFamily="34" charset="0"/>
              </a:rPr>
              <a:t>Cultura de Liderazgo</a:t>
            </a:r>
          </a:p>
        </p:txBody>
      </p:sp>
      <p:sp>
        <p:nvSpPr>
          <p:cNvPr id="19" name="Text Placeholder 18">
            <a:extLst>
              <a:ext uri="{FF2B5EF4-FFF2-40B4-BE49-F238E27FC236}">
                <a16:creationId xmlns:a16="http://schemas.microsoft.com/office/drawing/2014/main" id="{15572CB1-27BF-DE4B-A1AF-F6112200952C}"/>
              </a:ext>
            </a:extLst>
          </p:cNvPr>
          <p:cNvSpPr>
            <a:spLocks noGrp="1"/>
          </p:cNvSpPr>
          <p:nvPr>
            <p:ph type="body" sz="quarter" idx="20"/>
          </p:nvPr>
        </p:nvSpPr>
        <p:spPr>
          <a:xfrm>
            <a:off x="6930951" y="1484044"/>
            <a:ext cx="4754535" cy="630000"/>
          </a:xfrm>
        </p:spPr>
        <p:txBody>
          <a:bodyPr/>
          <a:lstStyle/>
          <a:p>
            <a:pPr algn="l" rtl="0"/>
            <a:r>
              <a:rPr lang="en-US" sz="2400" dirty="0">
                <a:latin typeface="Calibri" panose="020F0502020204030204" pitchFamily="34" charset="0"/>
                <a:ea typeface="Calibri" panose="020F0502020204030204" pitchFamily="34" charset="0"/>
                <a:cs typeface="Calibri" panose="020F0502020204030204" pitchFamily="34" charset="0"/>
              </a:rPr>
              <a:t>Gestión de los interesados</a:t>
            </a:r>
            <a:endParaRPr lang="en-US" sz="2400" dirty="0"/>
          </a:p>
        </p:txBody>
      </p:sp>
      <p:sp>
        <p:nvSpPr>
          <p:cNvPr id="14" name="Text Placeholder 13">
            <a:extLst>
              <a:ext uri="{FF2B5EF4-FFF2-40B4-BE49-F238E27FC236}">
                <a16:creationId xmlns:a16="http://schemas.microsoft.com/office/drawing/2014/main" id="{7CDBC330-3592-B462-617E-F5DF418A2BE6}"/>
              </a:ext>
            </a:extLst>
          </p:cNvPr>
          <p:cNvSpPr>
            <a:spLocks noGrp="1"/>
          </p:cNvSpPr>
          <p:nvPr>
            <p:ph type="body" sz="quarter" idx="24"/>
          </p:nvPr>
        </p:nvSpPr>
        <p:spPr>
          <a:xfrm>
            <a:off x="6917096" y="3260444"/>
            <a:ext cx="4768390" cy="822373"/>
          </a:xfrm>
        </p:spPr>
        <p:txBody>
          <a:bodyPr/>
          <a:lstStyle/>
          <a:p>
            <a:pPr algn="l" rtl="0"/>
            <a:r>
              <a:rPr lang="en-US" sz="2400" dirty="0"/>
              <a:t>Motivación en crisis: el papel del control</a:t>
            </a:r>
          </a:p>
        </p:txBody>
      </p:sp>
      <p:sp>
        <p:nvSpPr>
          <p:cNvPr id="2" name="Text Placeholder 1">
            <a:extLst>
              <a:ext uri="{FF2B5EF4-FFF2-40B4-BE49-F238E27FC236}">
                <a16:creationId xmlns:a16="http://schemas.microsoft.com/office/drawing/2014/main" id="{9ED4EE6E-0627-C435-C4F4-BE21D3EF5D2D}"/>
              </a:ext>
            </a:extLst>
          </p:cNvPr>
          <p:cNvSpPr>
            <a:spLocks noGrp="1"/>
          </p:cNvSpPr>
          <p:nvPr>
            <p:ph type="body" sz="quarter" idx="15"/>
          </p:nvPr>
        </p:nvSpPr>
        <p:spPr>
          <a:xfrm>
            <a:off x="6069026" y="742513"/>
            <a:ext cx="830393" cy="635000"/>
          </a:xfrm>
        </p:spPr>
        <p:txBody>
          <a:bodyPr/>
          <a:lstStyle/>
          <a:p>
            <a:pPr algn="l" rtl="0"/>
            <a:r>
              <a:rPr lang="en-US" sz="3600" b="1" dirty="0"/>
              <a:t>01</a:t>
            </a:r>
          </a:p>
        </p:txBody>
      </p:sp>
      <p:sp>
        <p:nvSpPr>
          <p:cNvPr id="4" name="Text Placeholder 3">
            <a:extLst>
              <a:ext uri="{FF2B5EF4-FFF2-40B4-BE49-F238E27FC236}">
                <a16:creationId xmlns:a16="http://schemas.microsoft.com/office/drawing/2014/main" id="{21CA9178-1D21-572B-8CFC-76B5694AA2D4}"/>
              </a:ext>
            </a:extLst>
          </p:cNvPr>
          <p:cNvSpPr>
            <a:spLocks noGrp="1"/>
          </p:cNvSpPr>
          <p:nvPr>
            <p:ph type="body" sz="quarter" idx="19"/>
          </p:nvPr>
        </p:nvSpPr>
        <p:spPr>
          <a:xfrm>
            <a:off x="6069026" y="1374219"/>
            <a:ext cx="830393" cy="630000"/>
          </a:xfrm>
        </p:spPr>
        <p:txBody>
          <a:bodyPr/>
          <a:lstStyle/>
          <a:p>
            <a:pPr algn="l" rtl="0"/>
            <a:r>
              <a:rPr lang="en-US" sz="3600" b="1" dirty="0"/>
              <a:t>02</a:t>
            </a:r>
          </a:p>
        </p:txBody>
      </p:sp>
      <p:sp>
        <p:nvSpPr>
          <p:cNvPr id="8" name="Text Placeholder 7">
            <a:extLst>
              <a:ext uri="{FF2B5EF4-FFF2-40B4-BE49-F238E27FC236}">
                <a16:creationId xmlns:a16="http://schemas.microsoft.com/office/drawing/2014/main" id="{2F9D1749-E12B-1EB4-7C5F-1FA1B1D4847F}"/>
              </a:ext>
            </a:extLst>
          </p:cNvPr>
          <p:cNvSpPr>
            <a:spLocks noGrp="1"/>
          </p:cNvSpPr>
          <p:nvPr>
            <p:ph type="body" sz="quarter" idx="23"/>
          </p:nvPr>
        </p:nvSpPr>
        <p:spPr>
          <a:xfrm>
            <a:off x="6055171" y="3246199"/>
            <a:ext cx="830393" cy="635000"/>
          </a:xfrm>
        </p:spPr>
        <p:txBody>
          <a:bodyPr/>
          <a:lstStyle/>
          <a:p>
            <a:pPr algn="l" rtl="0"/>
            <a:r>
              <a:rPr lang="en-US" sz="3600" b="1" dirty="0"/>
              <a:t>04</a:t>
            </a:r>
          </a:p>
        </p:txBody>
      </p:sp>
      <p:sp>
        <p:nvSpPr>
          <p:cNvPr id="22" name="Text Placeholder 21">
            <a:extLst>
              <a:ext uri="{FF2B5EF4-FFF2-40B4-BE49-F238E27FC236}">
                <a16:creationId xmlns:a16="http://schemas.microsoft.com/office/drawing/2014/main" id="{57539EDE-FD43-231A-4B65-BE71D87D4A71}"/>
              </a:ext>
            </a:extLst>
          </p:cNvPr>
          <p:cNvSpPr>
            <a:spLocks noGrp="1"/>
          </p:cNvSpPr>
          <p:nvPr>
            <p:ph type="body" sz="quarter" idx="16"/>
          </p:nvPr>
        </p:nvSpPr>
        <p:spPr>
          <a:xfrm>
            <a:off x="1068491" y="601534"/>
            <a:ext cx="4503318" cy="2258867"/>
          </a:xfrm>
        </p:spPr>
        <p:txBody>
          <a:bodyPr>
            <a:normAutofit/>
          </a:bodyPr>
          <a:lstStyle/>
          <a:p>
            <a:pPr algn="l" rtl="0"/>
            <a:r>
              <a:rPr lang="en-US" b="1" dirty="0">
                <a:latin typeface="Calibri" panose="020F0502020204030204" pitchFamily="34" charset="0"/>
                <a:ea typeface="Calibri" panose="020F0502020204030204" pitchFamily="34" charset="0"/>
                <a:cs typeface="Calibri" panose="020F0502020204030204" pitchFamily="34" charset="0"/>
              </a:rPr>
              <a:t>Cultura de Liderazgo, Gestión de Grupos de Interés y Comunicaciones</a:t>
            </a:r>
            <a:endParaRPr lang="en-IE" dirty="0">
              <a:latin typeface="Calibri" panose="020F0502020204030204" pitchFamily="34" charset="0"/>
              <a:ea typeface="Calibri" panose="020F0502020204030204" pitchFamily="34" charset="0"/>
              <a:cs typeface="Times New Roman" panose="02020603050405020304" pitchFamily="18" charset="0"/>
            </a:endParaRPr>
          </a:p>
        </p:txBody>
      </p:sp>
      <p:sp>
        <p:nvSpPr>
          <p:cNvPr id="23" name="Rectangle 22">
            <a:extLst>
              <a:ext uri="{FF2B5EF4-FFF2-40B4-BE49-F238E27FC236}">
                <a16:creationId xmlns:a16="http://schemas.microsoft.com/office/drawing/2014/main" id="{37CD072B-C565-E1B1-3658-B1F1A8079FF3}"/>
              </a:ext>
            </a:extLst>
          </p:cNvPr>
          <p:cNvSpPr/>
          <p:nvPr/>
        </p:nvSpPr>
        <p:spPr>
          <a:xfrm>
            <a:off x="1060350" y="3006768"/>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Calibri" panose="020F0502020204030204" pitchFamily="34" charset="0"/>
              <a:cs typeface="Calibri" panose="020F0502020204030204" pitchFamily="34" charset="0"/>
            </a:endParaRPr>
          </a:p>
        </p:txBody>
      </p:sp>
      <p:sp>
        <p:nvSpPr>
          <p:cNvPr id="25" name="Text Placeholder 24">
            <a:extLst>
              <a:ext uri="{FF2B5EF4-FFF2-40B4-BE49-F238E27FC236}">
                <a16:creationId xmlns:a16="http://schemas.microsoft.com/office/drawing/2014/main" id="{BC269653-15BF-D403-3FF4-14368E38C74D}"/>
              </a:ext>
            </a:extLst>
          </p:cNvPr>
          <p:cNvSpPr>
            <a:spLocks noGrp="1"/>
          </p:cNvSpPr>
          <p:nvPr>
            <p:ph type="body" sz="quarter" idx="18"/>
          </p:nvPr>
        </p:nvSpPr>
        <p:spPr>
          <a:xfrm>
            <a:off x="972797" y="3429000"/>
            <a:ext cx="4389483" cy="2478432"/>
          </a:xfrm>
        </p:spPr>
        <p:txBody>
          <a:bodyPr>
            <a:noAutofit/>
          </a:bodyPr>
          <a:lstStyle/>
          <a:p>
            <a:pPr marL="0" indent="0" algn="l" rtl="0">
              <a:lnSpc>
                <a:spcPts val="2280"/>
              </a:lnSpc>
              <a:spcBef>
                <a:spcPts val="0"/>
              </a:spcBef>
            </a:pPr>
            <a:r>
              <a:rPr lang="en-US" sz="2200" dirty="0">
                <a:ea typeface="Calibri" panose="020F0502020204030204" pitchFamily="34" charset="0"/>
                <a:cs typeface="Times New Roman" panose="02020603050405020304" pitchFamily="18" charset="0"/>
              </a:rPr>
              <a:t>Este módulo le proporcionará una comprensión profunda de las habilidades clave de los líderes modernos en un mundo que cambia rápidamente y una comprensión del liderazgo de la función clave, la gestión de las partes interesadas y las comunicaciones en el contexto de una crisis empresarial.</a:t>
            </a:r>
          </a:p>
        </p:txBody>
      </p:sp>
      <p:sp>
        <p:nvSpPr>
          <p:cNvPr id="26" name="Text Placeholder 4">
            <a:extLst>
              <a:ext uri="{FF2B5EF4-FFF2-40B4-BE49-F238E27FC236}">
                <a16:creationId xmlns:a16="http://schemas.microsoft.com/office/drawing/2014/main" id="{73435531-E56A-B9BB-B9F5-7AE9CE06AF63}"/>
              </a:ext>
            </a:extLst>
          </p:cNvPr>
          <p:cNvSpPr txBox="1">
            <a:spLocks/>
          </p:cNvSpPr>
          <p:nvPr/>
        </p:nvSpPr>
        <p:spPr>
          <a:xfrm rot="16200000">
            <a:off x="-558292" y="1178495"/>
            <a:ext cx="2129000" cy="511077"/>
          </a:xfrm>
          <a:prstGeom prst="rect">
            <a:avLst/>
          </a:prstGeom>
          <a:solidFill>
            <a:srgbClr val="F29E38"/>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lgn="l" rtl="0"/>
            <a:r>
              <a:rPr lang="en-IE" sz="2800" dirty="0">
                <a:solidFill>
                  <a:schemeClr val="bg1"/>
                </a:solidFill>
                <a:latin typeface="Calibri" panose="020F0502020204030204" pitchFamily="34" charset="0"/>
                <a:cs typeface="Calibri" panose="020F0502020204030204" pitchFamily="34" charset="0"/>
              </a:rPr>
              <a:t>MÓDULO 04</a:t>
            </a:r>
            <a:endParaRPr lang="en-US" sz="2800" dirty="0">
              <a:solidFill>
                <a:schemeClr val="bg1"/>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79D7256D-408C-036D-DE51-70E036A44190}"/>
              </a:ext>
            </a:extLst>
          </p:cNvPr>
          <p:cNvCxnSpPr/>
          <p:nvPr/>
        </p:nvCxnSpPr>
        <p:spPr>
          <a:xfrm>
            <a:off x="5744389" y="1336241"/>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EFA2F40-4413-6420-4A76-DFCB2052FA73}"/>
              </a:ext>
            </a:extLst>
          </p:cNvPr>
          <p:cNvCxnSpPr/>
          <p:nvPr/>
        </p:nvCxnSpPr>
        <p:spPr>
          <a:xfrm>
            <a:off x="5744389" y="2225850"/>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E5E9ADA-D0D4-4679-4A85-2A6F87C3EE8D}"/>
              </a:ext>
            </a:extLst>
          </p:cNvPr>
          <p:cNvCxnSpPr/>
          <p:nvPr/>
        </p:nvCxnSpPr>
        <p:spPr>
          <a:xfrm>
            <a:off x="5758677" y="4149275"/>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8ADC83B-DC97-7C1F-5925-23681AF59E3B}"/>
              </a:ext>
            </a:extLst>
          </p:cNvPr>
          <p:cNvCxnSpPr/>
          <p:nvPr/>
        </p:nvCxnSpPr>
        <p:spPr>
          <a:xfrm>
            <a:off x="5744389" y="3155514"/>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18">
            <a:extLst>
              <a:ext uri="{FF2B5EF4-FFF2-40B4-BE49-F238E27FC236}">
                <a16:creationId xmlns:a16="http://schemas.microsoft.com/office/drawing/2014/main" id="{65583306-BD43-4A82-6019-8E1696635607}"/>
              </a:ext>
            </a:extLst>
          </p:cNvPr>
          <p:cNvSpPr txBox="1">
            <a:spLocks/>
          </p:cNvSpPr>
          <p:nvPr/>
        </p:nvSpPr>
        <p:spPr>
          <a:xfrm>
            <a:off x="6934340" y="2411212"/>
            <a:ext cx="4754535" cy="630000"/>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595959"/>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sz="2400" dirty="0">
                <a:latin typeface="Calibri" panose="020F0502020204030204" pitchFamily="34" charset="0"/>
                <a:ea typeface="Calibri" panose="020F0502020204030204" pitchFamily="34" charset="0"/>
                <a:cs typeface="Calibri" panose="020F0502020204030204" pitchFamily="34" charset="0"/>
              </a:rPr>
              <a:t>Comunicaciones</a:t>
            </a:r>
          </a:p>
        </p:txBody>
      </p:sp>
      <p:sp>
        <p:nvSpPr>
          <p:cNvPr id="7" name="Text Placeholder 3">
            <a:extLst>
              <a:ext uri="{FF2B5EF4-FFF2-40B4-BE49-F238E27FC236}">
                <a16:creationId xmlns:a16="http://schemas.microsoft.com/office/drawing/2014/main" id="{A03655BB-20C3-73ED-EB59-A4E325ACD1A2}"/>
              </a:ext>
            </a:extLst>
          </p:cNvPr>
          <p:cNvSpPr txBox="1">
            <a:spLocks/>
          </p:cNvSpPr>
          <p:nvPr/>
        </p:nvSpPr>
        <p:spPr>
          <a:xfrm>
            <a:off x="6072415" y="2315675"/>
            <a:ext cx="830393" cy="630000"/>
          </a:xfrm>
          <a:prstGeom prst="rect">
            <a:avLst/>
          </a:prstGeom>
          <a:noFill/>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b="0" kern="1200" baseline="0">
                <a:solidFill>
                  <a:srgbClr val="F16924"/>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sz="3600" b="1" dirty="0"/>
              <a:t>03</a:t>
            </a:r>
          </a:p>
        </p:txBody>
      </p:sp>
    </p:spTree>
    <p:extLst>
      <p:ext uri="{BB962C8B-B14F-4D97-AF65-F5344CB8AC3E}">
        <p14:creationId xmlns:p14="http://schemas.microsoft.com/office/powerpoint/2010/main" val="37017060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7704844" cy="828675"/>
          </a:xfrm>
        </p:spPr>
        <p:txBody>
          <a:bodyPr>
            <a:normAutofit fontScale="92500" lnSpcReduction="20000"/>
          </a:bodyPr>
          <a:lstStyle/>
          <a:p>
            <a:pPr algn="l" rtl="0"/>
            <a:r>
              <a:rPr lang="en-US" dirty="0"/>
              <a:t>Identificación de partes interesadas (algunas herramientas)</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a:buNone/>
            </a:pPr>
            <a:r>
              <a:rPr lang="en-US" sz="8000" dirty="0">
                <a:solidFill>
                  <a:schemeClr val="bg1"/>
                </a:solidFill>
              </a:rPr>
              <a:t>01</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grpSp>
        <p:nvGrpSpPr>
          <p:cNvPr id="4" name="Gruppieren 4">
            <a:extLst>
              <a:ext uri="{FF2B5EF4-FFF2-40B4-BE49-F238E27FC236}">
                <a16:creationId xmlns:a16="http://schemas.microsoft.com/office/drawing/2014/main" id="{BC7B6003-3084-FFAC-576A-9C986A5DC5C4}"/>
              </a:ext>
            </a:extLst>
          </p:cNvPr>
          <p:cNvGrpSpPr>
            <a:grpSpLocks noChangeAspect="1"/>
          </p:cNvGrpSpPr>
          <p:nvPr/>
        </p:nvGrpSpPr>
        <p:grpSpPr>
          <a:xfrm>
            <a:off x="1569991" y="3339788"/>
            <a:ext cx="4636988" cy="2646895"/>
            <a:chOff x="2282732" y="1678689"/>
            <a:chExt cx="7626535" cy="4047274"/>
          </a:xfrm>
        </p:grpSpPr>
        <p:cxnSp>
          <p:nvCxnSpPr>
            <p:cNvPr id="5" name="Straight Arrow Connector 2">
              <a:extLst>
                <a:ext uri="{FF2B5EF4-FFF2-40B4-BE49-F238E27FC236}">
                  <a16:creationId xmlns:a16="http://schemas.microsoft.com/office/drawing/2014/main" id="{4DB4B76D-0FED-B8BF-16DB-6D1CB75F1094}"/>
                </a:ext>
              </a:extLst>
            </p:cNvPr>
            <p:cNvCxnSpPr>
              <a:cxnSpLocks/>
            </p:cNvCxnSpPr>
            <p:nvPr/>
          </p:nvCxnSpPr>
          <p:spPr>
            <a:xfrm flipV="1">
              <a:off x="8137075" y="2794531"/>
              <a:ext cx="252736" cy="16955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3">
              <a:extLst>
                <a:ext uri="{FF2B5EF4-FFF2-40B4-BE49-F238E27FC236}">
                  <a16:creationId xmlns:a16="http://schemas.microsoft.com/office/drawing/2014/main" id="{FF520F99-22A5-161C-281B-6ED42F9267D2}"/>
                </a:ext>
              </a:extLst>
            </p:cNvPr>
            <p:cNvCxnSpPr/>
            <p:nvPr/>
          </p:nvCxnSpPr>
          <p:spPr>
            <a:xfrm flipV="1">
              <a:off x="8947023" y="2186117"/>
              <a:ext cx="321172" cy="214713"/>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4">
              <a:extLst>
                <a:ext uri="{FF2B5EF4-FFF2-40B4-BE49-F238E27FC236}">
                  <a16:creationId xmlns:a16="http://schemas.microsoft.com/office/drawing/2014/main" id="{C4C448F0-29F8-877E-52A7-3EBAFF0DF04F}"/>
                </a:ext>
              </a:extLst>
            </p:cNvPr>
            <p:cNvCxnSpPr>
              <a:stCxn id="31" idx="5"/>
            </p:cNvCxnSpPr>
            <p:nvPr/>
          </p:nvCxnSpPr>
          <p:spPr>
            <a:xfrm>
              <a:off x="8915146" y="2783622"/>
              <a:ext cx="254655" cy="282257"/>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5">
              <a:extLst>
                <a:ext uri="{FF2B5EF4-FFF2-40B4-BE49-F238E27FC236}">
                  <a16:creationId xmlns:a16="http://schemas.microsoft.com/office/drawing/2014/main" id="{E75E9903-96AB-8977-8202-12CBCD604707}"/>
                </a:ext>
              </a:extLst>
            </p:cNvPr>
            <p:cNvCxnSpPr/>
            <p:nvPr/>
          </p:nvCxnSpPr>
          <p:spPr>
            <a:xfrm flipV="1">
              <a:off x="6142323" y="3353358"/>
              <a:ext cx="131195" cy="27000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6">
              <a:extLst>
                <a:ext uri="{FF2B5EF4-FFF2-40B4-BE49-F238E27FC236}">
                  <a16:creationId xmlns:a16="http://schemas.microsoft.com/office/drawing/2014/main" id="{D5FE52A3-63F4-FE91-B4EA-7A52B8657207}"/>
                </a:ext>
              </a:extLst>
            </p:cNvPr>
            <p:cNvCxnSpPr/>
            <p:nvPr/>
          </p:nvCxnSpPr>
          <p:spPr>
            <a:xfrm flipV="1">
              <a:off x="7943903" y="4110047"/>
              <a:ext cx="268116" cy="15440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7">
              <a:extLst>
                <a:ext uri="{FF2B5EF4-FFF2-40B4-BE49-F238E27FC236}">
                  <a16:creationId xmlns:a16="http://schemas.microsoft.com/office/drawing/2014/main" id="{F6700BE2-540B-B19A-5128-1849D5D60972}"/>
                </a:ext>
              </a:extLst>
            </p:cNvPr>
            <p:cNvCxnSpPr/>
            <p:nvPr/>
          </p:nvCxnSpPr>
          <p:spPr>
            <a:xfrm>
              <a:off x="8883041" y="4220942"/>
              <a:ext cx="172057" cy="7720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8">
              <a:extLst>
                <a:ext uri="{FF2B5EF4-FFF2-40B4-BE49-F238E27FC236}">
                  <a16:creationId xmlns:a16="http://schemas.microsoft.com/office/drawing/2014/main" id="{9A47F8CE-BA0C-12F0-A45F-4442198FBF0E}"/>
                </a:ext>
              </a:extLst>
            </p:cNvPr>
            <p:cNvCxnSpPr/>
            <p:nvPr/>
          </p:nvCxnSpPr>
          <p:spPr>
            <a:xfrm flipH="1">
              <a:off x="8366871" y="4644137"/>
              <a:ext cx="675603" cy="32117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9">
              <a:extLst>
                <a:ext uri="{FF2B5EF4-FFF2-40B4-BE49-F238E27FC236}">
                  <a16:creationId xmlns:a16="http://schemas.microsoft.com/office/drawing/2014/main" id="{78F0AFC3-8668-E109-4D7C-BDE36247F9FE}"/>
                </a:ext>
              </a:extLst>
            </p:cNvPr>
            <p:cNvCxnSpPr>
              <a:stCxn id="33" idx="4"/>
              <a:endCxn id="37" idx="0"/>
            </p:cNvCxnSpPr>
            <p:nvPr/>
          </p:nvCxnSpPr>
          <p:spPr>
            <a:xfrm flipH="1">
              <a:off x="9314077" y="4752393"/>
              <a:ext cx="62192" cy="319381"/>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0">
              <a:extLst>
                <a:ext uri="{FF2B5EF4-FFF2-40B4-BE49-F238E27FC236}">
                  <a16:creationId xmlns:a16="http://schemas.microsoft.com/office/drawing/2014/main" id="{3E6ACFD1-A048-92F9-213B-5626AE670762}"/>
                </a:ext>
              </a:extLst>
            </p:cNvPr>
            <p:cNvCxnSpPr/>
            <p:nvPr/>
          </p:nvCxnSpPr>
          <p:spPr>
            <a:xfrm>
              <a:off x="6233371" y="3920067"/>
              <a:ext cx="413586" cy="22367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1">
              <a:extLst>
                <a:ext uri="{FF2B5EF4-FFF2-40B4-BE49-F238E27FC236}">
                  <a16:creationId xmlns:a16="http://schemas.microsoft.com/office/drawing/2014/main" id="{B30CA0B1-A908-BBAB-B407-166B84CA30EC}"/>
                </a:ext>
              </a:extLst>
            </p:cNvPr>
            <p:cNvCxnSpPr/>
            <p:nvPr/>
          </p:nvCxnSpPr>
          <p:spPr>
            <a:xfrm flipH="1">
              <a:off x="5212054" y="3712962"/>
              <a:ext cx="430589" cy="8997"/>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2">
              <a:extLst>
                <a:ext uri="{FF2B5EF4-FFF2-40B4-BE49-F238E27FC236}">
                  <a16:creationId xmlns:a16="http://schemas.microsoft.com/office/drawing/2014/main" id="{13ABFF6B-BAE8-3E52-1EA2-B5D47BB2CFFA}"/>
                </a:ext>
              </a:extLst>
            </p:cNvPr>
            <p:cNvCxnSpPr/>
            <p:nvPr/>
          </p:nvCxnSpPr>
          <p:spPr>
            <a:xfrm>
              <a:off x="6106748" y="4884482"/>
              <a:ext cx="303477" cy="10054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3">
              <a:extLst>
                <a:ext uri="{FF2B5EF4-FFF2-40B4-BE49-F238E27FC236}">
                  <a16:creationId xmlns:a16="http://schemas.microsoft.com/office/drawing/2014/main" id="{7C56273E-F7A1-7D5B-B29E-33FCD4656D2C}"/>
                </a:ext>
              </a:extLst>
            </p:cNvPr>
            <p:cNvCxnSpPr/>
            <p:nvPr/>
          </p:nvCxnSpPr>
          <p:spPr>
            <a:xfrm>
              <a:off x="6881451" y="3353357"/>
              <a:ext cx="199837" cy="36410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14">
              <a:extLst>
                <a:ext uri="{FF2B5EF4-FFF2-40B4-BE49-F238E27FC236}">
                  <a16:creationId xmlns:a16="http://schemas.microsoft.com/office/drawing/2014/main" id="{5597440C-B6BA-ABD9-5DD0-CC330929B66A}"/>
                </a:ext>
              </a:extLst>
            </p:cNvPr>
            <p:cNvCxnSpPr/>
            <p:nvPr/>
          </p:nvCxnSpPr>
          <p:spPr>
            <a:xfrm flipH="1">
              <a:off x="4483193" y="4317548"/>
              <a:ext cx="32684" cy="269239"/>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15">
              <a:extLst>
                <a:ext uri="{FF2B5EF4-FFF2-40B4-BE49-F238E27FC236}">
                  <a16:creationId xmlns:a16="http://schemas.microsoft.com/office/drawing/2014/main" id="{7F63CD0A-8825-5FC7-1A01-7930002170F2}"/>
                </a:ext>
              </a:extLst>
            </p:cNvPr>
            <p:cNvCxnSpPr/>
            <p:nvPr/>
          </p:nvCxnSpPr>
          <p:spPr>
            <a:xfrm>
              <a:off x="4999852" y="4236602"/>
              <a:ext cx="321172" cy="32724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16">
              <a:extLst>
                <a:ext uri="{FF2B5EF4-FFF2-40B4-BE49-F238E27FC236}">
                  <a16:creationId xmlns:a16="http://schemas.microsoft.com/office/drawing/2014/main" id="{44C8C46A-F2F8-9DDB-4F79-DD666F1C445B}"/>
                </a:ext>
              </a:extLst>
            </p:cNvPr>
            <p:cNvCxnSpPr/>
            <p:nvPr/>
          </p:nvCxnSpPr>
          <p:spPr>
            <a:xfrm flipH="1">
              <a:off x="3633079" y="4661348"/>
              <a:ext cx="36650" cy="289269"/>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17">
              <a:extLst>
                <a:ext uri="{FF2B5EF4-FFF2-40B4-BE49-F238E27FC236}">
                  <a16:creationId xmlns:a16="http://schemas.microsoft.com/office/drawing/2014/main" id="{D1BF078C-AA3F-330A-1AC3-E01B8CE3A54D}"/>
                </a:ext>
              </a:extLst>
            </p:cNvPr>
            <p:cNvCxnSpPr/>
            <p:nvPr/>
          </p:nvCxnSpPr>
          <p:spPr>
            <a:xfrm flipH="1">
              <a:off x="3135458" y="4317547"/>
              <a:ext cx="233801" cy="57038"/>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18">
              <a:extLst>
                <a:ext uri="{FF2B5EF4-FFF2-40B4-BE49-F238E27FC236}">
                  <a16:creationId xmlns:a16="http://schemas.microsoft.com/office/drawing/2014/main" id="{94E5B871-8B78-DA48-755F-F7743921E7A3}"/>
                </a:ext>
              </a:extLst>
            </p:cNvPr>
            <p:cNvCxnSpPr/>
            <p:nvPr/>
          </p:nvCxnSpPr>
          <p:spPr>
            <a:xfrm flipH="1">
              <a:off x="3977192" y="5094714"/>
              <a:ext cx="207363" cy="98571"/>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19">
              <a:extLst>
                <a:ext uri="{FF2B5EF4-FFF2-40B4-BE49-F238E27FC236}">
                  <a16:creationId xmlns:a16="http://schemas.microsoft.com/office/drawing/2014/main" id="{58AD2D27-0AA7-7A56-9E41-9747B3909591}"/>
                </a:ext>
              </a:extLst>
            </p:cNvPr>
            <p:cNvCxnSpPr/>
            <p:nvPr/>
          </p:nvCxnSpPr>
          <p:spPr>
            <a:xfrm flipH="1" flipV="1">
              <a:off x="2948393" y="2964081"/>
              <a:ext cx="374984" cy="14015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0">
              <a:extLst>
                <a:ext uri="{FF2B5EF4-FFF2-40B4-BE49-F238E27FC236}">
                  <a16:creationId xmlns:a16="http://schemas.microsoft.com/office/drawing/2014/main" id="{3FA49CD2-F8C2-7036-6DDB-3678ABC177C0}"/>
                </a:ext>
              </a:extLst>
            </p:cNvPr>
            <p:cNvCxnSpPr/>
            <p:nvPr/>
          </p:nvCxnSpPr>
          <p:spPr>
            <a:xfrm flipH="1" flipV="1">
              <a:off x="3669729" y="3672696"/>
              <a:ext cx="62192" cy="28465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1">
              <a:extLst>
                <a:ext uri="{FF2B5EF4-FFF2-40B4-BE49-F238E27FC236}">
                  <a16:creationId xmlns:a16="http://schemas.microsoft.com/office/drawing/2014/main" id="{D44E7A1B-DA70-D771-74E7-00E7A18D7D8D}"/>
                </a:ext>
              </a:extLst>
            </p:cNvPr>
            <p:cNvCxnSpPr/>
            <p:nvPr/>
          </p:nvCxnSpPr>
          <p:spPr>
            <a:xfrm flipV="1">
              <a:off x="5056309" y="3114090"/>
              <a:ext cx="126621" cy="239266"/>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2">
              <a:extLst>
                <a:ext uri="{FF2B5EF4-FFF2-40B4-BE49-F238E27FC236}">
                  <a16:creationId xmlns:a16="http://schemas.microsoft.com/office/drawing/2014/main" id="{AE96B55D-4E25-D925-24A8-4AB8911FDE87}"/>
                </a:ext>
              </a:extLst>
            </p:cNvPr>
            <p:cNvCxnSpPr>
              <a:stCxn id="36" idx="6"/>
              <a:endCxn id="38" idx="2"/>
            </p:cNvCxnSpPr>
            <p:nvPr/>
          </p:nvCxnSpPr>
          <p:spPr>
            <a:xfrm>
              <a:off x="4803958" y="2783778"/>
              <a:ext cx="252350" cy="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 name="Oval 25">
              <a:extLst>
                <a:ext uri="{FF2B5EF4-FFF2-40B4-BE49-F238E27FC236}">
                  <a16:creationId xmlns:a16="http://schemas.microsoft.com/office/drawing/2014/main" id="{EFC9C0C8-A831-4363-6C21-172A3759C112}"/>
                </a:ext>
              </a:extLst>
            </p:cNvPr>
            <p:cNvSpPr/>
            <p:nvPr/>
          </p:nvSpPr>
          <p:spPr>
            <a:xfrm>
              <a:off x="9266923" y="1678689"/>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600" dirty="0">
                <a:latin typeface="Lato Light" panose="020F0502020204030203" pitchFamily="34" charset="0"/>
              </a:endParaRPr>
            </a:p>
          </p:txBody>
        </p:sp>
        <p:sp>
          <p:nvSpPr>
            <p:cNvPr id="31" name="Oval 26">
              <a:extLst>
                <a:ext uri="{FF2B5EF4-FFF2-40B4-BE49-F238E27FC236}">
                  <a16:creationId xmlns:a16="http://schemas.microsoft.com/office/drawing/2014/main" id="{60C3266B-BB7C-012B-1F97-F778AB3FD31B}"/>
                </a:ext>
              </a:extLst>
            </p:cNvPr>
            <p:cNvSpPr/>
            <p:nvPr/>
          </p:nvSpPr>
          <p:spPr>
            <a:xfrm>
              <a:off x="8355024" y="224719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600" dirty="0">
                <a:latin typeface="Lato Light" panose="020F0502020204030203" pitchFamily="34" charset="0"/>
              </a:endParaRPr>
            </a:p>
          </p:txBody>
        </p:sp>
        <p:sp>
          <p:nvSpPr>
            <p:cNvPr id="32" name="Oval 27">
              <a:extLst>
                <a:ext uri="{FF2B5EF4-FFF2-40B4-BE49-F238E27FC236}">
                  <a16:creationId xmlns:a16="http://schemas.microsoft.com/office/drawing/2014/main" id="{4871D669-F72D-9E65-D58E-901D8D5A3A7D}"/>
                </a:ext>
              </a:extLst>
            </p:cNvPr>
            <p:cNvSpPr/>
            <p:nvPr/>
          </p:nvSpPr>
          <p:spPr>
            <a:xfrm>
              <a:off x="9157954" y="3044031"/>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600" dirty="0">
                <a:latin typeface="Lato Light" panose="020F0502020204030203" pitchFamily="34" charset="0"/>
              </a:endParaRPr>
            </a:p>
          </p:txBody>
        </p:sp>
        <p:sp>
          <p:nvSpPr>
            <p:cNvPr id="33" name="Oval 28">
              <a:extLst>
                <a:ext uri="{FF2B5EF4-FFF2-40B4-BE49-F238E27FC236}">
                  <a16:creationId xmlns:a16="http://schemas.microsoft.com/office/drawing/2014/main" id="{88F918D2-A272-98F8-C60F-A141EDE8CBA6}"/>
                </a:ext>
              </a:extLst>
            </p:cNvPr>
            <p:cNvSpPr/>
            <p:nvPr/>
          </p:nvSpPr>
          <p:spPr>
            <a:xfrm>
              <a:off x="9043250" y="4121893"/>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600" dirty="0">
                <a:latin typeface="Lato Light" panose="020F0502020204030203" pitchFamily="34" charset="0"/>
              </a:endParaRPr>
            </a:p>
          </p:txBody>
        </p:sp>
        <p:sp>
          <p:nvSpPr>
            <p:cNvPr id="34" name="Oval 29">
              <a:extLst>
                <a:ext uri="{FF2B5EF4-FFF2-40B4-BE49-F238E27FC236}">
                  <a16:creationId xmlns:a16="http://schemas.microsoft.com/office/drawing/2014/main" id="{D624904F-197F-4DA2-6B8B-C368F51FBF76}"/>
                </a:ext>
              </a:extLst>
            </p:cNvPr>
            <p:cNvSpPr/>
            <p:nvPr/>
          </p:nvSpPr>
          <p:spPr>
            <a:xfrm>
              <a:off x="8228849" y="3744087"/>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600" dirty="0">
                <a:latin typeface="Lato Light" panose="020F0502020204030203" pitchFamily="34" charset="0"/>
              </a:endParaRPr>
            </a:p>
          </p:txBody>
        </p:sp>
        <p:sp>
          <p:nvSpPr>
            <p:cNvPr id="35" name="Oval 30">
              <a:extLst>
                <a:ext uri="{FF2B5EF4-FFF2-40B4-BE49-F238E27FC236}">
                  <a16:creationId xmlns:a16="http://schemas.microsoft.com/office/drawing/2014/main" id="{F6FCB1D0-8EC8-382D-0E43-D13D292A3AF0}"/>
                </a:ext>
              </a:extLst>
            </p:cNvPr>
            <p:cNvSpPr/>
            <p:nvPr/>
          </p:nvSpPr>
          <p:spPr>
            <a:xfrm>
              <a:off x="7746195" y="489991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600" dirty="0">
                <a:latin typeface="Lato Light" panose="020F0502020204030203" pitchFamily="34" charset="0"/>
              </a:endParaRPr>
            </a:p>
          </p:txBody>
        </p:sp>
        <p:sp>
          <p:nvSpPr>
            <p:cNvPr id="36" name="Oval 31">
              <a:extLst>
                <a:ext uri="{FF2B5EF4-FFF2-40B4-BE49-F238E27FC236}">
                  <a16:creationId xmlns:a16="http://schemas.microsoft.com/office/drawing/2014/main" id="{2623F845-8057-7A9E-9EE5-1F4ABB08ACCD}"/>
                </a:ext>
              </a:extLst>
            </p:cNvPr>
            <p:cNvSpPr/>
            <p:nvPr/>
          </p:nvSpPr>
          <p:spPr>
            <a:xfrm>
              <a:off x="4149768" y="247445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600" dirty="0">
                <a:latin typeface="Lato Light" panose="020F0502020204030203" pitchFamily="34" charset="0"/>
              </a:endParaRPr>
            </a:p>
          </p:txBody>
        </p:sp>
        <p:sp>
          <p:nvSpPr>
            <p:cNvPr id="37" name="Oval 32">
              <a:extLst>
                <a:ext uri="{FF2B5EF4-FFF2-40B4-BE49-F238E27FC236}">
                  <a16:creationId xmlns:a16="http://schemas.microsoft.com/office/drawing/2014/main" id="{25A7E3D6-A119-70CB-06A0-217461C2CA6A}"/>
                </a:ext>
              </a:extLst>
            </p:cNvPr>
            <p:cNvSpPr/>
            <p:nvPr/>
          </p:nvSpPr>
          <p:spPr>
            <a:xfrm>
              <a:off x="8981058" y="5083619"/>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600" dirty="0">
                <a:latin typeface="Lato Light" panose="020F0502020204030203" pitchFamily="34" charset="0"/>
              </a:endParaRPr>
            </a:p>
          </p:txBody>
        </p:sp>
        <p:sp>
          <p:nvSpPr>
            <p:cNvPr id="38" name="Oval 33">
              <a:extLst>
                <a:ext uri="{FF2B5EF4-FFF2-40B4-BE49-F238E27FC236}">
                  <a16:creationId xmlns:a16="http://schemas.microsoft.com/office/drawing/2014/main" id="{7774094F-3551-C2FE-5787-30BED65F1C80}"/>
                </a:ext>
              </a:extLst>
            </p:cNvPr>
            <p:cNvSpPr/>
            <p:nvPr/>
          </p:nvSpPr>
          <p:spPr>
            <a:xfrm>
              <a:off x="5044461" y="247445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600" dirty="0">
                <a:latin typeface="Lato Light" panose="020F0502020204030203" pitchFamily="34" charset="0"/>
              </a:endParaRPr>
            </a:p>
          </p:txBody>
        </p:sp>
        <p:sp>
          <p:nvSpPr>
            <p:cNvPr id="39" name="Oval 34">
              <a:extLst>
                <a:ext uri="{FF2B5EF4-FFF2-40B4-BE49-F238E27FC236}">
                  <a16:creationId xmlns:a16="http://schemas.microsoft.com/office/drawing/2014/main" id="{8B60E7EC-381E-753F-D558-A35BF65B39E2}"/>
                </a:ext>
              </a:extLst>
            </p:cNvPr>
            <p:cNvSpPr/>
            <p:nvPr/>
          </p:nvSpPr>
          <p:spPr>
            <a:xfrm>
              <a:off x="3300060" y="3010337"/>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600" dirty="0">
                <a:latin typeface="Lato Light" panose="020F0502020204030203" pitchFamily="34" charset="0"/>
              </a:endParaRPr>
            </a:p>
          </p:txBody>
        </p:sp>
        <p:sp>
          <p:nvSpPr>
            <p:cNvPr id="40" name="Oval 35">
              <a:extLst>
                <a:ext uri="{FF2B5EF4-FFF2-40B4-BE49-F238E27FC236}">
                  <a16:creationId xmlns:a16="http://schemas.microsoft.com/office/drawing/2014/main" id="{8BFFE7E4-8580-F4D8-0A69-DD53291F785E}"/>
                </a:ext>
              </a:extLst>
            </p:cNvPr>
            <p:cNvSpPr/>
            <p:nvPr/>
          </p:nvSpPr>
          <p:spPr>
            <a:xfrm>
              <a:off x="2282732" y="2483593"/>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600" dirty="0">
                <a:latin typeface="Lato Light" panose="020F0502020204030203" pitchFamily="34" charset="0"/>
              </a:endParaRPr>
            </a:p>
          </p:txBody>
        </p:sp>
        <p:sp>
          <p:nvSpPr>
            <p:cNvPr id="41" name="Oval 36">
              <a:extLst>
                <a:ext uri="{FF2B5EF4-FFF2-40B4-BE49-F238E27FC236}">
                  <a16:creationId xmlns:a16="http://schemas.microsoft.com/office/drawing/2014/main" id="{C2C2BAF2-FB12-C264-AF90-01D19FBDF292}"/>
                </a:ext>
              </a:extLst>
            </p:cNvPr>
            <p:cNvSpPr/>
            <p:nvPr/>
          </p:nvSpPr>
          <p:spPr>
            <a:xfrm>
              <a:off x="2423916" y="4065259"/>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600" dirty="0">
                <a:latin typeface="Lato Light" panose="020F0502020204030203" pitchFamily="34" charset="0"/>
              </a:endParaRPr>
            </a:p>
          </p:txBody>
        </p:sp>
        <p:sp>
          <p:nvSpPr>
            <p:cNvPr id="42" name="Oval 37">
              <a:extLst>
                <a:ext uri="{FF2B5EF4-FFF2-40B4-BE49-F238E27FC236}">
                  <a16:creationId xmlns:a16="http://schemas.microsoft.com/office/drawing/2014/main" id="{4F6F75F1-8991-3624-D312-D21834AD18ED}"/>
                </a:ext>
              </a:extLst>
            </p:cNvPr>
            <p:cNvSpPr/>
            <p:nvPr/>
          </p:nvSpPr>
          <p:spPr>
            <a:xfrm>
              <a:off x="3398902" y="4003605"/>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600" dirty="0">
                <a:latin typeface="Lato Light" panose="020F0502020204030203" pitchFamily="34" charset="0"/>
              </a:endParaRPr>
            </a:p>
          </p:txBody>
        </p:sp>
        <p:sp>
          <p:nvSpPr>
            <p:cNvPr id="43" name="Oval 38">
              <a:extLst>
                <a:ext uri="{FF2B5EF4-FFF2-40B4-BE49-F238E27FC236}">
                  <a16:creationId xmlns:a16="http://schemas.microsoft.com/office/drawing/2014/main" id="{D522C628-63C3-21B7-F404-F02BE5AD14D9}"/>
                </a:ext>
              </a:extLst>
            </p:cNvPr>
            <p:cNvSpPr/>
            <p:nvPr/>
          </p:nvSpPr>
          <p:spPr>
            <a:xfrm>
              <a:off x="4149768" y="4622290"/>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600" dirty="0">
                <a:latin typeface="Lato Light" panose="020F0502020204030203" pitchFamily="34" charset="0"/>
              </a:endParaRPr>
            </a:p>
          </p:txBody>
        </p:sp>
        <p:sp>
          <p:nvSpPr>
            <p:cNvPr id="44" name="Oval 39">
              <a:extLst>
                <a:ext uri="{FF2B5EF4-FFF2-40B4-BE49-F238E27FC236}">
                  <a16:creationId xmlns:a16="http://schemas.microsoft.com/office/drawing/2014/main" id="{B5A3962B-7001-ADA5-E5FF-4419A55AF082}"/>
                </a:ext>
              </a:extLst>
            </p:cNvPr>
            <p:cNvSpPr/>
            <p:nvPr/>
          </p:nvSpPr>
          <p:spPr>
            <a:xfrm>
              <a:off x="3300060" y="499687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600" dirty="0">
                <a:latin typeface="Lato Light" panose="020F0502020204030203" pitchFamily="34" charset="0"/>
              </a:endParaRPr>
            </a:p>
          </p:txBody>
        </p:sp>
        <p:sp>
          <p:nvSpPr>
            <p:cNvPr id="45" name="Oval 40">
              <a:extLst>
                <a:ext uri="{FF2B5EF4-FFF2-40B4-BE49-F238E27FC236}">
                  <a16:creationId xmlns:a16="http://schemas.microsoft.com/office/drawing/2014/main" id="{C6851226-A14B-AA68-123D-24C8A678D620}"/>
                </a:ext>
              </a:extLst>
            </p:cNvPr>
            <p:cNvSpPr/>
            <p:nvPr/>
          </p:nvSpPr>
          <p:spPr>
            <a:xfrm>
              <a:off x="6460612" y="473126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600" dirty="0">
                <a:latin typeface="Lato Light" panose="020F0502020204030203" pitchFamily="34" charset="0"/>
              </a:endParaRPr>
            </a:p>
          </p:txBody>
        </p:sp>
        <p:sp>
          <p:nvSpPr>
            <p:cNvPr id="46" name="Oval 5">
              <a:extLst>
                <a:ext uri="{FF2B5EF4-FFF2-40B4-BE49-F238E27FC236}">
                  <a16:creationId xmlns:a16="http://schemas.microsoft.com/office/drawing/2014/main" id="{5283E687-BB1E-BCCC-2457-203BC37932C6}"/>
                </a:ext>
              </a:extLst>
            </p:cNvPr>
            <p:cNvSpPr>
              <a:spLocks noChangeArrowheads="1"/>
            </p:cNvSpPr>
            <p:nvPr/>
          </p:nvSpPr>
          <p:spPr bwMode="auto">
            <a:xfrm>
              <a:off x="6231742" y="2379412"/>
              <a:ext cx="871215" cy="87121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pPr algn="l" rtl="0"/>
              <a:endParaRPr lang="en-GB" sz="1600" dirty="0">
                <a:latin typeface="Lato Light" panose="020F0502020204030203" pitchFamily="34" charset="0"/>
              </a:endParaRPr>
            </a:p>
          </p:txBody>
        </p:sp>
        <p:sp>
          <p:nvSpPr>
            <p:cNvPr id="47" name="Freeform 7">
              <a:extLst>
                <a:ext uri="{FF2B5EF4-FFF2-40B4-BE49-F238E27FC236}">
                  <a16:creationId xmlns:a16="http://schemas.microsoft.com/office/drawing/2014/main" id="{1FB31419-AF47-DC5B-DA59-D40996450E1F}"/>
                </a:ext>
              </a:extLst>
            </p:cNvPr>
            <p:cNvSpPr>
              <a:spLocks noEditPoints="1"/>
            </p:cNvSpPr>
            <p:nvPr/>
          </p:nvSpPr>
          <p:spPr bwMode="auto">
            <a:xfrm>
              <a:off x="5996058" y="2169522"/>
              <a:ext cx="1415709" cy="1325257"/>
            </a:xfrm>
            <a:custGeom>
              <a:avLst/>
              <a:gdLst>
                <a:gd name="T0" fmla="*/ 432 w 864"/>
                <a:gd name="T1" fmla="*/ 0 h 864"/>
                <a:gd name="T2" fmla="*/ 0 w 864"/>
                <a:gd name="T3" fmla="*/ 432 h 864"/>
                <a:gd name="T4" fmla="*/ 432 w 864"/>
                <a:gd name="T5" fmla="*/ 864 h 864"/>
                <a:gd name="T6" fmla="*/ 864 w 864"/>
                <a:gd name="T7" fmla="*/ 432 h 864"/>
                <a:gd name="T8" fmla="*/ 432 w 864"/>
                <a:gd name="T9" fmla="*/ 0 h 864"/>
                <a:gd name="T10" fmla="*/ 432 w 864"/>
                <a:gd name="T11" fmla="*/ 778 h 864"/>
                <a:gd name="T12" fmla="*/ 86 w 864"/>
                <a:gd name="T13" fmla="*/ 432 h 864"/>
                <a:gd name="T14" fmla="*/ 432 w 864"/>
                <a:gd name="T15" fmla="*/ 86 h 864"/>
                <a:gd name="T16" fmla="*/ 778 w 864"/>
                <a:gd name="T17" fmla="*/ 432 h 864"/>
                <a:gd name="T18" fmla="*/ 432 w 864"/>
                <a:gd name="T19" fmla="*/ 778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4" h="864">
                  <a:moveTo>
                    <a:pt x="432" y="0"/>
                  </a:moveTo>
                  <a:cubicBezTo>
                    <a:pt x="194" y="0"/>
                    <a:pt x="0" y="194"/>
                    <a:pt x="0" y="432"/>
                  </a:cubicBezTo>
                  <a:cubicBezTo>
                    <a:pt x="0" y="670"/>
                    <a:pt x="194" y="864"/>
                    <a:pt x="432" y="864"/>
                  </a:cubicBezTo>
                  <a:cubicBezTo>
                    <a:pt x="670" y="864"/>
                    <a:pt x="864" y="670"/>
                    <a:pt x="864" y="432"/>
                  </a:cubicBezTo>
                  <a:cubicBezTo>
                    <a:pt x="864" y="194"/>
                    <a:pt x="670" y="0"/>
                    <a:pt x="432" y="0"/>
                  </a:cubicBezTo>
                  <a:close/>
                  <a:moveTo>
                    <a:pt x="432" y="778"/>
                  </a:moveTo>
                  <a:cubicBezTo>
                    <a:pt x="241" y="778"/>
                    <a:pt x="86" y="623"/>
                    <a:pt x="86" y="432"/>
                  </a:cubicBezTo>
                  <a:cubicBezTo>
                    <a:pt x="86" y="241"/>
                    <a:pt x="241" y="86"/>
                    <a:pt x="432" y="86"/>
                  </a:cubicBezTo>
                  <a:cubicBezTo>
                    <a:pt x="623" y="86"/>
                    <a:pt x="778" y="241"/>
                    <a:pt x="778" y="432"/>
                  </a:cubicBezTo>
                  <a:cubicBezTo>
                    <a:pt x="778" y="623"/>
                    <a:pt x="623" y="778"/>
                    <a:pt x="432" y="778"/>
                  </a:cubicBezTo>
                  <a:close/>
                </a:path>
              </a:pathLst>
            </a:custGeom>
            <a:solidFill>
              <a:srgbClr val="F16924"/>
            </a:solidFill>
            <a:ln>
              <a:noFill/>
            </a:ln>
          </p:spPr>
          <p:txBody>
            <a:bodyPr vert="horz" wrap="square" lIns="68580" tIns="34290" rIns="68580" bIns="34290" numCol="1" anchor="t" anchorCtr="0" compatLnSpc="1">
              <a:prstTxWarp prst="textNoShape">
                <a:avLst/>
              </a:prstTxWarp>
            </a:bodyPr>
            <a:lstStyle/>
            <a:p>
              <a:pPr algn="l" rtl="0"/>
              <a:endParaRPr lang="en-GB" sz="1600" dirty="0">
                <a:latin typeface="Lato Light" panose="020F0502020204030203" pitchFamily="34" charset="0"/>
              </a:endParaRPr>
            </a:p>
          </p:txBody>
        </p:sp>
        <p:sp>
          <p:nvSpPr>
            <p:cNvPr id="48" name="Oval 11">
              <a:extLst>
                <a:ext uri="{FF2B5EF4-FFF2-40B4-BE49-F238E27FC236}">
                  <a16:creationId xmlns:a16="http://schemas.microsoft.com/office/drawing/2014/main" id="{AFF0F3A9-C8BD-CE67-DF2F-86DB959E4E6D}"/>
                </a:ext>
              </a:extLst>
            </p:cNvPr>
            <p:cNvSpPr>
              <a:spLocks noChangeArrowheads="1"/>
            </p:cNvSpPr>
            <p:nvPr/>
          </p:nvSpPr>
          <p:spPr bwMode="auto">
            <a:xfrm>
              <a:off x="4147578" y="3331202"/>
              <a:ext cx="891901" cy="891901"/>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pPr algn="l" rtl="0"/>
              <a:endParaRPr lang="en-GB" sz="1600" dirty="0">
                <a:latin typeface="Lato Light" panose="020F0502020204030203" pitchFamily="34" charset="0"/>
              </a:endParaRPr>
            </a:p>
          </p:txBody>
        </p:sp>
        <p:sp>
          <p:nvSpPr>
            <p:cNvPr id="49" name="Freeform 13">
              <a:extLst>
                <a:ext uri="{FF2B5EF4-FFF2-40B4-BE49-F238E27FC236}">
                  <a16:creationId xmlns:a16="http://schemas.microsoft.com/office/drawing/2014/main" id="{55BDF06B-E7C0-F5C7-3A3E-39D2A43D9F16}"/>
                </a:ext>
              </a:extLst>
            </p:cNvPr>
            <p:cNvSpPr>
              <a:spLocks noEditPoints="1"/>
            </p:cNvSpPr>
            <p:nvPr/>
          </p:nvSpPr>
          <p:spPr bwMode="auto">
            <a:xfrm>
              <a:off x="4017053" y="3200673"/>
              <a:ext cx="1152957" cy="1152958"/>
            </a:xfrm>
            <a:custGeom>
              <a:avLst/>
              <a:gdLst>
                <a:gd name="T0" fmla="*/ 432 w 864"/>
                <a:gd name="T1" fmla="*/ 0 h 864"/>
                <a:gd name="T2" fmla="*/ 0 w 864"/>
                <a:gd name="T3" fmla="*/ 432 h 864"/>
                <a:gd name="T4" fmla="*/ 432 w 864"/>
                <a:gd name="T5" fmla="*/ 864 h 864"/>
                <a:gd name="T6" fmla="*/ 864 w 864"/>
                <a:gd name="T7" fmla="*/ 432 h 864"/>
                <a:gd name="T8" fmla="*/ 432 w 864"/>
                <a:gd name="T9" fmla="*/ 0 h 864"/>
                <a:gd name="T10" fmla="*/ 432 w 864"/>
                <a:gd name="T11" fmla="*/ 778 h 864"/>
                <a:gd name="T12" fmla="*/ 86 w 864"/>
                <a:gd name="T13" fmla="*/ 432 h 864"/>
                <a:gd name="T14" fmla="*/ 432 w 864"/>
                <a:gd name="T15" fmla="*/ 86 h 864"/>
                <a:gd name="T16" fmla="*/ 778 w 864"/>
                <a:gd name="T17" fmla="*/ 432 h 864"/>
                <a:gd name="T18" fmla="*/ 432 w 864"/>
                <a:gd name="T19" fmla="*/ 778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4" h="864">
                  <a:moveTo>
                    <a:pt x="432" y="0"/>
                  </a:moveTo>
                  <a:cubicBezTo>
                    <a:pt x="194" y="0"/>
                    <a:pt x="0" y="194"/>
                    <a:pt x="0" y="432"/>
                  </a:cubicBezTo>
                  <a:cubicBezTo>
                    <a:pt x="0" y="670"/>
                    <a:pt x="194" y="864"/>
                    <a:pt x="432" y="864"/>
                  </a:cubicBezTo>
                  <a:cubicBezTo>
                    <a:pt x="670" y="864"/>
                    <a:pt x="864" y="670"/>
                    <a:pt x="864" y="432"/>
                  </a:cubicBezTo>
                  <a:cubicBezTo>
                    <a:pt x="864" y="194"/>
                    <a:pt x="670" y="0"/>
                    <a:pt x="432" y="0"/>
                  </a:cubicBezTo>
                  <a:close/>
                  <a:moveTo>
                    <a:pt x="432" y="778"/>
                  </a:moveTo>
                  <a:cubicBezTo>
                    <a:pt x="241" y="778"/>
                    <a:pt x="86" y="623"/>
                    <a:pt x="86" y="432"/>
                  </a:cubicBezTo>
                  <a:cubicBezTo>
                    <a:pt x="86" y="241"/>
                    <a:pt x="241" y="86"/>
                    <a:pt x="432" y="86"/>
                  </a:cubicBezTo>
                  <a:cubicBezTo>
                    <a:pt x="623" y="86"/>
                    <a:pt x="778" y="241"/>
                    <a:pt x="778" y="432"/>
                  </a:cubicBezTo>
                  <a:cubicBezTo>
                    <a:pt x="778" y="623"/>
                    <a:pt x="623" y="778"/>
                    <a:pt x="432" y="778"/>
                  </a:cubicBez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pPr algn="l" rtl="0"/>
              <a:endParaRPr lang="en-GB" sz="1600" dirty="0">
                <a:latin typeface="Lato Light" panose="020F0502020204030203" pitchFamily="34" charset="0"/>
              </a:endParaRPr>
            </a:p>
          </p:txBody>
        </p:sp>
        <p:sp>
          <p:nvSpPr>
            <p:cNvPr id="50" name="Oval 17">
              <a:extLst>
                <a:ext uri="{FF2B5EF4-FFF2-40B4-BE49-F238E27FC236}">
                  <a16:creationId xmlns:a16="http://schemas.microsoft.com/office/drawing/2014/main" id="{3C61D353-6D9F-A60F-8668-DD8B308CB63E}"/>
                </a:ext>
              </a:extLst>
            </p:cNvPr>
            <p:cNvSpPr>
              <a:spLocks noChangeArrowheads="1"/>
            </p:cNvSpPr>
            <p:nvPr/>
          </p:nvSpPr>
          <p:spPr bwMode="auto">
            <a:xfrm>
              <a:off x="5244409" y="4475704"/>
              <a:ext cx="837298" cy="837298"/>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pPr algn="l" rtl="0"/>
              <a:endParaRPr lang="en-GB" sz="1600" dirty="0">
                <a:latin typeface="Lato Light" panose="020F0502020204030203" pitchFamily="34" charset="0"/>
              </a:endParaRPr>
            </a:p>
          </p:txBody>
        </p:sp>
        <p:sp>
          <p:nvSpPr>
            <p:cNvPr id="51" name="Oval 22">
              <a:extLst>
                <a:ext uri="{FF2B5EF4-FFF2-40B4-BE49-F238E27FC236}">
                  <a16:creationId xmlns:a16="http://schemas.microsoft.com/office/drawing/2014/main" id="{80F61F31-31A9-2E06-254D-C35461DB4EFE}"/>
                </a:ext>
              </a:extLst>
            </p:cNvPr>
            <p:cNvSpPr>
              <a:spLocks noChangeArrowheads="1"/>
            </p:cNvSpPr>
            <p:nvPr/>
          </p:nvSpPr>
          <p:spPr bwMode="auto">
            <a:xfrm>
              <a:off x="6908851" y="3830468"/>
              <a:ext cx="892013" cy="892013"/>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pPr algn="l" rtl="0"/>
              <a:endParaRPr lang="en-GB" sz="1600" dirty="0">
                <a:latin typeface="Lato Light" panose="020F0502020204030203" pitchFamily="34" charset="0"/>
              </a:endParaRPr>
            </a:p>
          </p:txBody>
        </p:sp>
        <p:sp>
          <p:nvSpPr>
            <p:cNvPr id="52" name="Freeform 24">
              <a:extLst>
                <a:ext uri="{FF2B5EF4-FFF2-40B4-BE49-F238E27FC236}">
                  <a16:creationId xmlns:a16="http://schemas.microsoft.com/office/drawing/2014/main" id="{080186A4-20BB-BDD4-99E6-6CA44F0E08CE}"/>
                </a:ext>
              </a:extLst>
            </p:cNvPr>
            <p:cNvSpPr>
              <a:spLocks noEditPoints="1"/>
            </p:cNvSpPr>
            <p:nvPr/>
          </p:nvSpPr>
          <p:spPr bwMode="auto">
            <a:xfrm>
              <a:off x="6778377" y="3699995"/>
              <a:ext cx="1152958" cy="1152958"/>
            </a:xfrm>
            <a:custGeom>
              <a:avLst/>
              <a:gdLst>
                <a:gd name="T0" fmla="*/ 432 w 864"/>
                <a:gd name="T1" fmla="*/ 0 h 864"/>
                <a:gd name="T2" fmla="*/ 0 w 864"/>
                <a:gd name="T3" fmla="*/ 432 h 864"/>
                <a:gd name="T4" fmla="*/ 432 w 864"/>
                <a:gd name="T5" fmla="*/ 864 h 864"/>
                <a:gd name="T6" fmla="*/ 864 w 864"/>
                <a:gd name="T7" fmla="*/ 432 h 864"/>
                <a:gd name="T8" fmla="*/ 432 w 864"/>
                <a:gd name="T9" fmla="*/ 0 h 864"/>
                <a:gd name="T10" fmla="*/ 432 w 864"/>
                <a:gd name="T11" fmla="*/ 778 h 864"/>
                <a:gd name="T12" fmla="*/ 86 w 864"/>
                <a:gd name="T13" fmla="*/ 432 h 864"/>
                <a:gd name="T14" fmla="*/ 432 w 864"/>
                <a:gd name="T15" fmla="*/ 86 h 864"/>
                <a:gd name="T16" fmla="*/ 778 w 864"/>
                <a:gd name="T17" fmla="*/ 432 h 864"/>
                <a:gd name="T18" fmla="*/ 432 w 864"/>
                <a:gd name="T19" fmla="*/ 778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4" h="864">
                  <a:moveTo>
                    <a:pt x="432" y="0"/>
                  </a:moveTo>
                  <a:cubicBezTo>
                    <a:pt x="194" y="0"/>
                    <a:pt x="0" y="194"/>
                    <a:pt x="0" y="432"/>
                  </a:cubicBezTo>
                  <a:cubicBezTo>
                    <a:pt x="0" y="670"/>
                    <a:pt x="194" y="864"/>
                    <a:pt x="432" y="864"/>
                  </a:cubicBezTo>
                  <a:cubicBezTo>
                    <a:pt x="670" y="864"/>
                    <a:pt x="864" y="670"/>
                    <a:pt x="864" y="432"/>
                  </a:cubicBezTo>
                  <a:cubicBezTo>
                    <a:pt x="864" y="194"/>
                    <a:pt x="670" y="0"/>
                    <a:pt x="432" y="0"/>
                  </a:cubicBezTo>
                  <a:close/>
                  <a:moveTo>
                    <a:pt x="432" y="778"/>
                  </a:moveTo>
                  <a:cubicBezTo>
                    <a:pt x="241" y="778"/>
                    <a:pt x="86" y="623"/>
                    <a:pt x="86" y="432"/>
                  </a:cubicBezTo>
                  <a:cubicBezTo>
                    <a:pt x="86" y="241"/>
                    <a:pt x="241" y="86"/>
                    <a:pt x="432" y="86"/>
                  </a:cubicBezTo>
                  <a:cubicBezTo>
                    <a:pt x="623" y="86"/>
                    <a:pt x="778" y="241"/>
                    <a:pt x="778" y="432"/>
                  </a:cubicBezTo>
                  <a:cubicBezTo>
                    <a:pt x="778" y="623"/>
                    <a:pt x="623" y="778"/>
                    <a:pt x="432" y="778"/>
                  </a:cubicBez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pPr algn="l" rtl="0"/>
              <a:endParaRPr lang="en-GB" sz="1600" dirty="0">
                <a:latin typeface="Lato Light" panose="020F0502020204030203" pitchFamily="34" charset="0"/>
              </a:endParaRPr>
            </a:p>
          </p:txBody>
        </p:sp>
        <p:sp>
          <p:nvSpPr>
            <p:cNvPr id="53" name="Oval 28">
              <a:extLst>
                <a:ext uri="{FF2B5EF4-FFF2-40B4-BE49-F238E27FC236}">
                  <a16:creationId xmlns:a16="http://schemas.microsoft.com/office/drawing/2014/main" id="{524A55E5-24B5-6236-20C6-2F7D3783E6D5}"/>
                </a:ext>
              </a:extLst>
            </p:cNvPr>
            <p:cNvSpPr>
              <a:spLocks noChangeArrowheads="1"/>
            </p:cNvSpPr>
            <p:nvPr/>
          </p:nvSpPr>
          <p:spPr bwMode="auto">
            <a:xfrm>
              <a:off x="7324461" y="2778222"/>
              <a:ext cx="887559" cy="887559"/>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pPr algn="l" rtl="0"/>
              <a:endParaRPr lang="en-GB" sz="1600" dirty="0">
                <a:latin typeface="Lato Light" panose="020F0502020204030203" pitchFamily="34" charset="0"/>
              </a:endParaRPr>
            </a:p>
          </p:txBody>
        </p:sp>
        <p:sp>
          <p:nvSpPr>
            <p:cNvPr id="54" name="Freeform 86">
              <a:extLst>
                <a:ext uri="{FF2B5EF4-FFF2-40B4-BE49-F238E27FC236}">
                  <a16:creationId xmlns:a16="http://schemas.microsoft.com/office/drawing/2014/main" id="{4490E25B-0D01-507D-9AB0-424133155A1B}"/>
                </a:ext>
              </a:extLst>
            </p:cNvPr>
            <p:cNvSpPr>
              <a:spLocks noChangeAspect="1"/>
            </p:cNvSpPr>
            <p:nvPr/>
          </p:nvSpPr>
          <p:spPr>
            <a:xfrm>
              <a:off x="5693942" y="3511887"/>
              <a:ext cx="439967" cy="439965"/>
            </a:xfrm>
            <a:custGeom>
              <a:avLst/>
              <a:gdLst>
                <a:gd name="connsiteX0" fmla="*/ 1670267 w 1670267"/>
                <a:gd name="connsiteY0" fmla="*/ 674231 h 1670266"/>
                <a:gd name="connsiteX1" fmla="*/ 1670267 w 1670267"/>
                <a:gd name="connsiteY1" fmla="*/ 996035 h 1670266"/>
                <a:gd name="connsiteX2" fmla="*/ 996036 w 1670267"/>
                <a:gd name="connsiteY2" fmla="*/ 996035 h 1670266"/>
                <a:gd name="connsiteX3" fmla="*/ 996036 w 1670267"/>
                <a:gd name="connsiteY3" fmla="*/ 1670266 h 1670266"/>
                <a:gd name="connsiteX4" fmla="*/ 674232 w 1670267"/>
                <a:gd name="connsiteY4" fmla="*/ 1670266 h 1670266"/>
                <a:gd name="connsiteX5" fmla="*/ 674232 w 1670267"/>
                <a:gd name="connsiteY5" fmla="*/ 996035 h 1670266"/>
                <a:gd name="connsiteX6" fmla="*/ 0 w 1670267"/>
                <a:gd name="connsiteY6" fmla="*/ 996035 h 1670266"/>
                <a:gd name="connsiteX7" fmla="*/ 0 w 1670267"/>
                <a:gd name="connsiteY7" fmla="*/ 674231 h 1670266"/>
                <a:gd name="connsiteX8" fmla="*/ 674232 w 1670267"/>
                <a:gd name="connsiteY8" fmla="*/ 674231 h 1670266"/>
                <a:gd name="connsiteX9" fmla="*/ 674232 w 1670267"/>
                <a:gd name="connsiteY9" fmla="*/ 0 h 1670266"/>
                <a:gd name="connsiteX10" fmla="*/ 996036 w 1670267"/>
                <a:gd name="connsiteY10" fmla="*/ 0 h 1670266"/>
                <a:gd name="connsiteX11" fmla="*/ 996036 w 1670267"/>
                <a:gd name="connsiteY11" fmla="*/ 674231 h 167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70267" h="1670266">
                  <a:moveTo>
                    <a:pt x="1670267" y="674231"/>
                  </a:moveTo>
                  <a:lnTo>
                    <a:pt x="1670267" y="996035"/>
                  </a:lnTo>
                  <a:lnTo>
                    <a:pt x="996036" y="996035"/>
                  </a:lnTo>
                  <a:lnTo>
                    <a:pt x="996036" y="1670266"/>
                  </a:lnTo>
                  <a:lnTo>
                    <a:pt x="674232" y="1670266"/>
                  </a:lnTo>
                  <a:lnTo>
                    <a:pt x="674232" y="996035"/>
                  </a:lnTo>
                  <a:lnTo>
                    <a:pt x="0" y="996035"/>
                  </a:lnTo>
                  <a:lnTo>
                    <a:pt x="0" y="674231"/>
                  </a:lnTo>
                  <a:lnTo>
                    <a:pt x="674232" y="674231"/>
                  </a:lnTo>
                  <a:lnTo>
                    <a:pt x="674232" y="0"/>
                  </a:lnTo>
                  <a:lnTo>
                    <a:pt x="996036" y="0"/>
                  </a:lnTo>
                  <a:lnTo>
                    <a:pt x="996036" y="67423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sz="1600" dirty="0">
                <a:latin typeface="Lato Light" panose="020F0502020204030203" pitchFamily="34" charset="0"/>
              </a:endParaRPr>
            </a:p>
          </p:txBody>
        </p:sp>
        <p:sp>
          <p:nvSpPr>
            <p:cNvPr id="55" name="Freeform 88">
              <a:extLst>
                <a:ext uri="{FF2B5EF4-FFF2-40B4-BE49-F238E27FC236}">
                  <a16:creationId xmlns:a16="http://schemas.microsoft.com/office/drawing/2014/main" id="{D874BEA4-097D-E01C-7E4C-A4B1BAABAC90}"/>
                </a:ext>
              </a:extLst>
            </p:cNvPr>
            <p:cNvSpPr/>
            <p:nvPr/>
          </p:nvSpPr>
          <p:spPr>
            <a:xfrm>
              <a:off x="5492467" y="4725497"/>
              <a:ext cx="328687" cy="328687"/>
            </a:xfrm>
            <a:custGeom>
              <a:avLst/>
              <a:gdLst>
                <a:gd name="connsiteX0" fmla="*/ 353721 w 876270"/>
                <a:gd name="connsiteY0" fmla="*/ 0 h 876270"/>
                <a:gd name="connsiteX1" fmla="*/ 522549 w 876270"/>
                <a:gd name="connsiteY1" fmla="*/ 0 h 876270"/>
                <a:gd name="connsiteX2" fmla="*/ 522549 w 876270"/>
                <a:gd name="connsiteY2" fmla="*/ 353721 h 876270"/>
                <a:gd name="connsiteX3" fmla="*/ 876270 w 876270"/>
                <a:gd name="connsiteY3" fmla="*/ 353721 h 876270"/>
                <a:gd name="connsiteX4" fmla="*/ 876270 w 876270"/>
                <a:gd name="connsiteY4" fmla="*/ 522549 h 876270"/>
                <a:gd name="connsiteX5" fmla="*/ 522549 w 876270"/>
                <a:gd name="connsiteY5" fmla="*/ 522549 h 876270"/>
                <a:gd name="connsiteX6" fmla="*/ 522549 w 876270"/>
                <a:gd name="connsiteY6" fmla="*/ 876270 h 876270"/>
                <a:gd name="connsiteX7" fmla="*/ 353721 w 876270"/>
                <a:gd name="connsiteY7" fmla="*/ 876270 h 876270"/>
                <a:gd name="connsiteX8" fmla="*/ 353721 w 876270"/>
                <a:gd name="connsiteY8" fmla="*/ 522549 h 876270"/>
                <a:gd name="connsiteX9" fmla="*/ 0 w 876270"/>
                <a:gd name="connsiteY9" fmla="*/ 522549 h 876270"/>
                <a:gd name="connsiteX10" fmla="*/ 0 w 876270"/>
                <a:gd name="connsiteY10" fmla="*/ 353721 h 876270"/>
                <a:gd name="connsiteX11" fmla="*/ 353721 w 876270"/>
                <a:gd name="connsiteY11" fmla="*/ 353721 h 87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6270" h="876270">
                  <a:moveTo>
                    <a:pt x="353721" y="0"/>
                  </a:moveTo>
                  <a:lnTo>
                    <a:pt x="522549" y="0"/>
                  </a:lnTo>
                  <a:lnTo>
                    <a:pt x="522549" y="353721"/>
                  </a:lnTo>
                  <a:lnTo>
                    <a:pt x="876270" y="353721"/>
                  </a:lnTo>
                  <a:lnTo>
                    <a:pt x="876270" y="522549"/>
                  </a:lnTo>
                  <a:lnTo>
                    <a:pt x="522549" y="522549"/>
                  </a:lnTo>
                  <a:lnTo>
                    <a:pt x="522549" y="876270"/>
                  </a:lnTo>
                  <a:lnTo>
                    <a:pt x="353721" y="876270"/>
                  </a:lnTo>
                  <a:lnTo>
                    <a:pt x="353721" y="522549"/>
                  </a:lnTo>
                  <a:lnTo>
                    <a:pt x="0" y="522549"/>
                  </a:lnTo>
                  <a:lnTo>
                    <a:pt x="0" y="353721"/>
                  </a:lnTo>
                  <a:lnTo>
                    <a:pt x="353721" y="35372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sz="1600" dirty="0">
                <a:solidFill>
                  <a:schemeClr val="bg1"/>
                </a:solidFill>
                <a:latin typeface="Lato Light" panose="020F0502020204030203" pitchFamily="34" charset="0"/>
              </a:endParaRPr>
            </a:p>
          </p:txBody>
        </p:sp>
        <p:sp>
          <p:nvSpPr>
            <p:cNvPr id="56" name="TextBox 108">
              <a:extLst>
                <a:ext uri="{FF2B5EF4-FFF2-40B4-BE49-F238E27FC236}">
                  <a16:creationId xmlns:a16="http://schemas.microsoft.com/office/drawing/2014/main" id="{49220945-1F04-9AC2-3FC0-241C20367C65}"/>
                </a:ext>
              </a:extLst>
            </p:cNvPr>
            <p:cNvSpPr txBox="1"/>
            <p:nvPr/>
          </p:nvSpPr>
          <p:spPr>
            <a:xfrm>
              <a:off x="4070921" y="3572716"/>
              <a:ext cx="1049849" cy="470611"/>
            </a:xfrm>
            <a:prstGeom prst="rect">
              <a:avLst/>
            </a:prstGeom>
            <a:noFill/>
          </p:spPr>
          <p:txBody>
            <a:bodyPr wrap="none" rtlCol="0" anchor="t" anchorCtr="0">
              <a:spAutoFit/>
            </a:bodyPr>
            <a:lstStyle/>
            <a:p>
              <a:pPr algn="ctr" rtl="0"/>
              <a:r>
                <a:rPr lang="en-GB" sz="1400" b="1" dirty="0">
                  <a:solidFill>
                    <a:srgbClr val="B41F7A"/>
                  </a:solidFill>
                  <a:latin typeface="Calibri" panose="020F0502020204030204" pitchFamily="34" charset="0"/>
                  <a:ea typeface="League Spartan" charset="0"/>
                  <a:cs typeface="Calibri" panose="020F0502020204030204" pitchFamily="34" charset="0"/>
                </a:rPr>
                <a:t>Público</a:t>
              </a:r>
            </a:p>
          </p:txBody>
        </p:sp>
        <p:sp>
          <p:nvSpPr>
            <p:cNvPr id="57" name="TextBox 109">
              <a:extLst>
                <a:ext uri="{FF2B5EF4-FFF2-40B4-BE49-F238E27FC236}">
                  <a16:creationId xmlns:a16="http://schemas.microsoft.com/office/drawing/2014/main" id="{D93145CC-47E4-36E6-2481-58CE3DA01EC5}"/>
                </a:ext>
              </a:extLst>
            </p:cNvPr>
            <p:cNvSpPr txBox="1"/>
            <p:nvPr/>
          </p:nvSpPr>
          <p:spPr>
            <a:xfrm>
              <a:off x="6098024" y="2586256"/>
              <a:ext cx="1177350" cy="423549"/>
            </a:xfrm>
            <a:prstGeom prst="rect">
              <a:avLst/>
            </a:prstGeom>
            <a:noFill/>
          </p:spPr>
          <p:txBody>
            <a:bodyPr wrap="none" rtlCol="0" anchor="t" anchorCtr="0">
              <a:spAutoFit/>
            </a:bodyPr>
            <a:lstStyle/>
            <a:p>
              <a:pPr algn="ctr" rtl="0"/>
              <a:r>
                <a:rPr lang="en-GB" sz="1200" b="1" dirty="0">
                  <a:solidFill>
                    <a:srgbClr val="CD6634"/>
                  </a:solidFill>
                  <a:latin typeface="Calibri" panose="020F0502020204030204" pitchFamily="34" charset="0"/>
                  <a:ea typeface="League Spartan" charset="0"/>
                  <a:cs typeface="Calibri" panose="020F0502020204030204" pitchFamily="34" charset="0"/>
                </a:rPr>
                <a:t>Industria</a:t>
              </a:r>
            </a:p>
          </p:txBody>
        </p:sp>
        <p:sp>
          <p:nvSpPr>
            <p:cNvPr id="58" name="TextBox 110">
              <a:extLst>
                <a:ext uri="{FF2B5EF4-FFF2-40B4-BE49-F238E27FC236}">
                  <a16:creationId xmlns:a16="http://schemas.microsoft.com/office/drawing/2014/main" id="{359BD4A9-9BC6-2CDC-60D7-FC59B5EC78AD}"/>
                </a:ext>
              </a:extLst>
            </p:cNvPr>
            <p:cNvSpPr txBox="1"/>
            <p:nvPr/>
          </p:nvSpPr>
          <p:spPr>
            <a:xfrm>
              <a:off x="7144990" y="4074445"/>
              <a:ext cx="419729" cy="423549"/>
            </a:xfrm>
            <a:prstGeom prst="rect">
              <a:avLst/>
            </a:prstGeom>
            <a:noFill/>
          </p:spPr>
          <p:txBody>
            <a:bodyPr wrap="none" rtlCol="0" anchor="t" anchorCtr="0">
              <a:spAutoFit/>
            </a:bodyPr>
            <a:lstStyle/>
            <a:p>
              <a:pPr algn="ctr" rtl="0"/>
              <a:r>
                <a:rPr lang="en-GB" sz="1200" b="1" dirty="0">
                  <a:solidFill>
                    <a:srgbClr val="595959"/>
                  </a:solidFill>
                  <a:latin typeface="Calibri" panose="020F0502020204030204" pitchFamily="34" charset="0"/>
                  <a:ea typeface="League Spartan" charset="0"/>
                  <a:cs typeface="Calibri" panose="020F0502020204030204" pitchFamily="34" charset="0"/>
                </a:rPr>
                <a:t>?</a:t>
              </a:r>
            </a:p>
          </p:txBody>
        </p:sp>
      </p:grpSp>
      <p:sp>
        <p:nvSpPr>
          <p:cNvPr id="59" name="TextBox 35">
            <a:extLst>
              <a:ext uri="{FF2B5EF4-FFF2-40B4-BE49-F238E27FC236}">
                <a16:creationId xmlns:a16="http://schemas.microsoft.com/office/drawing/2014/main" id="{91BB80F4-EC78-A7A8-77AB-91CA0CE061E7}"/>
              </a:ext>
            </a:extLst>
          </p:cNvPr>
          <p:cNvSpPr txBox="1"/>
          <p:nvPr/>
        </p:nvSpPr>
        <p:spPr>
          <a:xfrm>
            <a:off x="1905349" y="2493975"/>
            <a:ext cx="4115807" cy="430887"/>
          </a:xfrm>
          <a:prstGeom prst="rect">
            <a:avLst/>
          </a:prstGeom>
          <a:noFill/>
        </p:spPr>
        <p:txBody>
          <a:bodyPr wrap="none" rtlCol="0" anchor="b" anchorCtr="0">
            <a:spAutoFit/>
          </a:bodyPr>
          <a:lstStyle/>
          <a:p>
            <a:pPr algn="l" rtl="0"/>
            <a:r>
              <a:rPr lang="en-GB" sz="2200" b="1" dirty="0">
                <a:solidFill>
                  <a:srgbClr val="595959"/>
                </a:solidFill>
                <a:ea typeface="League Spartan" charset="0"/>
                <a:cs typeface="Poppins" pitchFamily="2" charset="77"/>
              </a:rPr>
              <a:t>1. Mapeo mental de las partes interesadas</a:t>
            </a:r>
          </a:p>
        </p:txBody>
      </p:sp>
      <p:grpSp>
        <p:nvGrpSpPr>
          <p:cNvPr id="60" name="Gruppieren 7">
            <a:extLst>
              <a:ext uri="{FF2B5EF4-FFF2-40B4-BE49-F238E27FC236}">
                <a16:creationId xmlns:a16="http://schemas.microsoft.com/office/drawing/2014/main" id="{7341769E-DAA6-5F35-2DF8-ECEEFA274B72}"/>
              </a:ext>
            </a:extLst>
          </p:cNvPr>
          <p:cNvGrpSpPr>
            <a:grpSpLocks noChangeAspect="1"/>
          </p:cNvGrpSpPr>
          <p:nvPr/>
        </p:nvGrpSpPr>
        <p:grpSpPr>
          <a:xfrm>
            <a:off x="7264713" y="3273360"/>
            <a:ext cx="4303124" cy="3120596"/>
            <a:chOff x="6372288" y="1843583"/>
            <a:chExt cx="5704454" cy="2486321"/>
          </a:xfrm>
        </p:grpSpPr>
        <p:sp>
          <p:nvSpPr>
            <p:cNvPr id="61" name="Freeform 39">
              <a:extLst>
                <a:ext uri="{FF2B5EF4-FFF2-40B4-BE49-F238E27FC236}">
                  <a16:creationId xmlns:a16="http://schemas.microsoft.com/office/drawing/2014/main" id="{D44697AB-9E24-0941-A8CD-D67ED8225250}"/>
                </a:ext>
              </a:extLst>
            </p:cNvPr>
            <p:cNvSpPr>
              <a:spLocks/>
            </p:cNvSpPr>
            <p:nvPr/>
          </p:nvSpPr>
          <p:spPr bwMode="auto">
            <a:xfrm>
              <a:off x="6372288" y="1843583"/>
              <a:ext cx="3446265" cy="774391"/>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rgbClr val="F16924"/>
            </a:solidFill>
            <a:ln>
              <a:noFill/>
            </a:ln>
          </p:spPr>
          <p:txBody>
            <a:bodyPr vert="horz" wrap="square" lIns="68580" tIns="34290" rIns="68580" bIns="34290" numCol="1" anchor="t" anchorCtr="0" compatLnSpc="1">
              <a:prstTxWarp prst="textNoShape">
                <a:avLst/>
              </a:prstTxWarp>
            </a:bodyPr>
            <a:lstStyle/>
            <a:p>
              <a:pPr algn="l" rtl="0"/>
              <a:endParaRPr lang="en-GB" sz="1600" b="1" dirty="0">
                <a:solidFill>
                  <a:schemeClr val="accent1">
                    <a:lumMod val="60000"/>
                    <a:lumOff val="40000"/>
                  </a:schemeClr>
                </a:solidFill>
                <a:latin typeface="+mj-lt"/>
              </a:endParaRPr>
            </a:p>
          </p:txBody>
        </p:sp>
        <p:sp>
          <p:nvSpPr>
            <p:cNvPr id="62" name="Freeform 13">
              <a:extLst>
                <a:ext uri="{FF2B5EF4-FFF2-40B4-BE49-F238E27FC236}">
                  <a16:creationId xmlns:a16="http://schemas.microsoft.com/office/drawing/2014/main" id="{7790F4EE-8FA9-3375-4B89-8BDD49558E24}"/>
                </a:ext>
              </a:extLst>
            </p:cNvPr>
            <p:cNvSpPr>
              <a:spLocks/>
            </p:cNvSpPr>
            <p:nvPr/>
          </p:nvSpPr>
          <p:spPr bwMode="auto">
            <a:xfrm>
              <a:off x="6729975" y="1855108"/>
              <a:ext cx="270163" cy="774392"/>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algn="l" rtl="0"/>
              <a:endParaRPr lang="en-GB" sz="1600" b="1" dirty="0">
                <a:solidFill>
                  <a:schemeClr val="accent1">
                    <a:lumMod val="60000"/>
                    <a:lumOff val="40000"/>
                  </a:schemeClr>
                </a:solidFill>
                <a:latin typeface="+mj-lt"/>
              </a:endParaRPr>
            </a:p>
          </p:txBody>
        </p:sp>
        <p:sp>
          <p:nvSpPr>
            <p:cNvPr id="63" name="TextBox 39">
              <a:extLst>
                <a:ext uri="{FF2B5EF4-FFF2-40B4-BE49-F238E27FC236}">
                  <a16:creationId xmlns:a16="http://schemas.microsoft.com/office/drawing/2014/main" id="{4148E786-79AC-EFA4-1B70-B69AAF6B574D}"/>
                </a:ext>
              </a:extLst>
            </p:cNvPr>
            <p:cNvSpPr txBox="1"/>
            <p:nvPr/>
          </p:nvSpPr>
          <p:spPr>
            <a:xfrm>
              <a:off x="7187874" y="2042394"/>
              <a:ext cx="2604564" cy="247263"/>
            </a:xfrm>
            <a:prstGeom prst="rect">
              <a:avLst/>
            </a:prstGeom>
            <a:noFill/>
          </p:spPr>
          <p:txBody>
            <a:bodyPr wrap="square" rtlCol="0">
              <a:spAutoFit/>
            </a:bodyPr>
            <a:lstStyle/>
            <a:p>
              <a:pPr algn="l" rtl="0">
                <a:lnSpc>
                  <a:spcPts val="1665"/>
                </a:lnSpc>
              </a:pPr>
              <a:r>
                <a:rPr lang="en-GB" sz="1600" dirty="0">
                  <a:solidFill>
                    <a:schemeClr val="bg1"/>
                  </a:solidFill>
                  <a:ea typeface="Lato Light" charset="0"/>
                  <a:cs typeface="Lato Light" charset="0"/>
                </a:rPr>
                <a:t>Breve descripción</a:t>
              </a:r>
            </a:p>
          </p:txBody>
        </p:sp>
        <p:sp>
          <p:nvSpPr>
            <p:cNvPr id="64" name="TextBox 40">
              <a:extLst>
                <a:ext uri="{FF2B5EF4-FFF2-40B4-BE49-F238E27FC236}">
                  <a16:creationId xmlns:a16="http://schemas.microsoft.com/office/drawing/2014/main" id="{0011CA93-ADDF-353B-8B72-04BF30C86D9B}"/>
                </a:ext>
              </a:extLst>
            </p:cNvPr>
            <p:cNvSpPr txBox="1"/>
            <p:nvPr/>
          </p:nvSpPr>
          <p:spPr>
            <a:xfrm>
              <a:off x="7209352" y="1864639"/>
              <a:ext cx="1796583" cy="239345"/>
            </a:xfrm>
            <a:prstGeom prst="rect">
              <a:avLst/>
            </a:prstGeom>
            <a:noFill/>
          </p:spPr>
          <p:txBody>
            <a:bodyPr wrap="none" rtlCol="0">
              <a:spAutoFit/>
            </a:bodyPr>
            <a:lstStyle/>
            <a:p>
              <a:pPr algn="l" rtl="0">
                <a:lnSpc>
                  <a:spcPts val="1620"/>
                </a:lnSpc>
              </a:pPr>
              <a:r>
                <a:rPr lang="en-GB" sz="1600" b="1" dirty="0">
                  <a:solidFill>
                    <a:schemeClr val="bg1"/>
                  </a:solidFill>
                  <a:ea typeface="Roboto" charset="0"/>
                  <a:cs typeface="Roboto" charset="0"/>
                </a:rPr>
                <a:t>Parte interesada 1</a:t>
              </a:r>
            </a:p>
          </p:txBody>
        </p:sp>
        <p:sp>
          <p:nvSpPr>
            <p:cNvPr id="65" name="Freeform 37">
              <a:extLst>
                <a:ext uri="{FF2B5EF4-FFF2-40B4-BE49-F238E27FC236}">
                  <a16:creationId xmlns:a16="http://schemas.microsoft.com/office/drawing/2014/main" id="{9BC5E916-275C-7C3E-7581-B1CB0A493F66}"/>
                </a:ext>
              </a:extLst>
            </p:cNvPr>
            <p:cNvSpPr>
              <a:spLocks/>
            </p:cNvSpPr>
            <p:nvPr/>
          </p:nvSpPr>
          <p:spPr bwMode="auto">
            <a:xfrm>
              <a:off x="6972834" y="2294203"/>
              <a:ext cx="3559825" cy="954352"/>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pPr algn="l" rtl="0"/>
              <a:endParaRPr lang="en-GB" sz="1600" b="1" dirty="0">
                <a:solidFill>
                  <a:schemeClr val="accent1">
                    <a:lumMod val="60000"/>
                    <a:lumOff val="40000"/>
                  </a:schemeClr>
                </a:solidFill>
                <a:latin typeface="+mj-lt"/>
              </a:endParaRPr>
            </a:p>
          </p:txBody>
        </p:sp>
        <p:sp>
          <p:nvSpPr>
            <p:cNvPr id="66" name="Freeform 15">
              <a:extLst>
                <a:ext uri="{FF2B5EF4-FFF2-40B4-BE49-F238E27FC236}">
                  <a16:creationId xmlns:a16="http://schemas.microsoft.com/office/drawing/2014/main" id="{C7A2A9C1-6F69-1F8C-F96D-96618532E3EA}"/>
                </a:ext>
              </a:extLst>
            </p:cNvPr>
            <p:cNvSpPr>
              <a:spLocks/>
            </p:cNvSpPr>
            <p:nvPr/>
          </p:nvSpPr>
          <p:spPr bwMode="auto">
            <a:xfrm>
              <a:off x="7233227" y="2472698"/>
              <a:ext cx="641861" cy="77227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algn="l" rtl="0"/>
              <a:endParaRPr lang="en-GB" sz="1600" b="1" dirty="0">
                <a:solidFill>
                  <a:schemeClr val="accent1">
                    <a:lumMod val="60000"/>
                    <a:lumOff val="40000"/>
                  </a:schemeClr>
                </a:solidFill>
                <a:latin typeface="+mj-lt"/>
              </a:endParaRPr>
            </a:p>
          </p:txBody>
        </p:sp>
        <p:sp>
          <p:nvSpPr>
            <p:cNvPr id="67" name="TextBox 37">
              <a:extLst>
                <a:ext uri="{FF2B5EF4-FFF2-40B4-BE49-F238E27FC236}">
                  <a16:creationId xmlns:a16="http://schemas.microsoft.com/office/drawing/2014/main" id="{505AE4DC-9488-E434-27CD-063A0722DA70}"/>
                </a:ext>
              </a:extLst>
            </p:cNvPr>
            <p:cNvSpPr txBox="1"/>
            <p:nvPr/>
          </p:nvSpPr>
          <p:spPr>
            <a:xfrm>
              <a:off x="7987363" y="2535564"/>
              <a:ext cx="2604564" cy="247263"/>
            </a:xfrm>
            <a:prstGeom prst="rect">
              <a:avLst/>
            </a:prstGeom>
            <a:noFill/>
          </p:spPr>
          <p:txBody>
            <a:bodyPr wrap="square" rtlCol="0">
              <a:spAutoFit/>
            </a:bodyPr>
            <a:lstStyle/>
            <a:p>
              <a:pPr algn="l" rtl="0">
                <a:lnSpc>
                  <a:spcPts val="1665"/>
                </a:lnSpc>
              </a:pPr>
              <a:r>
                <a:rPr lang="en-GB" sz="1600" dirty="0">
                  <a:solidFill>
                    <a:schemeClr val="bg1"/>
                  </a:solidFill>
                  <a:ea typeface="Lato Light" charset="0"/>
                  <a:cs typeface="Lato Light" charset="0"/>
                </a:rPr>
                <a:t>Breve descripción</a:t>
              </a:r>
            </a:p>
          </p:txBody>
        </p:sp>
        <p:sp>
          <p:nvSpPr>
            <p:cNvPr id="68" name="TextBox 38">
              <a:extLst>
                <a:ext uri="{FF2B5EF4-FFF2-40B4-BE49-F238E27FC236}">
                  <a16:creationId xmlns:a16="http://schemas.microsoft.com/office/drawing/2014/main" id="{97FEFD8E-5133-9528-4FE3-1842AD6FD594}"/>
                </a:ext>
              </a:extLst>
            </p:cNvPr>
            <p:cNvSpPr txBox="1"/>
            <p:nvPr/>
          </p:nvSpPr>
          <p:spPr>
            <a:xfrm>
              <a:off x="7962327" y="2351975"/>
              <a:ext cx="1796583" cy="239345"/>
            </a:xfrm>
            <a:prstGeom prst="rect">
              <a:avLst/>
            </a:prstGeom>
            <a:noFill/>
          </p:spPr>
          <p:txBody>
            <a:bodyPr wrap="none" rtlCol="0">
              <a:spAutoFit/>
            </a:bodyPr>
            <a:lstStyle/>
            <a:p>
              <a:pPr algn="l" rtl="0">
                <a:lnSpc>
                  <a:spcPts val="1620"/>
                </a:lnSpc>
              </a:pPr>
              <a:r>
                <a:rPr lang="en-GB" sz="1600" b="1" dirty="0">
                  <a:solidFill>
                    <a:schemeClr val="bg1"/>
                  </a:solidFill>
                  <a:ea typeface="Roboto" charset="0"/>
                  <a:cs typeface="Roboto" charset="0"/>
                </a:rPr>
                <a:t>Parte interesada 2</a:t>
              </a:r>
            </a:p>
          </p:txBody>
        </p:sp>
        <p:sp>
          <p:nvSpPr>
            <p:cNvPr id="69" name="Freeform 35">
              <a:extLst>
                <a:ext uri="{FF2B5EF4-FFF2-40B4-BE49-F238E27FC236}">
                  <a16:creationId xmlns:a16="http://schemas.microsoft.com/office/drawing/2014/main" id="{9C3BA1CB-F789-1F00-621B-ED89FCD42CFE}"/>
                </a:ext>
              </a:extLst>
            </p:cNvPr>
            <p:cNvSpPr>
              <a:spLocks/>
            </p:cNvSpPr>
            <p:nvPr/>
          </p:nvSpPr>
          <p:spPr bwMode="auto">
            <a:xfrm>
              <a:off x="7780219" y="2814672"/>
              <a:ext cx="3549708" cy="95435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pPr algn="l" rtl="0"/>
              <a:endParaRPr lang="en-GB" sz="1600" b="1" dirty="0">
                <a:solidFill>
                  <a:schemeClr val="accent1">
                    <a:lumMod val="60000"/>
                    <a:lumOff val="40000"/>
                  </a:schemeClr>
                </a:solidFill>
                <a:latin typeface="+mj-lt"/>
              </a:endParaRPr>
            </a:p>
          </p:txBody>
        </p:sp>
        <p:sp>
          <p:nvSpPr>
            <p:cNvPr id="70" name="Freeform 16">
              <a:extLst>
                <a:ext uri="{FF2B5EF4-FFF2-40B4-BE49-F238E27FC236}">
                  <a16:creationId xmlns:a16="http://schemas.microsoft.com/office/drawing/2014/main" id="{D22EF32E-0311-EC94-7DEF-1D1E4FAC9FEF}"/>
                </a:ext>
              </a:extLst>
            </p:cNvPr>
            <p:cNvSpPr>
              <a:spLocks/>
            </p:cNvSpPr>
            <p:nvPr/>
          </p:nvSpPr>
          <p:spPr bwMode="auto">
            <a:xfrm>
              <a:off x="8098286" y="2985062"/>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algn="l" rtl="0"/>
              <a:endParaRPr lang="en-GB" sz="1600" b="1" dirty="0">
                <a:solidFill>
                  <a:schemeClr val="accent1">
                    <a:lumMod val="60000"/>
                    <a:lumOff val="40000"/>
                  </a:schemeClr>
                </a:solidFill>
                <a:latin typeface="+mj-lt"/>
              </a:endParaRPr>
            </a:p>
          </p:txBody>
        </p:sp>
        <p:sp>
          <p:nvSpPr>
            <p:cNvPr id="71" name="TextBox 29">
              <a:extLst>
                <a:ext uri="{FF2B5EF4-FFF2-40B4-BE49-F238E27FC236}">
                  <a16:creationId xmlns:a16="http://schemas.microsoft.com/office/drawing/2014/main" id="{DD7F668E-95E4-5576-6C4E-3B5846045C54}"/>
                </a:ext>
              </a:extLst>
            </p:cNvPr>
            <p:cNvSpPr txBox="1"/>
            <p:nvPr/>
          </p:nvSpPr>
          <p:spPr>
            <a:xfrm>
              <a:off x="8715713" y="3044585"/>
              <a:ext cx="2604564" cy="247263"/>
            </a:xfrm>
            <a:prstGeom prst="rect">
              <a:avLst/>
            </a:prstGeom>
            <a:noFill/>
          </p:spPr>
          <p:txBody>
            <a:bodyPr wrap="square" rtlCol="0">
              <a:spAutoFit/>
            </a:bodyPr>
            <a:lstStyle/>
            <a:p>
              <a:pPr algn="l" rtl="0">
                <a:lnSpc>
                  <a:spcPts val="1665"/>
                </a:lnSpc>
              </a:pPr>
              <a:r>
                <a:rPr lang="en-GB" sz="1600" dirty="0">
                  <a:solidFill>
                    <a:schemeClr val="bg1"/>
                  </a:solidFill>
                  <a:ea typeface="Lato Light" charset="0"/>
                  <a:cs typeface="Lato Light" charset="0"/>
                </a:rPr>
                <a:t>Breve descripción</a:t>
              </a:r>
            </a:p>
          </p:txBody>
        </p:sp>
        <p:sp>
          <p:nvSpPr>
            <p:cNvPr id="72" name="TextBox 30">
              <a:extLst>
                <a:ext uri="{FF2B5EF4-FFF2-40B4-BE49-F238E27FC236}">
                  <a16:creationId xmlns:a16="http://schemas.microsoft.com/office/drawing/2014/main" id="{9E78AD8A-E94D-A93E-B324-2C4FBC97A2E5}"/>
                </a:ext>
              </a:extLst>
            </p:cNvPr>
            <p:cNvSpPr txBox="1"/>
            <p:nvPr/>
          </p:nvSpPr>
          <p:spPr>
            <a:xfrm>
              <a:off x="8715713" y="2862620"/>
              <a:ext cx="1796583" cy="239345"/>
            </a:xfrm>
            <a:prstGeom prst="rect">
              <a:avLst/>
            </a:prstGeom>
            <a:noFill/>
          </p:spPr>
          <p:txBody>
            <a:bodyPr wrap="none" rtlCol="0">
              <a:spAutoFit/>
            </a:bodyPr>
            <a:lstStyle/>
            <a:p>
              <a:pPr algn="l" rtl="0">
                <a:lnSpc>
                  <a:spcPts val="1620"/>
                </a:lnSpc>
              </a:pPr>
              <a:r>
                <a:rPr lang="en-GB" sz="1600" b="1" dirty="0">
                  <a:solidFill>
                    <a:schemeClr val="bg1"/>
                  </a:solidFill>
                  <a:ea typeface="Roboto" charset="0"/>
                  <a:cs typeface="Roboto" charset="0"/>
                </a:rPr>
                <a:t>Parte interesada 3</a:t>
              </a:r>
            </a:p>
          </p:txBody>
        </p:sp>
        <p:grpSp>
          <p:nvGrpSpPr>
            <p:cNvPr id="73" name="Gruppieren 6">
              <a:extLst>
                <a:ext uri="{FF2B5EF4-FFF2-40B4-BE49-F238E27FC236}">
                  <a16:creationId xmlns:a16="http://schemas.microsoft.com/office/drawing/2014/main" id="{59C13438-1921-CAB6-D231-FB5A49E2BAFB}"/>
                </a:ext>
              </a:extLst>
            </p:cNvPr>
            <p:cNvGrpSpPr/>
            <p:nvPr/>
          </p:nvGrpSpPr>
          <p:grpSpPr>
            <a:xfrm>
              <a:off x="8497800" y="3359811"/>
              <a:ext cx="3578942" cy="970093"/>
              <a:chOff x="6979340" y="5450343"/>
              <a:chExt cx="3578942" cy="970093"/>
            </a:xfrm>
          </p:grpSpPr>
          <p:sp>
            <p:nvSpPr>
              <p:cNvPr id="74" name="Freeform 16">
                <a:extLst>
                  <a:ext uri="{FF2B5EF4-FFF2-40B4-BE49-F238E27FC236}">
                    <a16:creationId xmlns:a16="http://schemas.microsoft.com/office/drawing/2014/main" id="{4DE06113-E50B-011F-B8C0-0A5636BA047A}"/>
                  </a:ext>
                </a:extLst>
              </p:cNvPr>
              <p:cNvSpPr>
                <a:spLocks noEditPoints="1"/>
              </p:cNvSpPr>
              <p:nvPr/>
            </p:nvSpPr>
            <p:spPr bwMode="auto">
              <a:xfrm>
                <a:off x="6979340" y="5466084"/>
                <a:ext cx="3578942" cy="95435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rgbClr val="EDA13E"/>
              </a:solidFill>
              <a:ln>
                <a:noFill/>
              </a:ln>
            </p:spPr>
            <p:txBody>
              <a:bodyPr vert="horz" wrap="square" lIns="68580" tIns="34290" rIns="68580" bIns="34290" numCol="1" anchor="t" anchorCtr="0" compatLnSpc="1">
                <a:prstTxWarp prst="textNoShape">
                  <a:avLst/>
                </a:prstTxWarp>
              </a:bodyPr>
              <a:lstStyle/>
              <a:p>
                <a:pPr algn="l" rtl="0"/>
                <a:endParaRPr lang="en-GB" sz="1600" b="1" dirty="0">
                  <a:solidFill>
                    <a:schemeClr val="accent1">
                      <a:lumMod val="60000"/>
                      <a:lumOff val="40000"/>
                    </a:schemeClr>
                  </a:solidFill>
                  <a:latin typeface="+mj-lt"/>
                </a:endParaRPr>
              </a:p>
            </p:txBody>
          </p:sp>
          <p:sp>
            <p:nvSpPr>
              <p:cNvPr id="75" name="Freeform 5">
                <a:extLst>
                  <a:ext uri="{FF2B5EF4-FFF2-40B4-BE49-F238E27FC236}">
                    <a16:creationId xmlns:a16="http://schemas.microsoft.com/office/drawing/2014/main" id="{6F7B7188-F3FC-C4DE-CF53-BF3A9AF86983}"/>
                  </a:ext>
                </a:extLst>
              </p:cNvPr>
              <p:cNvSpPr>
                <a:spLocks/>
              </p:cNvSpPr>
              <p:nvPr/>
            </p:nvSpPr>
            <p:spPr bwMode="auto">
              <a:xfrm>
                <a:off x="7571064" y="5450343"/>
                <a:ext cx="343175" cy="954353"/>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algn="l" rtl="0"/>
                <a:endParaRPr lang="en-GB" sz="1600" b="1" dirty="0">
                  <a:solidFill>
                    <a:schemeClr val="accent1">
                      <a:lumMod val="60000"/>
                      <a:lumOff val="40000"/>
                    </a:schemeClr>
                  </a:solidFill>
                  <a:latin typeface="+mj-lt"/>
                </a:endParaRPr>
              </a:p>
            </p:txBody>
          </p:sp>
          <p:sp>
            <p:nvSpPr>
              <p:cNvPr id="76" name="TextBox 27">
                <a:extLst>
                  <a:ext uri="{FF2B5EF4-FFF2-40B4-BE49-F238E27FC236}">
                    <a16:creationId xmlns:a16="http://schemas.microsoft.com/office/drawing/2014/main" id="{9EEB4FA9-F4CE-2DA8-014E-9553E43DD9F4}"/>
                  </a:ext>
                </a:extLst>
              </p:cNvPr>
              <p:cNvSpPr txBox="1"/>
              <p:nvPr/>
            </p:nvSpPr>
            <p:spPr>
              <a:xfrm>
                <a:off x="7885030" y="5750589"/>
                <a:ext cx="2604563" cy="247263"/>
              </a:xfrm>
              <a:prstGeom prst="rect">
                <a:avLst/>
              </a:prstGeom>
              <a:noFill/>
            </p:spPr>
            <p:txBody>
              <a:bodyPr wrap="square" rtlCol="0">
                <a:spAutoFit/>
              </a:bodyPr>
              <a:lstStyle/>
              <a:p>
                <a:pPr algn="l" rtl="0">
                  <a:lnSpc>
                    <a:spcPts val="1665"/>
                  </a:lnSpc>
                </a:pPr>
                <a:r>
                  <a:rPr lang="en-GB" sz="1600" dirty="0">
                    <a:solidFill>
                      <a:schemeClr val="bg1"/>
                    </a:solidFill>
                    <a:ea typeface="Lato Light" charset="0"/>
                    <a:cs typeface="Lato Light" charset="0"/>
                  </a:rPr>
                  <a:t>Breve descripción</a:t>
                </a:r>
              </a:p>
            </p:txBody>
          </p:sp>
          <p:sp>
            <p:nvSpPr>
              <p:cNvPr id="77" name="TextBox 28">
                <a:extLst>
                  <a:ext uri="{FF2B5EF4-FFF2-40B4-BE49-F238E27FC236}">
                    <a16:creationId xmlns:a16="http://schemas.microsoft.com/office/drawing/2014/main" id="{3E44D55D-5EA3-7D0C-7201-5533704F4BC9}"/>
                  </a:ext>
                </a:extLst>
              </p:cNvPr>
              <p:cNvSpPr txBox="1"/>
              <p:nvPr/>
            </p:nvSpPr>
            <p:spPr>
              <a:xfrm>
                <a:off x="7862739" y="5570497"/>
                <a:ext cx="1796583" cy="239345"/>
              </a:xfrm>
              <a:prstGeom prst="rect">
                <a:avLst/>
              </a:prstGeom>
              <a:noFill/>
            </p:spPr>
            <p:txBody>
              <a:bodyPr wrap="none" rtlCol="0">
                <a:spAutoFit/>
              </a:bodyPr>
              <a:lstStyle/>
              <a:p>
                <a:pPr algn="l" rtl="0">
                  <a:lnSpc>
                    <a:spcPts val="1620"/>
                  </a:lnSpc>
                </a:pPr>
                <a:r>
                  <a:rPr lang="en-GB" sz="1600" b="1" dirty="0">
                    <a:solidFill>
                      <a:schemeClr val="bg1"/>
                    </a:solidFill>
                    <a:ea typeface="Roboto" charset="0"/>
                    <a:cs typeface="Roboto" charset="0"/>
                  </a:rPr>
                  <a:t>Parte interesada 4</a:t>
                </a:r>
              </a:p>
            </p:txBody>
          </p:sp>
        </p:grpSp>
      </p:grpSp>
      <p:sp>
        <p:nvSpPr>
          <p:cNvPr id="78" name="TextBox 35">
            <a:extLst>
              <a:ext uri="{FF2B5EF4-FFF2-40B4-BE49-F238E27FC236}">
                <a16:creationId xmlns:a16="http://schemas.microsoft.com/office/drawing/2014/main" id="{9FADF874-E959-F2CF-7373-79685B2BEBE3}"/>
              </a:ext>
            </a:extLst>
          </p:cNvPr>
          <p:cNvSpPr txBox="1"/>
          <p:nvPr/>
        </p:nvSpPr>
        <p:spPr>
          <a:xfrm>
            <a:off x="7043294" y="2493975"/>
            <a:ext cx="2583271" cy="430887"/>
          </a:xfrm>
          <a:prstGeom prst="rect">
            <a:avLst/>
          </a:prstGeom>
          <a:noFill/>
        </p:spPr>
        <p:txBody>
          <a:bodyPr wrap="none" rtlCol="0" anchor="b" anchorCtr="0">
            <a:spAutoFit/>
          </a:bodyPr>
          <a:lstStyle/>
          <a:p>
            <a:pPr algn="l" rtl="0"/>
            <a:r>
              <a:rPr lang="en-GB" sz="2200" b="1" dirty="0">
                <a:solidFill>
                  <a:srgbClr val="595959"/>
                </a:solidFill>
                <a:ea typeface="League Spartan" charset="0"/>
                <a:cs typeface="Poppins" pitchFamily="2" charset="77"/>
              </a:rPr>
              <a:t>2. Tarjetas de partes interesadas</a:t>
            </a:r>
          </a:p>
        </p:txBody>
      </p:sp>
    </p:spTree>
    <p:extLst>
      <p:ext uri="{BB962C8B-B14F-4D97-AF65-F5344CB8AC3E}">
        <p14:creationId xmlns:p14="http://schemas.microsoft.com/office/powerpoint/2010/main" val="6646119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29BCBB0-2531-B07C-F79F-E806EA32F80C}"/>
              </a:ext>
            </a:extLst>
          </p:cNvPr>
          <p:cNvSpPr>
            <a:spLocks noGrp="1"/>
          </p:cNvSpPr>
          <p:nvPr>
            <p:ph type="body" sz="quarter" idx="18"/>
          </p:nvPr>
        </p:nvSpPr>
        <p:spPr>
          <a:xfrm>
            <a:off x="2243138" y="2114549"/>
            <a:ext cx="9201150" cy="4614864"/>
          </a:xfrm>
        </p:spPr>
        <p:txBody>
          <a:bodyPr>
            <a:normAutofit/>
          </a:bodyPr>
          <a:lstStyle/>
          <a:p>
            <a:pPr marL="12700" indent="-12700" algn="l" rtl="0"/>
            <a:r>
              <a:rPr lang="en-US" dirty="0"/>
              <a:t>Eche un vistazo más profundo a sus partes interesadas. El análisis y la evaluación sirven tanto para</a:t>
            </a:r>
            <a:r>
              <a:rPr lang="en-US" dirty="0" err="1"/>
              <a:t>priorizar</a:t>
            </a:r>
            <a:r>
              <a:rPr lang="en-US" dirty="0"/>
              <a:t>las partes interesadas según su importancia e identificar a las que potencialmente podrían causar la mayoría de los problemas.</a:t>
            </a:r>
          </a:p>
          <a:p>
            <a:pPr marL="12700" indent="-12700" algn="l" rtl="0"/>
            <a:endParaRPr lang="en-US" dirty="0"/>
          </a:p>
          <a:p>
            <a:pPr marL="12700" indent="-12700" algn="l" rtl="0"/>
            <a:endParaRPr lang="en-US" dirty="0"/>
          </a:p>
          <a:p>
            <a:pPr marL="12700" indent="-12700" algn="l" rtl="0"/>
            <a:r>
              <a:rPr lang="en-US" b="1" dirty="0">
                <a:solidFill>
                  <a:srgbClr val="F16924"/>
                </a:solidFill>
              </a:rPr>
              <a:t>Las siguientes preguntas son útiles:</a:t>
            </a:r>
          </a:p>
          <a:p>
            <a:pPr marL="12700" indent="-12700" algn="l" rtl="0"/>
            <a:endParaRPr lang="en-US" b="1" dirty="0"/>
          </a:p>
          <a:p>
            <a:pPr marL="342900" indent="-342900" algn="l" rtl="0">
              <a:buClr>
                <a:srgbClr val="F16924"/>
              </a:buClr>
              <a:buFont typeface="Arial" panose="020B0604020202020204" pitchFamily="34" charset="0"/>
              <a:buChar char="•"/>
            </a:pPr>
            <a:r>
              <a:rPr lang="en-US" dirty="0"/>
              <a:t>¿Cuáles son exactamente las influencias de las respectivas partes interesadas?</a:t>
            </a:r>
          </a:p>
          <a:p>
            <a:pPr marL="342900" indent="-342900" algn="l" rtl="0">
              <a:buClr>
                <a:srgbClr val="F16924"/>
              </a:buClr>
              <a:buFont typeface="Arial" panose="020B0604020202020204" pitchFamily="34" charset="0"/>
              <a:buChar char="•"/>
            </a:pPr>
            <a:r>
              <a:rPr lang="en-US" dirty="0"/>
              <a:t>¿Qué tan fuertes son las influencias?</a:t>
            </a:r>
          </a:p>
          <a:p>
            <a:pPr marL="342900" indent="-342900" algn="l" rtl="0">
              <a:buClr>
                <a:srgbClr val="F16924"/>
              </a:buClr>
              <a:buFont typeface="Arial" panose="020B0604020202020204" pitchFamily="34" charset="0"/>
              <a:buChar char="•"/>
            </a:pPr>
            <a:r>
              <a:rPr lang="en-US" dirty="0"/>
              <a:t>¿Pueden beneficiar o perjudicar a mi empresa?</a:t>
            </a:r>
          </a:p>
          <a:p>
            <a:pPr marL="342900" indent="-342900" algn="l" rtl="0">
              <a:buClr>
                <a:srgbClr val="F16924"/>
              </a:buClr>
              <a:buFont typeface="Arial" panose="020B0604020202020204" pitchFamily="34" charset="0"/>
              <a:buChar char="•"/>
            </a:pPr>
            <a:r>
              <a:rPr lang="en-US" dirty="0"/>
              <a:t>¿La actitud de los stakeholders hacia mi empresa es positiva o negativa?</a:t>
            </a:r>
          </a:p>
          <a:p>
            <a:pPr marL="342900" indent="-342900" algn="l" rtl="0">
              <a:buClr>
                <a:srgbClr val="F16924"/>
              </a:buClr>
              <a:buFont typeface="Arial" panose="020B0604020202020204" pitchFamily="34" charset="0"/>
              <a:buChar char="•"/>
            </a:pPr>
            <a:r>
              <a:rPr lang="en-US" dirty="0"/>
              <a:t>¿Qué poder tienen los stakeholders para influir en mi empresa?</a:t>
            </a:r>
          </a:p>
        </p:txBody>
      </p:sp>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a:bodyPr>
          <a:lstStyle/>
          <a:p>
            <a:pPr algn="l" rtl="0"/>
            <a:r>
              <a:rPr lang="en-US" dirty="0"/>
              <a:t>Analisis de los interesados</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a:buNone/>
            </a:pPr>
            <a:r>
              <a:rPr lang="en-US" sz="8000" dirty="0">
                <a:solidFill>
                  <a:schemeClr val="bg1"/>
                </a:solidFill>
              </a:rPr>
              <a:t>02</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Tree>
    <p:extLst>
      <p:ext uri="{BB962C8B-B14F-4D97-AF65-F5344CB8AC3E}">
        <p14:creationId xmlns:p14="http://schemas.microsoft.com/office/powerpoint/2010/main" val="83065618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a:bodyPr>
          <a:lstStyle/>
          <a:p>
            <a:pPr algn="l" rtl="0"/>
            <a:r>
              <a:rPr lang="en-US" dirty="0"/>
              <a:t>Analisis de los interesados</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a:buNone/>
            </a:pPr>
            <a:r>
              <a:rPr lang="en-US" sz="8000" dirty="0">
                <a:solidFill>
                  <a:schemeClr val="bg1"/>
                </a:solidFill>
              </a:rPr>
              <a:t>02</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graphicFrame>
        <p:nvGraphicFramePr>
          <p:cNvPr id="4" name="Tabelle 5">
            <a:extLst>
              <a:ext uri="{FF2B5EF4-FFF2-40B4-BE49-F238E27FC236}">
                <a16:creationId xmlns:a16="http://schemas.microsoft.com/office/drawing/2014/main" id="{8ACF6A2A-4151-AF9E-355C-BCB134CCA02B}"/>
              </a:ext>
            </a:extLst>
          </p:cNvPr>
          <p:cNvGraphicFramePr>
            <a:graphicFrameLocks noGrp="1"/>
          </p:cNvGraphicFramePr>
          <p:nvPr>
            <p:extLst>
              <p:ext uri="{D42A27DB-BD31-4B8C-83A1-F6EECF244321}">
                <p14:modId xmlns:p14="http://schemas.microsoft.com/office/powerpoint/2010/main" val="1441317732"/>
              </p:ext>
            </p:extLst>
          </p:nvPr>
        </p:nvGraphicFramePr>
        <p:xfrm>
          <a:off x="2114548" y="2014219"/>
          <a:ext cx="9597552" cy="3863687"/>
        </p:xfrm>
        <a:graphic>
          <a:graphicData uri="http://schemas.openxmlformats.org/drawingml/2006/table">
            <a:tbl>
              <a:tblPr firstRow="1" bandRow="1">
                <a:tableStyleId>{7DF18680-E054-41AD-8BC1-D1AEF772440D}</a:tableStyleId>
              </a:tblPr>
              <a:tblGrid>
                <a:gridCol w="1734230">
                  <a:extLst>
                    <a:ext uri="{9D8B030D-6E8A-4147-A177-3AD203B41FA5}">
                      <a16:colId xmlns:a16="http://schemas.microsoft.com/office/drawing/2014/main" val="2661440363"/>
                    </a:ext>
                  </a:extLst>
                </a:gridCol>
                <a:gridCol w="4867205">
                  <a:extLst>
                    <a:ext uri="{9D8B030D-6E8A-4147-A177-3AD203B41FA5}">
                      <a16:colId xmlns:a16="http://schemas.microsoft.com/office/drawing/2014/main" val="1978240280"/>
                    </a:ext>
                  </a:extLst>
                </a:gridCol>
                <a:gridCol w="2996117">
                  <a:extLst>
                    <a:ext uri="{9D8B030D-6E8A-4147-A177-3AD203B41FA5}">
                      <a16:colId xmlns:a16="http://schemas.microsoft.com/office/drawing/2014/main" val="2176638843"/>
                    </a:ext>
                  </a:extLst>
                </a:gridCol>
              </a:tblGrid>
              <a:tr h="503959">
                <a:tc>
                  <a:txBody>
                    <a:bodyPr/>
                    <a:lstStyle/>
                    <a:p>
                      <a:pPr algn="l" rtl="0"/>
                      <a:r>
                        <a:rPr lang="en-GB" sz="2000" dirty="0"/>
                        <a:t>CRITERIO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pPr algn="l" rtl="0"/>
                      <a:r>
                        <a:rPr lang="en-GB" sz="2000" dirty="0"/>
                        <a:t>DESCRIPCIÓ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pPr algn="l" rtl="0"/>
                      <a:r>
                        <a:rPr lang="en-GB" sz="2000" dirty="0"/>
                        <a:t>EVALUACIÓN POSIBL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extLst>
                  <a:ext uri="{0D108BD9-81ED-4DB2-BD59-A6C34878D82A}">
                    <a16:rowId xmlns:a16="http://schemas.microsoft.com/office/drawing/2014/main" val="3158589264"/>
                  </a:ext>
                </a:extLst>
              </a:tr>
              <a:tr h="839932">
                <a:tc>
                  <a:txBody>
                    <a:bodyPr/>
                    <a:lstStyle/>
                    <a:p>
                      <a:pPr algn="l" rtl="0"/>
                      <a:r>
                        <a:rPr lang="en-GB" sz="2000" b="1" dirty="0">
                          <a:solidFill>
                            <a:srgbClr val="595959"/>
                          </a:solidFill>
                        </a:rPr>
                        <a:t>Influencia / Pod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en-GB" sz="2000" dirty="0">
                          <a:solidFill>
                            <a:srgbClr val="595959"/>
                          </a:solidFill>
                        </a:rPr>
                        <a:t>¿Qué tan grande es la capacidad de las partes interesadas para ejercer influencia en la empres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en-GB" sz="2000" dirty="0">
                          <a:solidFill>
                            <a:srgbClr val="595959"/>
                          </a:solidFill>
                        </a:rPr>
                        <a:t>bajo medio alt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01821656"/>
                  </a:ext>
                </a:extLst>
              </a:tr>
              <a:tr h="839932">
                <a:tc>
                  <a:txBody>
                    <a:bodyPr/>
                    <a:lstStyle/>
                    <a:p>
                      <a:pPr algn="l" rtl="0"/>
                      <a:r>
                        <a:rPr lang="en-GB" sz="2000" b="1" dirty="0">
                          <a:solidFill>
                            <a:srgbClr val="595959"/>
                          </a:solidFill>
                        </a:rPr>
                        <a:t>Actitu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en-GB" sz="2000" dirty="0">
                          <a:solidFill>
                            <a:srgbClr val="595959"/>
                          </a:solidFill>
                        </a:rPr>
                        <a:t>¿La actitud de los stakeholders hacia la empresa y sus efectos es positiva o negativ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en-GB" sz="2000" dirty="0">
                          <a:solidFill>
                            <a:srgbClr val="595959"/>
                          </a:solidFill>
                        </a:rPr>
                        <a:t>negativo, neutro, positiv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778539"/>
                  </a:ext>
                </a:extLst>
              </a:tr>
              <a:tr h="839932">
                <a:tc>
                  <a:txBody>
                    <a:bodyPr/>
                    <a:lstStyle/>
                    <a:p>
                      <a:pPr algn="l" rtl="0"/>
                      <a:r>
                        <a:rPr lang="en-GB" sz="2000" b="1" dirty="0">
                          <a:solidFill>
                            <a:srgbClr val="595959"/>
                          </a:solidFill>
                        </a:rPr>
                        <a:t>Preocupación / Interé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en-GB" sz="2000" dirty="0">
                          <a:solidFill>
                            <a:srgbClr val="595959"/>
                          </a:solidFill>
                        </a:rPr>
                        <a:t>¿En qué medida se ve afectado el grupo de interés por los impactos de la empres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en-GB" sz="2000" dirty="0">
                          <a:solidFill>
                            <a:srgbClr val="595959"/>
                          </a:solidFill>
                        </a:rPr>
                        <a:t>bajo medio alt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68378937"/>
                  </a:ext>
                </a:extLst>
              </a:tr>
              <a:tr h="839932">
                <a:tc>
                  <a:txBody>
                    <a:bodyPr/>
                    <a:lstStyle/>
                    <a:p>
                      <a:pPr algn="l" rtl="0"/>
                      <a:r>
                        <a:rPr lang="en-GB" sz="2000" b="1" dirty="0">
                          <a:solidFill>
                            <a:srgbClr val="595959"/>
                          </a:solidFill>
                        </a:rPr>
                        <a:t>Potencial de conflict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en-GB" sz="2000" dirty="0">
                          <a:solidFill>
                            <a:srgbClr val="595959"/>
                          </a:solidFill>
                        </a:rPr>
                        <a:t>¿Cuál es la probabilidad de que la parte interesada cause problemas en la empres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r>
                        <a:rPr lang="en-GB" sz="2000" dirty="0">
                          <a:solidFill>
                            <a:srgbClr val="595959"/>
                          </a:solidFill>
                        </a:rPr>
                        <a:t>bajo medio alt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48904216"/>
                  </a:ext>
                </a:extLst>
              </a:tr>
            </a:tbl>
          </a:graphicData>
        </a:graphic>
      </p:graphicFrame>
    </p:spTree>
    <p:extLst>
      <p:ext uri="{BB962C8B-B14F-4D97-AF65-F5344CB8AC3E}">
        <p14:creationId xmlns:p14="http://schemas.microsoft.com/office/powerpoint/2010/main" val="240522435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a:bodyPr>
          <a:lstStyle/>
          <a:p>
            <a:pPr algn="l" rtl="0"/>
            <a:r>
              <a:rPr lang="en-US" dirty="0"/>
              <a:t>Analisis de los interesados</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a:buNone/>
            </a:pPr>
            <a:r>
              <a:rPr lang="en-US" sz="8000" dirty="0">
                <a:solidFill>
                  <a:schemeClr val="bg1"/>
                </a:solidFill>
              </a:rPr>
              <a:t>02</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graphicFrame>
        <p:nvGraphicFramePr>
          <p:cNvPr id="37" name="Tabelle 5">
            <a:extLst>
              <a:ext uri="{FF2B5EF4-FFF2-40B4-BE49-F238E27FC236}">
                <a16:creationId xmlns:a16="http://schemas.microsoft.com/office/drawing/2014/main" id="{D836E7D4-13F0-9471-49A2-4FE3309352EA}"/>
              </a:ext>
            </a:extLst>
          </p:cNvPr>
          <p:cNvGraphicFramePr>
            <a:graphicFrameLocks noGrp="1"/>
          </p:cNvGraphicFramePr>
          <p:nvPr>
            <p:extLst>
              <p:ext uri="{D42A27DB-BD31-4B8C-83A1-F6EECF244321}">
                <p14:modId xmlns:p14="http://schemas.microsoft.com/office/powerpoint/2010/main" val="1507943526"/>
              </p:ext>
            </p:extLst>
          </p:nvPr>
        </p:nvGraphicFramePr>
        <p:xfrm>
          <a:off x="2114549" y="3073192"/>
          <a:ext cx="9772651" cy="2533608"/>
        </p:xfrm>
        <a:graphic>
          <a:graphicData uri="http://schemas.openxmlformats.org/drawingml/2006/table">
            <a:tbl>
              <a:tblPr firstRow="1" bandRow="1">
                <a:tableStyleId>{7DF18680-E054-41AD-8BC1-D1AEF772440D}</a:tableStyleId>
              </a:tblPr>
              <a:tblGrid>
                <a:gridCol w="755364">
                  <a:extLst>
                    <a:ext uri="{9D8B030D-6E8A-4147-A177-3AD203B41FA5}">
                      <a16:colId xmlns:a16="http://schemas.microsoft.com/office/drawing/2014/main" val="2661440363"/>
                    </a:ext>
                  </a:extLst>
                </a:gridCol>
                <a:gridCol w="1760453">
                  <a:extLst>
                    <a:ext uri="{9D8B030D-6E8A-4147-A177-3AD203B41FA5}">
                      <a16:colId xmlns:a16="http://schemas.microsoft.com/office/drawing/2014/main" val="1978240280"/>
                    </a:ext>
                  </a:extLst>
                </a:gridCol>
                <a:gridCol w="2699927">
                  <a:extLst>
                    <a:ext uri="{9D8B030D-6E8A-4147-A177-3AD203B41FA5}">
                      <a16:colId xmlns:a16="http://schemas.microsoft.com/office/drawing/2014/main" val="2176638843"/>
                    </a:ext>
                  </a:extLst>
                </a:gridCol>
                <a:gridCol w="629701">
                  <a:extLst>
                    <a:ext uri="{9D8B030D-6E8A-4147-A177-3AD203B41FA5}">
                      <a16:colId xmlns:a16="http://schemas.microsoft.com/office/drawing/2014/main" val="3294946335"/>
                    </a:ext>
                  </a:extLst>
                </a:gridCol>
                <a:gridCol w="629701">
                  <a:extLst>
                    <a:ext uri="{9D8B030D-6E8A-4147-A177-3AD203B41FA5}">
                      <a16:colId xmlns:a16="http://schemas.microsoft.com/office/drawing/2014/main" val="2823981131"/>
                    </a:ext>
                  </a:extLst>
                </a:gridCol>
                <a:gridCol w="629701">
                  <a:extLst>
                    <a:ext uri="{9D8B030D-6E8A-4147-A177-3AD203B41FA5}">
                      <a16:colId xmlns:a16="http://schemas.microsoft.com/office/drawing/2014/main" val="3992718697"/>
                    </a:ext>
                  </a:extLst>
                </a:gridCol>
                <a:gridCol w="2667804">
                  <a:extLst>
                    <a:ext uri="{9D8B030D-6E8A-4147-A177-3AD203B41FA5}">
                      <a16:colId xmlns:a16="http://schemas.microsoft.com/office/drawing/2014/main" val="1748816123"/>
                    </a:ext>
                  </a:extLst>
                </a:gridCol>
              </a:tblGrid>
              <a:tr h="1311758">
                <a:tc>
                  <a:txBody>
                    <a:bodyPr/>
                    <a:lstStyle/>
                    <a:p>
                      <a:pPr algn="l" rtl="0"/>
                      <a:r>
                        <a:rPr lang="en-GB" sz="2000" b="1" dirty="0">
                          <a:solidFill>
                            <a:schemeClr val="bg1"/>
                          </a:solidFill>
                        </a:rPr>
                        <a:t>N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pPr algn="l" rtl="0"/>
                      <a:r>
                        <a:rPr lang="en-GB" sz="2000" b="1" dirty="0">
                          <a:solidFill>
                            <a:schemeClr val="bg1"/>
                          </a:solidFill>
                        </a:rPr>
                        <a:t>INTERESADO</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pPr algn="l" rtl="0"/>
                      <a:r>
                        <a:rPr lang="en-GB" sz="2000" b="1" dirty="0">
                          <a:solidFill>
                            <a:schemeClr val="bg1"/>
                          </a:solidFill>
                        </a:rPr>
                        <a:t>INTERES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pPr algn="l" rtl="0"/>
                      <a:r>
                        <a:rPr lang="en-GB" sz="2000" b="1" dirty="0">
                          <a:solidFill>
                            <a:schemeClr val="bg1"/>
                          </a:solidFill>
                        </a:rPr>
                        <a:t>ACTITUD</a:t>
                      </a:r>
                    </a:p>
                  </a:txBody>
                  <a:tcPr vert="vert27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pPr algn="l" rtl="0"/>
                      <a:r>
                        <a:rPr lang="en-GB" sz="2000" b="1" dirty="0">
                          <a:solidFill>
                            <a:schemeClr val="bg1"/>
                          </a:solidFill>
                        </a:rPr>
                        <a:t>INFLUENCIA</a:t>
                      </a:r>
                    </a:p>
                  </a:txBody>
                  <a:tcPr vert="vert27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pPr algn="l" rtl="0"/>
                      <a:r>
                        <a:rPr lang="en-GB" sz="2000" b="1" dirty="0">
                          <a:solidFill>
                            <a:schemeClr val="bg1"/>
                          </a:solidFill>
                        </a:rPr>
                        <a:t>AFECTADO</a:t>
                      </a:r>
                    </a:p>
                  </a:txBody>
                  <a:tcPr vert="vert27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pPr algn="l" rtl="0"/>
                      <a:r>
                        <a:rPr lang="en-GB" sz="2000" b="1" dirty="0">
                          <a:solidFill>
                            <a:schemeClr val="bg1"/>
                          </a:solidFill>
                        </a:rPr>
                        <a:t>OBSERVACION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extLst>
                  <a:ext uri="{0D108BD9-81ED-4DB2-BD59-A6C34878D82A}">
                    <a16:rowId xmlns:a16="http://schemas.microsoft.com/office/drawing/2014/main" val="3158589264"/>
                  </a:ext>
                </a:extLst>
              </a:tr>
              <a:tr h="610925">
                <a:tc>
                  <a:txBody>
                    <a:bodyPr/>
                    <a:lstStyle/>
                    <a:p>
                      <a:pPr algn="l" rtl="0"/>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01821656"/>
                  </a:ext>
                </a:extLst>
              </a:tr>
              <a:tr h="610925">
                <a:tc>
                  <a:txBody>
                    <a:bodyPr/>
                    <a:lstStyle/>
                    <a:p>
                      <a:pPr algn="l" rtl="0"/>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778539"/>
                  </a:ext>
                </a:extLst>
              </a:tr>
            </a:tbl>
          </a:graphicData>
        </a:graphic>
      </p:graphicFrame>
      <p:sp>
        <p:nvSpPr>
          <p:cNvPr id="38" name="Subtitle 2">
            <a:extLst>
              <a:ext uri="{FF2B5EF4-FFF2-40B4-BE49-F238E27FC236}">
                <a16:creationId xmlns:a16="http://schemas.microsoft.com/office/drawing/2014/main" id="{148317C0-8CCC-0387-EFB2-A2C85DC74064}"/>
              </a:ext>
            </a:extLst>
          </p:cNvPr>
          <p:cNvSpPr txBox="1">
            <a:spLocks/>
          </p:cNvSpPr>
          <p:nvPr/>
        </p:nvSpPr>
        <p:spPr>
          <a:xfrm>
            <a:off x="2207768" y="2039998"/>
            <a:ext cx="9466781" cy="65054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2240"/>
              </a:lnSpc>
              <a:spcBef>
                <a:spcPts val="0"/>
              </a:spcBef>
            </a:pPr>
            <a:r>
              <a:rPr lang="en-GB" sz="2200" dirty="0">
                <a:solidFill>
                  <a:srgbClr val="595959"/>
                </a:solidFill>
                <a:latin typeface="+mn-lt"/>
                <a:ea typeface="Open Sans Light" panose="020B0306030504020204" pitchFamily="34" charset="0"/>
                <a:cs typeface="Open Sans Light" panose="020B0306030504020204" pitchFamily="34" charset="0"/>
              </a:rPr>
              <a:t>Es muy útil presentar los resultados del análisis en tablas o gráficos claramente organizados.</a:t>
            </a:r>
          </a:p>
        </p:txBody>
      </p:sp>
    </p:spTree>
    <p:extLst>
      <p:ext uri="{BB962C8B-B14F-4D97-AF65-F5344CB8AC3E}">
        <p14:creationId xmlns:p14="http://schemas.microsoft.com/office/powerpoint/2010/main" val="7872329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a:bodyPr>
          <a:lstStyle/>
          <a:p>
            <a:pPr algn="l" rtl="0"/>
            <a:r>
              <a:rPr lang="en-US" dirty="0"/>
              <a:t>Analisis de los interesados</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a:buNone/>
            </a:pPr>
            <a:r>
              <a:rPr lang="en-US" sz="8000" dirty="0">
                <a:solidFill>
                  <a:schemeClr val="bg1"/>
                </a:solidFill>
              </a:rPr>
              <a:t>02</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grpSp>
        <p:nvGrpSpPr>
          <p:cNvPr id="2" name="Gruppieren 2">
            <a:extLst>
              <a:ext uri="{FF2B5EF4-FFF2-40B4-BE49-F238E27FC236}">
                <a16:creationId xmlns:a16="http://schemas.microsoft.com/office/drawing/2014/main" id="{B84B6A19-E557-85B2-7523-0B6D7C4C64D3}"/>
              </a:ext>
            </a:extLst>
          </p:cNvPr>
          <p:cNvGrpSpPr>
            <a:grpSpLocks noChangeAspect="1"/>
          </p:cNvGrpSpPr>
          <p:nvPr/>
        </p:nvGrpSpPr>
        <p:grpSpPr>
          <a:xfrm>
            <a:off x="2114549" y="1657350"/>
            <a:ext cx="7969059" cy="4389522"/>
            <a:chOff x="1039852" y="364387"/>
            <a:chExt cx="10294883" cy="5670628"/>
          </a:xfrm>
        </p:grpSpPr>
        <p:sp>
          <p:nvSpPr>
            <p:cNvPr id="3" name="Rectangle 3">
              <a:extLst>
                <a:ext uri="{FF2B5EF4-FFF2-40B4-BE49-F238E27FC236}">
                  <a16:creationId xmlns:a16="http://schemas.microsoft.com/office/drawing/2014/main" id="{FF76BBBD-52AC-1969-C818-5E560CA9567B}"/>
                </a:ext>
              </a:extLst>
            </p:cNvPr>
            <p:cNvSpPr/>
            <p:nvPr/>
          </p:nvSpPr>
          <p:spPr>
            <a:xfrm>
              <a:off x="1497051" y="1614050"/>
              <a:ext cx="3276600" cy="1473994"/>
            </a:xfrm>
            <a:prstGeom prst="rect">
              <a:avLst/>
            </a:prstGeom>
            <a:solidFill>
              <a:srgbClr val="EDA13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latin typeface="+mj-lt"/>
              </a:endParaRPr>
            </a:p>
          </p:txBody>
        </p:sp>
        <p:sp>
          <p:nvSpPr>
            <p:cNvPr id="5" name="Rectangle 4">
              <a:extLst>
                <a:ext uri="{FF2B5EF4-FFF2-40B4-BE49-F238E27FC236}">
                  <a16:creationId xmlns:a16="http://schemas.microsoft.com/office/drawing/2014/main" id="{7C776BB0-E289-911C-7A96-73999C2174DD}"/>
                </a:ext>
              </a:extLst>
            </p:cNvPr>
            <p:cNvSpPr/>
            <p:nvPr/>
          </p:nvSpPr>
          <p:spPr>
            <a:xfrm>
              <a:off x="1497051" y="3088044"/>
              <a:ext cx="3276600" cy="1473994"/>
            </a:xfrm>
            <a:prstGeom prst="rect">
              <a:avLst/>
            </a:prstGeom>
            <a:solidFill>
              <a:srgbClr val="EDA13E">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latin typeface="+mj-lt"/>
              </a:endParaRPr>
            </a:p>
          </p:txBody>
        </p:sp>
        <p:sp>
          <p:nvSpPr>
            <p:cNvPr id="6" name="Rectangle 5">
              <a:extLst>
                <a:ext uri="{FF2B5EF4-FFF2-40B4-BE49-F238E27FC236}">
                  <a16:creationId xmlns:a16="http://schemas.microsoft.com/office/drawing/2014/main" id="{D1B6A90F-60DD-70FD-FDF1-25C8009E5C76}"/>
                </a:ext>
              </a:extLst>
            </p:cNvPr>
            <p:cNvSpPr/>
            <p:nvPr/>
          </p:nvSpPr>
          <p:spPr>
            <a:xfrm>
              <a:off x="1039852" y="1621194"/>
              <a:ext cx="456010" cy="146685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solidFill>
                  <a:schemeClr val="bg2"/>
                </a:solidFill>
                <a:latin typeface="+mj-lt"/>
              </a:endParaRPr>
            </a:p>
          </p:txBody>
        </p:sp>
        <p:sp>
          <p:nvSpPr>
            <p:cNvPr id="7" name="Rectangle 6">
              <a:extLst>
                <a:ext uri="{FF2B5EF4-FFF2-40B4-BE49-F238E27FC236}">
                  <a16:creationId xmlns:a16="http://schemas.microsoft.com/office/drawing/2014/main" id="{B5963FA8-C937-08B4-815E-C74057CA258E}"/>
                </a:ext>
              </a:extLst>
            </p:cNvPr>
            <p:cNvSpPr/>
            <p:nvPr/>
          </p:nvSpPr>
          <p:spPr>
            <a:xfrm>
              <a:off x="1039852" y="3088044"/>
              <a:ext cx="456010" cy="1473994"/>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solidFill>
                  <a:schemeClr val="bg2"/>
                </a:solidFill>
                <a:latin typeface="+mj-lt"/>
              </a:endParaRPr>
            </a:p>
          </p:txBody>
        </p:sp>
        <p:sp>
          <p:nvSpPr>
            <p:cNvPr id="8" name="Rectangle 9">
              <a:extLst>
                <a:ext uri="{FF2B5EF4-FFF2-40B4-BE49-F238E27FC236}">
                  <a16:creationId xmlns:a16="http://schemas.microsoft.com/office/drawing/2014/main" id="{4D3EBC05-8548-A83D-2367-F2DEB33E8382}"/>
                </a:ext>
              </a:extLst>
            </p:cNvPr>
            <p:cNvSpPr/>
            <p:nvPr/>
          </p:nvSpPr>
          <p:spPr>
            <a:xfrm>
              <a:off x="4770081" y="1157874"/>
              <a:ext cx="3277790" cy="45617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solidFill>
                  <a:schemeClr val="bg2"/>
                </a:solidFill>
                <a:latin typeface="+mj-lt"/>
              </a:endParaRPr>
            </a:p>
          </p:txBody>
        </p:sp>
        <p:sp>
          <p:nvSpPr>
            <p:cNvPr id="9" name="Rectangle 13">
              <a:extLst>
                <a:ext uri="{FF2B5EF4-FFF2-40B4-BE49-F238E27FC236}">
                  <a16:creationId xmlns:a16="http://schemas.microsoft.com/office/drawing/2014/main" id="{B7AB05E8-5814-C5AA-F522-30A6F93D5AE4}"/>
                </a:ext>
              </a:extLst>
            </p:cNvPr>
            <p:cNvSpPr/>
            <p:nvPr/>
          </p:nvSpPr>
          <p:spPr>
            <a:xfrm>
              <a:off x="4772462" y="3088044"/>
              <a:ext cx="3277790" cy="1473994"/>
            </a:xfrm>
            <a:prstGeom prst="rect">
              <a:avLst/>
            </a:prstGeom>
            <a:solidFill>
              <a:srgbClr val="F16924">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latin typeface="+mj-lt"/>
              </a:endParaRPr>
            </a:p>
          </p:txBody>
        </p:sp>
        <p:sp>
          <p:nvSpPr>
            <p:cNvPr id="10" name="Rectangle 14">
              <a:extLst>
                <a:ext uri="{FF2B5EF4-FFF2-40B4-BE49-F238E27FC236}">
                  <a16:creationId xmlns:a16="http://schemas.microsoft.com/office/drawing/2014/main" id="{84BE1FBB-299B-9102-979F-B9ECA06005B5}"/>
                </a:ext>
              </a:extLst>
            </p:cNvPr>
            <p:cNvSpPr/>
            <p:nvPr/>
          </p:nvSpPr>
          <p:spPr>
            <a:xfrm>
              <a:off x="4772462" y="1617622"/>
              <a:ext cx="3277790" cy="1470423"/>
            </a:xfrm>
            <a:prstGeom prst="rect">
              <a:avLst/>
            </a:prstGeom>
            <a:solidFill>
              <a:srgbClr val="F1692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latin typeface="+mj-lt"/>
              </a:endParaRPr>
            </a:p>
          </p:txBody>
        </p:sp>
        <p:sp>
          <p:nvSpPr>
            <p:cNvPr id="11" name="Rectangle 21">
              <a:extLst>
                <a:ext uri="{FF2B5EF4-FFF2-40B4-BE49-F238E27FC236}">
                  <a16:creationId xmlns:a16="http://schemas.microsoft.com/office/drawing/2014/main" id="{0169206D-79CF-807C-96C9-B1D6A1550E64}"/>
                </a:ext>
              </a:extLst>
            </p:cNvPr>
            <p:cNvSpPr/>
            <p:nvPr/>
          </p:nvSpPr>
          <p:spPr>
            <a:xfrm>
              <a:off x="1496456" y="1157874"/>
              <a:ext cx="3277790" cy="456176"/>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solidFill>
                  <a:schemeClr val="bg2"/>
                </a:solidFill>
                <a:latin typeface="+mj-lt"/>
              </a:endParaRPr>
            </a:p>
          </p:txBody>
        </p:sp>
        <p:sp>
          <p:nvSpPr>
            <p:cNvPr id="15" name="TextBox 22">
              <a:extLst>
                <a:ext uri="{FF2B5EF4-FFF2-40B4-BE49-F238E27FC236}">
                  <a16:creationId xmlns:a16="http://schemas.microsoft.com/office/drawing/2014/main" id="{E7F81C39-89B0-D905-E167-CE15C4A92680}"/>
                </a:ext>
              </a:extLst>
            </p:cNvPr>
            <p:cNvSpPr txBox="1"/>
            <p:nvPr/>
          </p:nvSpPr>
          <p:spPr>
            <a:xfrm>
              <a:off x="2751823" y="1168049"/>
              <a:ext cx="762901" cy="437363"/>
            </a:xfrm>
            <a:prstGeom prst="rect">
              <a:avLst/>
            </a:prstGeom>
            <a:noFill/>
          </p:spPr>
          <p:txBody>
            <a:bodyPr wrap="none" rtlCol="0" anchor="ctr" anchorCtr="0">
              <a:spAutoFit/>
            </a:bodyPr>
            <a:lstStyle/>
            <a:p>
              <a:pPr algn="ctr" rtl="0"/>
              <a:r>
                <a:rPr lang="en-GB" sz="1600" b="1" dirty="0">
                  <a:solidFill>
                    <a:schemeClr val="bg1"/>
                  </a:solidFill>
                  <a:latin typeface="Calibri" panose="020F0502020204030204" pitchFamily="34" charset="0"/>
                  <a:ea typeface="League Spartan" charset="0"/>
                  <a:cs typeface="Calibri" panose="020F0502020204030204" pitchFamily="34" charset="0"/>
                </a:rPr>
                <a:t>BAJO</a:t>
              </a:r>
            </a:p>
          </p:txBody>
        </p:sp>
        <p:sp>
          <p:nvSpPr>
            <p:cNvPr id="16" name="TextBox 23">
              <a:extLst>
                <a:ext uri="{FF2B5EF4-FFF2-40B4-BE49-F238E27FC236}">
                  <a16:creationId xmlns:a16="http://schemas.microsoft.com/office/drawing/2014/main" id="{A4DA108F-229F-6F97-1047-46FCE9C3D3C3}"/>
                </a:ext>
              </a:extLst>
            </p:cNvPr>
            <p:cNvSpPr txBox="1"/>
            <p:nvPr/>
          </p:nvSpPr>
          <p:spPr>
            <a:xfrm>
              <a:off x="5852763" y="1168049"/>
              <a:ext cx="1116602" cy="437363"/>
            </a:xfrm>
            <a:prstGeom prst="rect">
              <a:avLst/>
            </a:prstGeom>
            <a:noFill/>
          </p:spPr>
          <p:txBody>
            <a:bodyPr wrap="none" rtlCol="0" anchor="ctr" anchorCtr="0">
              <a:spAutoFit/>
            </a:bodyPr>
            <a:lstStyle/>
            <a:p>
              <a:pPr algn="ctr" rtl="0"/>
              <a:r>
                <a:rPr lang="en-GB" sz="1600" b="1" dirty="0">
                  <a:solidFill>
                    <a:schemeClr val="bg1"/>
                  </a:solidFill>
                  <a:latin typeface="Calibri" panose="020F0502020204030204" pitchFamily="34" charset="0"/>
                  <a:ea typeface="League Spartan" charset="0"/>
                  <a:cs typeface="Calibri" panose="020F0502020204030204" pitchFamily="34" charset="0"/>
                </a:rPr>
                <a:t>MEDIO</a:t>
              </a:r>
            </a:p>
          </p:txBody>
        </p:sp>
        <p:sp>
          <p:nvSpPr>
            <p:cNvPr id="17" name="TextBox 24">
              <a:extLst>
                <a:ext uri="{FF2B5EF4-FFF2-40B4-BE49-F238E27FC236}">
                  <a16:creationId xmlns:a16="http://schemas.microsoft.com/office/drawing/2014/main" id="{52431E5D-A801-A910-0AAD-D691B0B40E7A}"/>
                </a:ext>
              </a:extLst>
            </p:cNvPr>
            <p:cNvSpPr txBox="1"/>
            <p:nvPr/>
          </p:nvSpPr>
          <p:spPr>
            <a:xfrm rot="16200000">
              <a:off x="860730" y="2135939"/>
              <a:ext cx="814258" cy="437363"/>
            </a:xfrm>
            <a:prstGeom prst="rect">
              <a:avLst/>
            </a:prstGeom>
            <a:noFill/>
          </p:spPr>
          <p:txBody>
            <a:bodyPr wrap="none" rtlCol="0" anchor="ctr" anchorCtr="0">
              <a:spAutoFit/>
            </a:bodyPr>
            <a:lstStyle/>
            <a:p>
              <a:pPr algn="ctr" rtl="0"/>
              <a:r>
                <a:rPr lang="en-GB" sz="1600" b="1" dirty="0">
                  <a:solidFill>
                    <a:schemeClr val="bg1"/>
                  </a:solidFill>
                  <a:latin typeface="Calibri" panose="020F0502020204030204" pitchFamily="34" charset="0"/>
                  <a:ea typeface="League Spartan" charset="0"/>
                  <a:cs typeface="Calibri" panose="020F0502020204030204" pitchFamily="34" charset="0"/>
                </a:rPr>
                <a:t>ALTO</a:t>
              </a:r>
            </a:p>
          </p:txBody>
        </p:sp>
        <p:sp>
          <p:nvSpPr>
            <p:cNvPr id="18" name="TextBox 25">
              <a:extLst>
                <a:ext uri="{FF2B5EF4-FFF2-40B4-BE49-F238E27FC236}">
                  <a16:creationId xmlns:a16="http://schemas.microsoft.com/office/drawing/2014/main" id="{1277B6A4-1CBA-4D04-2626-8429A55C519A}"/>
                </a:ext>
              </a:extLst>
            </p:cNvPr>
            <p:cNvSpPr txBox="1"/>
            <p:nvPr/>
          </p:nvSpPr>
          <p:spPr>
            <a:xfrm rot="16200000">
              <a:off x="534435" y="3601770"/>
              <a:ext cx="1466852" cy="437363"/>
            </a:xfrm>
            <a:prstGeom prst="rect">
              <a:avLst/>
            </a:prstGeom>
            <a:solidFill>
              <a:srgbClr val="F16924"/>
            </a:solidFill>
          </p:spPr>
          <p:txBody>
            <a:bodyPr wrap="square" rtlCol="0" anchor="ctr" anchorCtr="0">
              <a:spAutoFit/>
            </a:bodyPr>
            <a:lstStyle/>
            <a:p>
              <a:pPr algn="ctr" rtl="0"/>
              <a:r>
                <a:rPr lang="en-GB" sz="1600" b="1" dirty="0">
                  <a:solidFill>
                    <a:schemeClr val="bg1"/>
                  </a:solidFill>
                  <a:latin typeface="Calibri" panose="020F0502020204030204" pitchFamily="34" charset="0"/>
                  <a:ea typeface="League Spartan" charset="0"/>
                  <a:cs typeface="Calibri" panose="020F0502020204030204" pitchFamily="34" charset="0"/>
                </a:rPr>
                <a:t>MEDIO</a:t>
              </a:r>
            </a:p>
          </p:txBody>
        </p:sp>
        <p:sp>
          <p:nvSpPr>
            <p:cNvPr id="19" name="Rectangle 9">
              <a:extLst>
                <a:ext uri="{FF2B5EF4-FFF2-40B4-BE49-F238E27FC236}">
                  <a16:creationId xmlns:a16="http://schemas.microsoft.com/office/drawing/2014/main" id="{92FC1BDE-D632-B43F-95F7-E0F7912E0143}"/>
                </a:ext>
              </a:extLst>
            </p:cNvPr>
            <p:cNvSpPr/>
            <p:nvPr/>
          </p:nvSpPr>
          <p:spPr>
            <a:xfrm>
              <a:off x="8054564" y="1157874"/>
              <a:ext cx="3277790" cy="45617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solidFill>
                  <a:schemeClr val="bg2"/>
                </a:solidFill>
                <a:latin typeface="+mj-lt"/>
              </a:endParaRPr>
            </a:p>
          </p:txBody>
        </p:sp>
        <p:sp>
          <p:nvSpPr>
            <p:cNvPr id="20" name="Rectangle 13">
              <a:extLst>
                <a:ext uri="{FF2B5EF4-FFF2-40B4-BE49-F238E27FC236}">
                  <a16:creationId xmlns:a16="http://schemas.microsoft.com/office/drawing/2014/main" id="{9A75FE68-2A1D-2229-BE2F-BD59BEA770BA}"/>
                </a:ext>
              </a:extLst>
            </p:cNvPr>
            <p:cNvSpPr/>
            <p:nvPr/>
          </p:nvSpPr>
          <p:spPr>
            <a:xfrm>
              <a:off x="8056945" y="3088044"/>
              <a:ext cx="3277790" cy="1473994"/>
            </a:xfrm>
            <a:prstGeom prst="rect">
              <a:avLst/>
            </a:prstGeom>
            <a:solidFill>
              <a:srgbClr val="B41F7A">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latin typeface="+mj-lt"/>
              </a:endParaRPr>
            </a:p>
          </p:txBody>
        </p:sp>
        <p:sp>
          <p:nvSpPr>
            <p:cNvPr id="21" name="Rectangle 14">
              <a:extLst>
                <a:ext uri="{FF2B5EF4-FFF2-40B4-BE49-F238E27FC236}">
                  <a16:creationId xmlns:a16="http://schemas.microsoft.com/office/drawing/2014/main" id="{4904D132-D524-5FD5-B916-9F1C43F9FAE8}"/>
                </a:ext>
              </a:extLst>
            </p:cNvPr>
            <p:cNvSpPr/>
            <p:nvPr/>
          </p:nvSpPr>
          <p:spPr>
            <a:xfrm>
              <a:off x="8056945" y="1617622"/>
              <a:ext cx="3277790" cy="1470423"/>
            </a:xfrm>
            <a:prstGeom prst="rect">
              <a:avLst/>
            </a:prstGeom>
            <a:solidFill>
              <a:srgbClr val="B41F7A">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latin typeface="+mj-lt"/>
              </a:endParaRPr>
            </a:p>
          </p:txBody>
        </p:sp>
        <p:sp>
          <p:nvSpPr>
            <p:cNvPr id="22" name="TextBox 23">
              <a:extLst>
                <a:ext uri="{FF2B5EF4-FFF2-40B4-BE49-F238E27FC236}">
                  <a16:creationId xmlns:a16="http://schemas.microsoft.com/office/drawing/2014/main" id="{09750FCC-3B6A-079D-C3B5-6DB5BD6ED352}"/>
                </a:ext>
              </a:extLst>
            </p:cNvPr>
            <p:cNvSpPr txBox="1"/>
            <p:nvPr/>
          </p:nvSpPr>
          <p:spPr>
            <a:xfrm>
              <a:off x="9288417" y="1168049"/>
              <a:ext cx="814259" cy="437363"/>
            </a:xfrm>
            <a:prstGeom prst="rect">
              <a:avLst/>
            </a:prstGeom>
            <a:noFill/>
          </p:spPr>
          <p:txBody>
            <a:bodyPr wrap="none" rtlCol="0" anchor="ctr" anchorCtr="0">
              <a:spAutoFit/>
            </a:bodyPr>
            <a:lstStyle/>
            <a:p>
              <a:pPr algn="ctr" rtl="0"/>
              <a:r>
                <a:rPr lang="en-GB" sz="1600" b="1" dirty="0">
                  <a:solidFill>
                    <a:schemeClr val="bg1"/>
                  </a:solidFill>
                  <a:latin typeface="Calibri" panose="020F0502020204030204" pitchFamily="34" charset="0"/>
                  <a:ea typeface="League Spartan" charset="0"/>
                  <a:cs typeface="Calibri" panose="020F0502020204030204" pitchFamily="34" charset="0"/>
                </a:rPr>
                <a:t>ALTO</a:t>
              </a:r>
            </a:p>
          </p:txBody>
        </p:sp>
        <p:sp>
          <p:nvSpPr>
            <p:cNvPr id="23" name="Rectangle 4">
              <a:extLst>
                <a:ext uri="{FF2B5EF4-FFF2-40B4-BE49-F238E27FC236}">
                  <a16:creationId xmlns:a16="http://schemas.microsoft.com/office/drawing/2014/main" id="{C8DC8D7B-0304-4FB8-0D7E-C18083970CEE}"/>
                </a:ext>
              </a:extLst>
            </p:cNvPr>
            <p:cNvSpPr/>
            <p:nvPr/>
          </p:nvSpPr>
          <p:spPr>
            <a:xfrm>
              <a:off x="1495862" y="4561021"/>
              <a:ext cx="3276600" cy="1473994"/>
            </a:xfrm>
            <a:prstGeom prst="rect">
              <a:avLst/>
            </a:prstGeom>
            <a:solidFill>
              <a:srgbClr val="EDA13E">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latin typeface="+mj-lt"/>
              </a:endParaRPr>
            </a:p>
          </p:txBody>
        </p:sp>
        <p:sp>
          <p:nvSpPr>
            <p:cNvPr id="24" name="Rectangle 6">
              <a:extLst>
                <a:ext uri="{FF2B5EF4-FFF2-40B4-BE49-F238E27FC236}">
                  <a16:creationId xmlns:a16="http://schemas.microsoft.com/office/drawing/2014/main" id="{BE637F43-1E9B-A87C-34ED-0E5E6A022059}"/>
                </a:ext>
              </a:extLst>
            </p:cNvPr>
            <p:cNvSpPr/>
            <p:nvPr/>
          </p:nvSpPr>
          <p:spPr>
            <a:xfrm>
              <a:off x="1049177" y="4561021"/>
              <a:ext cx="445496" cy="1473994"/>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solidFill>
                  <a:schemeClr val="bg2"/>
                </a:solidFill>
                <a:latin typeface="+mj-lt"/>
              </a:endParaRPr>
            </a:p>
          </p:txBody>
        </p:sp>
        <p:sp>
          <p:nvSpPr>
            <p:cNvPr id="25" name="Rectangle 13">
              <a:extLst>
                <a:ext uri="{FF2B5EF4-FFF2-40B4-BE49-F238E27FC236}">
                  <a16:creationId xmlns:a16="http://schemas.microsoft.com/office/drawing/2014/main" id="{4A888BF2-C099-2B30-79A2-65F0963B3507}"/>
                </a:ext>
              </a:extLst>
            </p:cNvPr>
            <p:cNvSpPr/>
            <p:nvPr/>
          </p:nvSpPr>
          <p:spPr>
            <a:xfrm>
              <a:off x="4771273" y="4561021"/>
              <a:ext cx="3277790" cy="1473994"/>
            </a:xfrm>
            <a:prstGeom prst="rect">
              <a:avLst/>
            </a:prstGeom>
            <a:solidFill>
              <a:srgbClr val="F16924">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latin typeface="+mj-lt"/>
              </a:endParaRPr>
            </a:p>
          </p:txBody>
        </p:sp>
        <p:sp>
          <p:nvSpPr>
            <p:cNvPr id="26" name="TextBox 25">
              <a:extLst>
                <a:ext uri="{FF2B5EF4-FFF2-40B4-BE49-F238E27FC236}">
                  <a16:creationId xmlns:a16="http://schemas.microsoft.com/office/drawing/2014/main" id="{C0708345-76C7-488A-C2B7-7077FCE1CE48}"/>
                </a:ext>
              </a:extLst>
            </p:cNvPr>
            <p:cNvSpPr txBox="1"/>
            <p:nvPr/>
          </p:nvSpPr>
          <p:spPr>
            <a:xfrm rot="16200000">
              <a:off x="885221" y="5079338"/>
              <a:ext cx="762900" cy="437363"/>
            </a:xfrm>
            <a:prstGeom prst="rect">
              <a:avLst/>
            </a:prstGeom>
            <a:noFill/>
          </p:spPr>
          <p:txBody>
            <a:bodyPr wrap="none" rtlCol="0" anchor="ctr" anchorCtr="0">
              <a:spAutoFit/>
            </a:bodyPr>
            <a:lstStyle/>
            <a:p>
              <a:pPr algn="ctr" rtl="0"/>
              <a:r>
                <a:rPr lang="en-GB" sz="1600" b="1" dirty="0">
                  <a:solidFill>
                    <a:schemeClr val="bg1"/>
                  </a:solidFill>
                  <a:latin typeface="Calibri" panose="020F0502020204030204" pitchFamily="34" charset="0"/>
                  <a:ea typeface="League Spartan" charset="0"/>
                  <a:cs typeface="Calibri" panose="020F0502020204030204" pitchFamily="34" charset="0"/>
                </a:rPr>
                <a:t>BAJO</a:t>
              </a:r>
            </a:p>
          </p:txBody>
        </p:sp>
        <p:sp>
          <p:nvSpPr>
            <p:cNvPr id="27" name="Rectangle 13">
              <a:extLst>
                <a:ext uri="{FF2B5EF4-FFF2-40B4-BE49-F238E27FC236}">
                  <a16:creationId xmlns:a16="http://schemas.microsoft.com/office/drawing/2014/main" id="{C90DFC19-4879-E48E-688C-91BBC63720BA}"/>
                </a:ext>
              </a:extLst>
            </p:cNvPr>
            <p:cNvSpPr/>
            <p:nvPr/>
          </p:nvSpPr>
          <p:spPr>
            <a:xfrm>
              <a:off x="8055756" y="4561021"/>
              <a:ext cx="3277790" cy="1473994"/>
            </a:xfrm>
            <a:prstGeom prst="rect">
              <a:avLst/>
            </a:prstGeom>
            <a:solidFill>
              <a:srgbClr val="B41F7A">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latin typeface="+mj-lt"/>
              </a:endParaRPr>
            </a:p>
          </p:txBody>
        </p:sp>
        <p:sp>
          <p:nvSpPr>
            <p:cNvPr id="28" name="TextBox 35">
              <a:extLst>
                <a:ext uri="{FF2B5EF4-FFF2-40B4-BE49-F238E27FC236}">
                  <a16:creationId xmlns:a16="http://schemas.microsoft.com/office/drawing/2014/main" id="{71A2F8C7-436A-F4CF-15D0-E38CC729762A}"/>
                </a:ext>
              </a:extLst>
            </p:cNvPr>
            <p:cNvSpPr txBox="1"/>
            <p:nvPr/>
          </p:nvSpPr>
          <p:spPr>
            <a:xfrm>
              <a:off x="5415476" y="364387"/>
              <a:ext cx="1987002" cy="707011"/>
            </a:xfrm>
            <a:prstGeom prst="rect">
              <a:avLst/>
            </a:prstGeom>
            <a:noFill/>
          </p:spPr>
          <p:txBody>
            <a:bodyPr wrap="none" rtlCol="0" anchor="b" anchorCtr="0">
              <a:spAutoFit/>
            </a:bodyPr>
            <a:lstStyle/>
            <a:p>
              <a:pPr algn="ctr" rtl="0"/>
              <a:r>
                <a:rPr lang="en-GB" sz="1600" b="1" dirty="0">
                  <a:solidFill>
                    <a:schemeClr val="tx2"/>
                  </a:solidFill>
                  <a:latin typeface="+mj-lt"/>
                  <a:ea typeface="League Spartan" charset="0"/>
                  <a:cs typeface="Poppins" pitchFamily="2" charset="77"/>
                </a:rPr>
                <a:t>Influencia</a:t>
              </a:r>
            </a:p>
          </p:txBody>
        </p:sp>
        <p:sp>
          <p:nvSpPr>
            <p:cNvPr id="30" name="Ellipse 48">
              <a:extLst>
                <a:ext uri="{FF2B5EF4-FFF2-40B4-BE49-F238E27FC236}">
                  <a16:creationId xmlns:a16="http://schemas.microsoft.com/office/drawing/2014/main" id="{0F972305-6E0F-7C04-5E21-E55B1BAB6F9B}"/>
                </a:ext>
              </a:extLst>
            </p:cNvPr>
            <p:cNvSpPr/>
            <p:nvPr/>
          </p:nvSpPr>
          <p:spPr>
            <a:xfrm>
              <a:off x="2458071" y="1880526"/>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GB" sz="2000" dirty="0"/>
                <a:t>S1</a:t>
              </a:r>
            </a:p>
          </p:txBody>
        </p:sp>
        <p:sp>
          <p:nvSpPr>
            <p:cNvPr id="31" name="Ellipse 50">
              <a:extLst>
                <a:ext uri="{FF2B5EF4-FFF2-40B4-BE49-F238E27FC236}">
                  <a16:creationId xmlns:a16="http://schemas.microsoft.com/office/drawing/2014/main" id="{9F6A6E24-B86E-3999-D7A7-7548A771B4DE}"/>
                </a:ext>
              </a:extLst>
            </p:cNvPr>
            <p:cNvSpPr/>
            <p:nvPr/>
          </p:nvSpPr>
          <p:spPr>
            <a:xfrm>
              <a:off x="2857191" y="3296479"/>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GB" sz="2000" dirty="0"/>
                <a:t>S2</a:t>
              </a:r>
            </a:p>
          </p:txBody>
        </p:sp>
        <p:sp>
          <p:nvSpPr>
            <p:cNvPr id="32" name="Ellipse 51">
              <a:extLst>
                <a:ext uri="{FF2B5EF4-FFF2-40B4-BE49-F238E27FC236}">
                  <a16:creationId xmlns:a16="http://schemas.microsoft.com/office/drawing/2014/main" id="{443CB680-287B-E0BB-4AEF-1400D50C79C2}"/>
                </a:ext>
              </a:extLst>
            </p:cNvPr>
            <p:cNvSpPr/>
            <p:nvPr/>
          </p:nvSpPr>
          <p:spPr>
            <a:xfrm>
              <a:off x="4555406" y="2222500"/>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GB" sz="2000" dirty="0"/>
                <a:t>S3</a:t>
              </a:r>
            </a:p>
          </p:txBody>
        </p:sp>
        <p:sp>
          <p:nvSpPr>
            <p:cNvPr id="33" name="Ellipse 55">
              <a:extLst>
                <a:ext uri="{FF2B5EF4-FFF2-40B4-BE49-F238E27FC236}">
                  <a16:creationId xmlns:a16="http://schemas.microsoft.com/office/drawing/2014/main" id="{138A8805-7E68-4532-0A60-C757B877C7F4}"/>
                </a:ext>
              </a:extLst>
            </p:cNvPr>
            <p:cNvSpPr/>
            <p:nvPr/>
          </p:nvSpPr>
          <p:spPr>
            <a:xfrm>
              <a:off x="9997379" y="1654268"/>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GB" sz="2000" dirty="0"/>
                <a:t>S7</a:t>
              </a:r>
            </a:p>
          </p:txBody>
        </p:sp>
        <p:sp>
          <p:nvSpPr>
            <p:cNvPr id="34" name="Ellipse 56">
              <a:extLst>
                <a:ext uri="{FF2B5EF4-FFF2-40B4-BE49-F238E27FC236}">
                  <a16:creationId xmlns:a16="http://schemas.microsoft.com/office/drawing/2014/main" id="{364D2B65-F10D-1C2A-EE75-8AB016EEE02F}"/>
                </a:ext>
              </a:extLst>
            </p:cNvPr>
            <p:cNvSpPr/>
            <p:nvPr/>
          </p:nvSpPr>
          <p:spPr>
            <a:xfrm>
              <a:off x="8516115" y="1691044"/>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GB" sz="2000" dirty="0"/>
                <a:t>S6</a:t>
              </a:r>
            </a:p>
          </p:txBody>
        </p:sp>
        <p:sp>
          <p:nvSpPr>
            <p:cNvPr id="35" name="Ellipse 57">
              <a:extLst>
                <a:ext uri="{FF2B5EF4-FFF2-40B4-BE49-F238E27FC236}">
                  <a16:creationId xmlns:a16="http://schemas.microsoft.com/office/drawing/2014/main" id="{8BA2D033-B878-E5E8-E44F-31C70CE34214}"/>
                </a:ext>
              </a:extLst>
            </p:cNvPr>
            <p:cNvSpPr/>
            <p:nvPr/>
          </p:nvSpPr>
          <p:spPr>
            <a:xfrm>
              <a:off x="8207282" y="4695276"/>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GB" sz="2000" dirty="0"/>
                <a:t>S5</a:t>
              </a:r>
            </a:p>
          </p:txBody>
        </p:sp>
        <p:sp>
          <p:nvSpPr>
            <p:cNvPr id="36" name="Ellipse 58">
              <a:extLst>
                <a:ext uri="{FF2B5EF4-FFF2-40B4-BE49-F238E27FC236}">
                  <a16:creationId xmlns:a16="http://schemas.microsoft.com/office/drawing/2014/main" id="{44B19787-1580-8021-6DD1-870D10E09E26}"/>
                </a:ext>
              </a:extLst>
            </p:cNvPr>
            <p:cNvSpPr/>
            <p:nvPr/>
          </p:nvSpPr>
          <p:spPr>
            <a:xfrm>
              <a:off x="5845199" y="4637128"/>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GB" sz="2000" dirty="0"/>
                <a:t>S4</a:t>
              </a:r>
            </a:p>
          </p:txBody>
        </p:sp>
      </p:grpSp>
    </p:spTree>
    <p:extLst>
      <p:ext uri="{BB962C8B-B14F-4D97-AF65-F5344CB8AC3E}">
        <p14:creationId xmlns:p14="http://schemas.microsoft.com/office/powerpoint/2010/main" val="31968614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29BCBB0-2531-B07C-F79F-E806EA32F80C}"/>
              </a:ext>
            </a:extLst>
          </p:cNvPr>
          <p:cNvSpPr>
            <a:spLocks noGrp="1"/>
          </p:cNvSpPr>
          <p:nvPr>
            <p:ph type="body" sz="quarter" idx="18"/>
          </p:nvPr>
        </p:nvSpPr>
        <p:spPr>
          <a:xfrm>
            <a:off x="2243138" y="2114549"/>
            <a:ext cx="9201150" cy="4614864"/>
          </a:xfrm>
        </p:spPr>
        <p:txBody>
          <a:bodyPr>
            <a:normAutofit/>
          </a:bodyPr>
          <a:lstStyle/>
          <a:p>
            <a:pPr marL="12700" indent="-12700" algn="l" rtl="0"/>
            <a:r>
              <a:rPr lang="en-US" dirty="0"/>
              <a:t>En este tercer paso, es importante definir las medidas adecuadas para fortalecer la actitud positiva de las partes interesadas y reducir la influencia de las partes interesadas negativas y poderosas.</a:t>
            </a:r>
          </a:p>
          <a:p>
            <a:pPr marL="12700" indent="-12700" algn="l" rtl="0"/>
            <a:endParaRPr lang="en-US" dirty="0"/>
          </a:p>
          <a:p>
            <a:pPr marL="12700" indent="-12700" algn="l" rtl="0"/>
            <a:r>
              <a:rPr lang="en-US" b="1" dirty="0">
                <a:solidFill>
                  <a:srgbClr val="F16924"/>
                </a:solidFill>
              </a:rPr>
              <a:t>La pregunta clave es:</a:t>
            </a:r>
          </a:p>
          <a:p>
            <a:pPr marL="342900" indent="-342900" algn="l" rtl="0">
              <a:buClr>
                <a:srgbClr val="F16924"/>
              </a:buClr>
              <a:buFont typeface="Arial" panose="020B0604020202020204" pitchFamily="34" charset="0"/>
              <a:buChar char="•"/>
            </a:pPr>
            <a:r>
              <a:rPr lang="en-US" dirty="0"/>
              <a:t>¿Quién necesita estar informado sobre qué, cómo y cuándo para controlar las influencias de las partes interesadas en el interés de la empresa?</a:t>
            </a:r>
          </a:p>
          <a:p>
            <a:pPr marL="12700" indent="-12700" algn="l" rtl="0"/>
            <a:endParaRPr lang="en-US" dirty="0"/>
          </a:p>
          <a:p>
            <a:pPr marL="12700" indent="-12700" algn="l" rtl="0"/>
            <a:r>
              <a:rPr lang="en-US" dirty="0"/>
              <a:t>Con mucho, la mayor parte de la gestión de las partes interesadas comprende las actividades de comunicación. Defina estas medidas en forma de un plan de comunicación (más adelante).</a:t>
            </a:r>
          </a:p>
        </p:txBody>
      </p:sp>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a:bodyPr>
          <a:lstStyle/>
          <a:p>
            <a:pPr algn="l" rtl="0"/>
            <a:r>
              <a:rPr lang="en-US" dirty="0"/>
              <a:t>Medidas y Plan de Acción</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a:buNone/>
            </a:pPr>
            <a:r>
              <a:rPr lang="en-US" sz="8000" dirty="0">
                <a:solidFill>
                  <a:schemeClr val="bg1"/>
                </a:solidFill>
              </a:rPr>
              <a:t>03</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Tree>
    <p:extLst>
      <p:ext uri="{BB962C8B-B14F-4D97-AF65-F5344CB8AC3E}">
        <p14:creationId xmlns:p14="http://schemas.microsoft.com/office/powerpoint/2010/main" val="4385163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a:bodyPr>
          <a:lstStyle/>
          <a:p>
            <a:pPr algn="l" rtl="0"/>
            <a:r>
              <a:rPr lang="en-US" dirty="0"/>
              <a:t>Medidas y Plan de Acción</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a:buNone/>
            </a:pPr>
            <a:r>
              <a:rPr lang="en-US" sz="8000" dirty="0">
                <a:solidFill>
                  <a:schemeClr val="bg1"/>
                </a:solidFill>
              </a:rPr>
              <a:t>03</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graphicFrame>
        <p:nvGraphicFramePr>
          <p:cNvPr id="4" name="Tabelle 5">
            <a:extLst>
              <a:ext uri="{FF2B5EF4-FFF2-40B4-BE49-F238E27FC236}">
                <a16:creationId xmlns:a16="http://schemas.microsoft.com/office/drawing/2014/main" id="{FB2ED6F4-0365-7C4F-D93E-E5BAF8A3C01D}"/>
              </a:ext>
            </a:extLst>
          </p:cNvPr>
          <p:cNvGraphicFramePr>
            <a:graphicFrameLocks noGrp="1"/>
          </p:cNvGraphicFramePr>
          <p:nvPr>
            <p:extLst>
              <p:ext uri="{D42A27DB-BD31-4B8C-83A1-F6EECF244321}">
                <p14:modId xmlns:p14="http://schemas.microsoft.com/office/powerpoint/2010/main" val="3512793809"/>
              </p:ext>
            </p:extLst>
          </p:nvPr>
        </p:nvGraphicFramePr>
        <p:xfrm>
          <a:off x="2250951" y="2342958"/>
          <a:ext cx="9464799" cy="3437632"/>
        </p:xfrm>
        <a:graphic>
          <a:graphicData uri="http://schemas.openxmlformats.org/drawingml/2006/table">
            <a:tbl>
              <a:tblPr firstRow="1" bandRow="1">
                <a:tableStyleId>{7DF18680-E054-41AD-8BC1-D1AEF772440D}</a:tableStyleId>
              </a:tblPr>
              <a:tblGrid>
                <a:gridCol w="818365">
                  <a:extLst>
                    <a:ext uri="{9D8B030D-6E8A-4147-A177-3AD203B41FA5}">
                      <a16:colId xmlns:a16="http://schemas.microsoft.com/office/drawing/2014/main" val="2661440363"/>
                    </a:ext>
                  </a:extLst>
                </a:gridCol>
                <a:gridCol w="2038087">
                  <a:extLst>
                    <a:ext uri="{9D8B030D-6E8A-4147-A177-3AD203B41FA5}">
                      <a16:colId xmlns:a16="http://schemas.microsoft.com/office/drawing/2014/main" val="1978240280"/>
                    </a:ext>
                  </a:extLst>
                </a:gridCol>
                <a:gridCol w="2202782">
                  <a:extLst>
                    <a:ext uri="{9D8B030D-6E8A-4147-A177-3AD203B41FA5}">
                      <a16:colId xmlns:a16="http://schemas.microsoft.com/office/drawing/2014/main" val="2176638843"/>
                    </a:ext>
                  </a:extLst>
                </a:gridCol>
                <a:gridCol w="1502832">
                  <a:extLst>
                    <a:ext uri="{9D8B030D-6E8A-4147-A177-3AD203B41FA5}">
                      <a16:colId xmlns:a16="http://schemas.microsoft.com/office/drawing/2014/main" val="3557672987"/>
                    </a:ext>
                  </a:extLst>
                </a:gridCol>
                <a:gridCol w="1288899">
                  <a:extLst>
                    <a:ext uri="{9D8B030D-6E8A-4147-A177-3AD203B41FA5}">
                      <a16:colId xmlns:a16="http://schemas.microsoft.com/office/drawing/2014/main" val="3210480281"/>
                    </a:ext>
                  </a:extLst>
                </a:gridCol>
                <a:gridCol w="1613834">
                  <a:extLst>
                    <a:ext uri="{9D8B030D-6E8A-4147-A177-3AD203B41FA5}">
                      <a16:colId xmlns:a16="http://schemas.microsoft.com/office/drawing/2014/main" val="863477730"/>
                    </a:ext>
                  </a:extLst>
                </a:gridCol>
              </a:tblGrid>
              <a:tr h="1011068">
                <a:tc>
                  <a:txBody>
                    <a:bodyPr/>
                    <a:lstStyle/>
                    <a:p>
                      <a:pPr algn="l" rtl="0"/>
                      <a:r>
                        <a:rPr lang="en-GB" sz="2000" dirty="0"/>
                        <a:t>NR.</a:t>
                      </a:r>
                      <a:endParaRPr lang="en-GB" sz="2000"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pPr algn="l" rtl="0"/>
                      <a:r>
                        <a:rPr lang="en-GB" sz="2000" dirty="0"/>
                        <a:t>INTERESADO</a:t>
                      </a:r>
                      <a:endParaRPr lang="en-GB" sz="2000"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pPr algn="l" rtl="0"/>
                      <a:r>
                        <a:rPr lang="en-GB" sz="2000" dirty="0"/>
                        <a:t>¿QUIÉN ES RESPONSABLE?</a:t>
                      </a:r>
                      <a:endParaRPr lang="en-GB" sz="2000"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pPr algn="l" rtl="0"/>
                      <a:r>
                        <a:rPr lang="en-GB" sz="2000" dirty="0"/>
                        <a:t>¿CUÁNDO?</a:t>
                      </a:r>
                      <a:endParaRPr lang="en-GB" sz="2000"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pPr algn="l" rtl="0"/>
                      <a:r>
                        <a:rPr lang="en-GB" sz="2000" dirty="0"/>
                        <a:t>FORMA</a:t>
                      </a:r>
                      <a:endParaRPr lang="en-GB" sz="2000"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pPr algn="l" rtl="0"/>
                      <a:r>
                        <a:rPr lang="en-GB" sz="2000" dirty="0"/>
                        <a:t>CONTENIDO</a:t>
                      </a:r>
                      <a:endParaRPr lang="en-GB" sz="2000"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extLst>
                  <a:ext uri="{0D108BD9-81ED-4DB2-BD59-A6C34878D82A}">
                    <a16:rowId xmlns:a16="http://schemas.microsoft.com/office/drawing/2014/main" val="3158589264"/>
                  </a:ext>
                </a:extLst>
              </a:tr>
              <a:tr h="606641">
                <a:tc>
                  <a:txBody>
                    <a:bodyPr/>
                    <a:lstStyle/>
                    <a:p>
                      <a:pPr algn="l" rtl="0"/>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01821656"/>
                  </a:ext>
                </a:extLst>
              </a:tr>
              <a:tr h="606641">
                <a:tc>
                  <a:txBody>
                    <a:bodyPr/>
                    <a:lstStyle/>
                    <a:p>
                      <a:pPr algn="l" rtl="0"/>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8778539"/>
                  </a:ext>
                </a:extLst>
              </a:tr>
              <a:tr h="606641">
                <a:tc>
                  <a:txBody>
                    <a:bodyPr/>
                    <a:lstStyle/>
                    <a:p>
                      <a:pPr algn="l" rtl="0"/>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68378937"/>
                  </a:ext>
                </a:extLst>
              </a:tr>
              <a:tr h="606641">
                <a:tc>
                  <a:txBody>
                    <a:bodyPr/>
                    <a:lstStyle/>
                    <a:p>
                      <a:pPr algn="l" rtl="0"/>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48904216"/>
                  </a:ext>
                </a:extLst>
              </a:tr>
            </a:tbl>
          </a:graphicData>
        </a:graphic>
      </p:graphicFrame>
    </p:spTree>
    <p:extLst>
      <p:ext uri="{BB962C8B-B14F-4D97-AF65-F5344CB8AC3E}">
        <p14:creationId xmlns:p14="http://schemas.microsoft.com/office/powerpoint/2010/main" val="28918244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29BCBB0-2531-B07C-F79F-E806EA32F80C}"/>
              </a:ext>
            </a:extLst>
          </p:cNvPr>
          <p:cNvSpPr>
            <a:spLocks noGrp="1"/>
          </p:cNvSpPr>
          <p:nvPr>
            <p:ph type="body" sz="quarter" idx="18"/>
          </p:nvPr>
        </p:nvSpPr>
        <p:spPr>
          <a:xfrm>
            <a:off x="2243137" y="2114549"/>
            <a:ext cx="4752117" cy="4614864"/>
          </a:xfrm>
        </p:spPr>
        <p:txBody>
          <a:bodyPr>
            <a:normAutofit/>
          </a:bodyPr>
          <a:lstStyle/>
          <a:p>
            <a:pPr marL="12700" indent="-12700" algn="l" rtl="0"/>
            <a:r>
              <a:rPr lang="en-US" dirty="0"/>
              <a:t>La implementación del plan de comunicación puede parecer simple al principio, pero en la práctica a menudo se retrasa en cuanto los problemas con el contenido del proyecto se consideran más urgentes.</a:t>
            </a:r>
          </a:p>
          <a:p>
            <a:pPr marL="12700" indent="-12700" algn="l" rtl="0"/>
            <a:endParaRPr lang="en-US" dirty="0"/>
          </a:p>
          <a:p>
            <a:pPr marL="12700" indent="-12700" algn="l" rtl="0"/>
            <a:r>
              <a:rPr lang="en-US" dirty="0"/>
              <a:t>En este paso es importante implementar medidas de comunicación claras a lo largo de toda la duración del proyecto. En general, la gestión de las partes interesadas debe seguir un proceso de gestión general.</a:t>
            </a:r>
          </a:p>
          <a:p>
            <a:pPr marL="12700" indent="-12700" algn="l" rtl="0"/>
            <a:endParaRPr lang="en-US" dirty="0"/>
          </a:p>
        </p:txBody>
      </p:sp>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9944101" cy="828675"/>
          </a:xfrm>
        </p:spPr>
        <p:txBody>
          <a:bodyPr>
            <a:normAutofit/>
          </a:bodyPr>
          <a:lstStyle/>
          <a:p>
            <a:pPr algn="l" rtl="0"/>
            <a:r>
              <a:rPr lang="en-US" dirty="0"/>
              <a:t>Implementación y seguimiento de comunicaciones</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a:buNone/>
            </a:pPr>
            <a:r>
              <a:rPr lang="en-US" sz="8000" dirty="0">
                <a:solidFill>
                  <a:schemeClr val="bg1"/>
                </a:solidFill>
              </a:rPr>
              <a:t>04</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grpSp>
        <p:nvGrpSpPr>
          <p:cNvPr id="2" name="Gruppieren 2">
            <a:extLst>
              <a:ext uri="{FF2B5EF4-FFF2-40B4-BE49-F238E27FC236}">
                <a16:creationId xmlns:a16="http://schemas.microsoft.com/office/drawing/2014/main" id="{91B4B7F5-B0B8-0A1C-57A4-C6E1F16C2C1F}"/>
              </a:ext>
            </a:extLst>
          </p:cNvPr>
          <p:cNvGrpSpPr>
            <a:grpSpLocks noChangeAspect="1"/>
          </p:cNvGrpSpPr>
          <p:nvPr/>
        </p:nvGrpSpPr>
        <p:grpSpPr>
          <a:xfrm>
            <a:off x="7355989" y="2213816"/>
            <a:ext cx="4212000" cy="4213110"/>
            <a:chOff x="5082734" y="1675347"/>
            <a:chExt cx="4438640" cy="4439807"/>
          </a:xfrm>
        </p:grpSpPr>
        <p:sp>
          <p:nvSpPr>
            <p:cNvPr id="3" name="Freeform 1">
              <a:extLst>
                <a:ext uri="{FF2B5EF4-FFF2-40B4-BE49-F238E27FC236}">
                  <a16:creationId xmlns:a16="http://schemas.microsoft.com/office/drawing/2014/main" id="{73EA190D-2CF3-3D5C-A66D-17723E3F3A39}"/>
                </a:ext>
              </a:extLst>
            </p:cNvPr>
            <p:cNvSpPr>
              <a:spLocks noChangeArrowheads="1"/>
            </p:cNvSpPr>
            <p:nvPr/>
          </p:nvSpPr>
          <p:spPr bwMode="auto">
            <a:xfrm>
              <a:off x="5452524" y="1675347"/>
              <a:ext cx="2397215" cy="1496656"/>
            </a:xfrm>
            <a:custGeom>
              <a:avLst/>
              <a:gdLst>
                <a:gd name="T0" fmla="*/ 1860 w 9060"/>
                <a:gd name="T1" fmla="*/ 3720 h 5659"/>
                <a:gd name="T2" fmla="*/ 1860 w 9060"/>
                <a:gd name="T3" fmla="*/ 3720 h 5659"/>
                <a:gd name="T4" fmla="*/ 3719 w 9060"/>
                <a:gd name="T5" fmla="*/ 5658 h 5659"/>
                <a:gd name="T6" fmla="*/ 3719 w 9060"/>
                <a:gd name="T7" fmla="*/ 5658 h 5659"/>
                <a:gd name="T8" fmla="*/ 6994 w 9060"/>
                <a:gd name="T9" fmla="*/ 4128 h 5659"/>
                <a:gd name="T10" fmla="*/ 6994 w 9060"/>
                <a:gd name="T11" fmla="*/ 4128 h 5659"/>
                <a:gd name="T12" fmla="*/ 9058 w 9060"/>
                <a:gd name="T13" fmla="*/ 2068 h 5659"/>
                <a:gd name="T14" fmla="*/ 9058 w 9060"/>
                <a:gd name="T15" fmla="*/ 2068 h 5659"/>
                <a:gd name="T16" fmla="*/ 6998 w 9060"/>
                <a:gd name="T17" fmla="*/ 3 h 5659"/>
                <a:gd name="T18" fmla="*/ 6998 w 9060"/>
                <a:gd name="T19" fmla="*/ 3 h 5659"/>
                <a:gd name="T20" fmla="*/ 0 w 9060"/>
                <a:gd name="T21" fmla="*/ 3755 h 5659"/>
                <a:gd name="T22" fmla="*/ 0 w 9060"/>
                <a:gd name="T23" fmla="*/ 3755 h 5659"/>
                <a:gd name="T24" fmla="*/ 1860 w 9060"/>
                <a:gd name="T25" fmla="*/ 3720 h 5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60" h="5659">
                  <a:moveTo>
                    <a:pt x="1860" y="3720"/>
                  </a:moveTo>
                  <a:lnTo>
                    <a:pt x="1860" y="3720"/>
                  </a:lnTo>
                  <a:cubicBezTo>
                    <a:pt x="2797" y="4025"/>
                    <a:pt x="3469" y="4774"/>
                    <a:pt x="3719" y="5658"/>
                  </a:cubicBezTo>
                  <a:lnTo>
                    <a:pt x="3719" y="5658"/>
                  </a:lnTo>
                  <a:cubicBezTo>
                    <a:pt x="4502" y="4722"/>
                    <a:pt x="5679" y="4127"/>
                    <a:pt x="6994" y="4128"/>
                  </a:cubicBezTo>
                  <a:lnTo>
                    <a:pt x="6994" y="4128"/>
                  </a:lnTo>
                  <a:cubicBezTo>
                    <a:pt x="8133" y="4130"/>
                    <a:pt x="9057" y="3207"/>
                    <a:pt x="9058" y="2068"/>
                  </a:cubicBezTo>
                  <a:lnTo>
                    <a:pt x="9058" y="2068"/>
                  </a:lnTo>
                  <a:cubicBezTo>
                    <a:pt x="9059" y="929"/>
                    <a:pt x="8137" y="4"/>
                    <a:pt x="6998" y="3"/>
                  </a:cubicBezTo>
                  <a:lnTo>
                    <a:pt x="6998" y="3"/>
                  </a:lnTo>
                  <a:cubicBezTo>
                    <a:pt x="4077" y="0"/>
                    <a:pt x="1504" y="1491"/>
                    <a:pt x="0" y="3755"/>
                  </a:cubicBezTo>
                  <a:lnTo>
                    <a:pt x="0" y="3755"/>
                  </a:lnTo>
                  <a:cubicBezTo>
                    <a:pt x="579" y="3543"/>
                    <a:pt x="1229" y="3514"/>
                    <a:pt x="1860" y="3720"/>
                  </a:cubicBezTo>
                </a:path>
              </a:pathLst>
            </a:custGeom>
            <a:solidFill>
              <a:srgbClr val="F16924"/>
            </a:solidFill>
            <a:ln>
              <a:noFill/>
            </a:ln>
            <a:effectLst/>
          </p:spPr>
          <p:txBody>
            <a:bodyPr wrap="none" anchor="ctr"/>
            <a:lstStyle/>
            <a:p>
              <a:pPr algn="l" rtl="0"/>
              <a:endParaRPr lang="en-GB" sz="3200" dirty="0">
                <a:latin typeface="+mj-lt"/>
              </a:endParaRPr>
            </a:p>
          </p:txBody>
        </p:sp>
        <p:sp>
          <p:nvSpPr>
            <p:cNvPr id="4" name="Freeform 2">
              <a:extLst>
                <a:ext uri="{FF2B5EF4-FFF2-40B4-BE49-F238E27FC236}">
                  <a16:creationId xmlns:a16="http://schemas.microsoft.com/office/drawing/2014/main" id="{474D1BC0-9142-64E1-0B0E-B94BD6793EB7}"/>
                </a:ext>
              </a:extLst>
            </p:cNvPr>
            <p:cNvSpPr>
              <a:spLocks noChangeArrowheads="1"/>
            </p:cNvSpPr>
            <p:nvPr/>
          </p:nvSpPr>
          <p:spPr bwMode="auto">
            <a:xfrm>
              <a:off x="7722588" y="1757004"/>
              <a:ext cx="1783621" cy="2233902"/>
            </a:xfrm>
            <a:custGeom>
              <a:avLst/>
              <a:gdLst>
                <a:gd name="T0" fmla="*/ 1269 w 6743"/>
                <a:gd name="T1" fmla="*/ 1759 h 8446"/>
                <a:gd name="T2" fmla="*/ 1269 w 6743"/>
                <a:gd name="T3" fmla="*/ 1759 h 8446"/>
                <a:gd name="T4" fmla="*/ 0 w 6743"/>
                <a:gd name="T5" fmla="*/ 4126 h 8446"/>
                <a:gd name="T6" fmla="*/ 0 w 6743"/>
                <a:gd name="T7" fmla="*/ 4126 h 8446"/>
                <a:gd name="T8" fmla="*/ 2468 w 6743"/>
                <a:gd name="T9" fmla="*/ 6773 h 8446"/>
                <a:gd name="T10" fmla="*/ 2468 w 6743"/>
                <a:gd name="T11" fmla="*/ 6773 h 8446"/>
                <a:gd name="T12" fmla="*/ 5064 w 6743"/>
                <a:gd name="T13" fmla="*/ 8095 h 8446"/>
                <a:gd name="T14" fmla="*/ 5064 w 6743"/>
                <a:gd name="T15" fmla="*/ 8095 h 8446"/>
                <a:gd name="T16" fmla="*/ 6391 w 6743"/>
                <a:gd name="T17" fmla="*/ 5498 h 8446"/>
                <a:gd name="T18" fmla="*/ 6392 w 6743"/>
                <a:gd name="T19" fmla="*/ 5498 h 8446"/>
                <a:gd name="T20" fmla="*/ 6392 w 6743"/>
                <a:gd name="T21" fmla="*/ 5498 h 8446"/>
                <a:gd name="T22" fmla="*/ 659 w 6743"/>
                <a:gd name="T23" fmla="*/ 0 h 8446"/>
                <a:gd name="T24" fmla="*/ 659 w 6743"/>
                <a:gd name="T25" fmla="*/ 0 h 8446"/>
                <a:gd name="T26" fmla="*/ 1269 w 6743"/>
                <a:gd name="T27" fmla="*/ 1759 h 8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43" h="8446">
                  <a:moveTo>
                    <a:pt x="1269" y="1759"/>
                  </a:moveTo>
                  <a:lnTo>
                    <a:pt x="1269" y="1759"/>
                  </a:lnTo>
                  <a:cubicBezTo>
                    <a:pt x="1267" y="2745"/>
                    <a:pt x="763" y="3615"/>
                    <a:pt x="0" y="4126"/>
                  </a:cubicBezTo>
                  <a:lnTo>
                    <a:pt x="0" y="4126"/>
                  </a:lnTo>
                  <a:cubicBezTo>
                    <a:pt x="1168" y="4596"/>
                    <a:pt x="2079" y="5567"/>
                    <a:pt x="2468" y="6773"/>
                  </a:cubicBezTo>
                  <a:lnTo>
                    <a:pt x="2468" y="6773"/>
                  </a:lnTo>
                  <a:cubicBezTo>
                    <a:pt x="2821" y="7854"/>
                    <a:pt x="3982" y="8445"/>
                    <a:pt x="5064" y="8095"/>
                  </a:cubicBezTo>
                  <a:lnTo>
                    <a:pt x="5064" y="8095"/>
                  </a:lnTo>
                  <a:cubicBezTo>
                    <a:pt x="6148" y="7745"/>
                    <a:pt x="6742" y="6581"/>
                    <a:pt x="6391" y="5498"/>
                  </a:cubicBezTo>
                  <a:lnTo>
                    <a:pt x="6392" y="5498"/>
                  </a:lnTo>
                  <a:lnTo>
                    <a:pt x="6392" y="5498"/>
                  </a:lnTo>
                  <a:cubicBezTo>
                    <a:pt x="5530" y="2834"/>
                    <a:pt x="3372" y="754"/>
                    <a:pt x="659" y="0"/>
                  </a:cubicBezTo>
                  <a:lnTo>
                    <a:pt x="659" y="0"/>
                  </a:lnTo>
                  <a:cubicBezTo>
                    <a:pt x="1040" y="485"/>
                    <a:pt x="1269" y="1095"/>
                    <a:pt x="1269" y="1759"/>
                  </a:cubicBezTo>
                </a:path>
              </a:pathLst>
            </a:custGeom>
            <a:solidFill>
              <a:srgbClr val="B41F7A"/>
            </a:solidFill>
            <a:ln>
              <a:noFill/>
            </a:ln>
            <a:effectLst/>
          </p:spPr>
          <p:txBody>
            <a:bodyPr wrap="none" anchor="ctr"/>
            <a:lstStyle/>
            <a:p>
              <a:pPr algn="l" rtl="0"/>
              <a:endParaRPr lang="en-GB" sz="3200" dirty="0">
                <a:latin typeface="+mj-lt"/>
              </a:endParaRPr>
            </a:p>
          </p:txBody>
        </p:sp>
        <p:sp>
          <p:nvSpPr>
            <p:cNvPr id="5" name="Freeform 3">
              <a:extLst>
                <a:ext uri="{FF2B5EF4-FFF2-40B4-BE49-F238E27FC236}">
                  <a16:creationId xmlns:a16="http://schemas.microsoft.com/office/drawing/2014/main" id="{5C115B6C-D983-2BAC-35A4-832576EDAB3F}"/>
                </a:ext>
              </a:extLst>
            </p:cNvPr>
            <p:cNvSpPr>
              <a:spLocks noChangeArrowheads="1"/>
            </p:cNvSpPr>
            <p:nvPr/>
          </p:nvSpPr>
          <p:spPr bwMode="auto">
            <a:xfrm>
              <a:off x="5082734" y="2764885"/>
              <a:ext cx="1264517" cy="2510369"/>
            </a:xfrm>
            <a:custGeom>
              <a:avLst/>
              <a:gdLst>
                <a:gd name="T0" fmla="*/ 2361 w 4781"/>
                <a:gd name="T1" fmla="*/ 7710 h 9489"/>
                <a:gd name="T2" fmla="*/ 2361 w 4781"/>
                <a:gd name="T3" fmla="*/ 7710 h 9489"/>
                <a:gd name="T4" fmla="*/ 4780 w 4781"/>
                <a:gd name="T5" fmla="*/ 6540 h 9489"/>
                <a:gd name="T6" fmla="*/ 4780 w 4781"/>
                <a:gd name="T7" fmla="*/ 6540 h 9489"/>
                <a:gd name="T8" fmla="*/ 4127 w 4781"/>
                <a:gd name="T9" fmla="*/ 4271 h 9489"/>
                <a:gd name="T10" fmla="*/ 4127 w 4781"/>
                <a:gd name="T11" fmla="*/ 4271 h 9489"/>
                <a:gd name="T12" fmla="*/ 4337 w 4781"/>
                <a:gd name="T13" fmla="*/ 2951 h 9489"/>
                <a:gd name="T14" fmla="*/ 4337 w 4781"/>
                <a:gd name="T15" fmla="*/ 2951 h 9489"/>
                <a:gd name="T16" fmla="*/ 3015 w 4781"/>
                <a:gd name="T17" fmla="*/ 353 h 9489"/>
                <a:gd name="T18" fmla="*/ 3015 w 4781"/>
                <a:gd name="T19" fmla="*/ 353 h 9489"/>
                <a:gd name="T20" fmla="*/ 414 w 4781"/>
                <a:gd name="T21" fmla="*/ 1675 h 9489"/>
                <a:gd name="T22" fmla="*/ 414 w 4781"/>
                <a:gd name="T23" fmla="*/ 1675 h 9489"/>
                <a:gd name="T24" fmla="*/ 414 w 4781"/>
                <a:gd name="T25" fmla="*/ 1675 h 9489"/>
                <a:gd name="T26" fmla="*/ 2 w 4781"/>
                <a:gd name="T27" fmla="*/ 4267 h 9489"/>
                <a:gd name="T28" fmla="*/ 2 w 4781"/>
                <a:gd name="T29" fmla="*/ 4267 h 9489"/>
                <a:gd name="T30" fmla="*/ 1820 w 4781"/>
                <a:gd name="T31" fmla="*/ 9488 h 9489"/>
                <a:gd name="T32" fmla="*/ 1820 w 4781"/>
                <a:gd name="T33" fmla="*/ 9488 h 9489"/>
                <a:gd name="T34" fmla="*/ 2361 w 4781"/>
                <a:gd name="T35" fmla="*/ 7710 h 9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81" h="9489">
                  <a:moveTo>
                    <a:pt x="2361" y="7710"/>
                  </a:moveTo>
                  <a:lnTo>
                    <a:pt x="2361" y="7710"/>
                  </a:lnTo>
                  <a:cubicBezTo>
                    <a:pt x="2942" y="6913"/>
                    <a:pt x="3861" y="6505"/>
                    <a:pt x="4780" y="6540"/>
                  </a:cubicBezTo>
                  <a:lnTo>
                    <a:pt x="4780" y="6540"/>
                  </a:lnTo>
                  <a:cubicBezTo>
                    <a:pt x="4366" y="5883"/>
                    <a:pt x="4126" y="5104"/>
                    <a:pt x="4127" y="4271"/>
                  </a:cubicBezTo>
                  <a:lnTo>
                    <a:pt x="4127" y="4271"/>
                  </a:lnTo>
                  <a:cubicBezTo>
                    <a:pt x="4127" y="3810"/>
                    <a:pt x="4202" y="3367"/>
                    <a:pt x="4337" y="2951"/>
                  </a:cubicBezTo>
                  <a:lnTo>
                    <a:pt x="4337" y="2951"/>
                  </a:lnTo>
                  <a:cubicBezTo>
                    <a:pt x="4688" y="1869"/>
                    <a:pt x="4097" y="706"/>
                    <a:pt x="3015" y="353"/>
                  </a:cubicBezTo>
                  <a:lnTo>
                    <a:pt x="3015" y="353"/>
                  </a:lnTo>
                  <a:cubicBezTo>
                    <a:pt x="1933" y="0"/>
                    <a:pt x="768" y="592"/>
                    <a:pt x="414" y="1675"/>
                  </a:cubicBezTo>
                  <a:lnTo>
                    <a:pt x="414" y="1675"/>
                  </a:lnTo>
                  <a:lnTo>
                    <a:pt x="414" y="1675"/>
                  </a:lnTo>
                  <a:cubicBezTo>
                    <a:pt x="148" y="2491"/>
                    <a:pt x="3" y="3362"/>
                    <a:pt x="2" y="4267"/>
                  </a:cubicBezTo>
                  <a:lnTo>
                    <a:pt x="2" y="4267"/>
                  </a:lnTo>
                  <a:cubicBezTo>
                    <a:pt x="0" y="6240"/>
                    <a:pt x="681" y="8053"/>
                    <a:pt x="1820" y="9488"/>
                  </a:cubicBezTo>
                  <a:lnTo>
                    <a:pt x="1820" y="9488"/>
                  </a:lnTo>
                  <a:cubicBezTo>
                    <a:pt x="1798" y="8872"/>
                    <a:pt x="1971" y="8245"/>
                    <a:pt x="2361" y="7710"/>
                  </a:cubicBezTo>
                </a:path>
              </a:pathLst>
            </a:custGeom>
            <a:solidFill>
              <a:srgbClr val="EDA13E"/>
            </a:solidFill>
            <a:ln>
              <a:noFill/>
            </a:ln>
            <a:effectLst/>
          </p:spPr>
          <p:txBody>
            <a:bodyPr wrap="none" anchor="ctr"/>
            <a:lstStyle/>
            <a:p>
              <a:pPr algn="l" rtl="0"/>
              <a:endParaRPr lang="en-GB" sz="3200" dirty="0">
                <a:latin typeface="+mj-lt"/>
              </a:endParaRPr>
            </a:p>
          </p:txBody>
        </p:sp>
        <p:sp>
          <p:nvSpPr>
            <p:cNvPr id="6" name="Freeform 4">
              <a:extLst>
                <a:ext uri="{FF2B5EF4-FFF2-40B4-BE49-F238E27FC236}">
                  <a16:creationId xmlns:a16="http://schemas.microsoft.com/office/drawing/2014/main" id="{D0CE5F86-6753-3503-0CE5-556121476706}"/>
                </a:ext>
              </a:extLst>
            </p:cNvPr>
            <p:cNvSpPr>
              <a:spLocks noChangeArrowheads="1"/>
            </p:cNvSpPr>
            <p:nvPr/>
          </p:nvSpPr>
          <p:spPr bwMode="auto">
            <a:xfrm>
              <a:off x="7665427" y="3800761"/>
              <a:ext cx="1855947" cy="2067088"/>
            </a:xfrm>
            <a:custGeom>
              <a:avLst/>
              <a:gdLst>
                <a:gd name="T0" fmla="*/ 5523 w 7016"/>
                <a:gd name="T1" fmla="*/ 1121 h 7813"/>
                <a:gd name="T2" fmla="*/ 5523 w 7016"/>
                <a:gd name="T3" fmla="*/ 1121 h 7813"/>
                <a:gd name="T4" fmla="*/ 2879 w 7016"/>
                <a:gd name="T5" fmla="*/ 645 h 7813"/>
                <a:gd name="T6" fmla="*/ 2879 w 7016"/>
                <a:gd name="T7" fmla="*/ 645 h 7813"/>
                <a:gd name="T8" fmla="*/ 1128 w 7016"/>
                <a:gd name="T9" fmla="*/ 3807 h 7813"/>
                <a:gd name="T10" fmla="*/ 1129 w 7016"/>
                <a:gd name="T11" fmla="*/ 3808 h 7813"/>
                <a:gd name="T12" fmla="*/ 1129 w 7016"/>
                <a:gd name="T13" fmla="*/ 3808 h 7813"/>
                <a:gd name="T14" fmla="*/ 669 w 7016"/>
                <a:gd name="T15" fmla="*/ 6689 h 7813"/>
                <a:gd name="T16" fmla="*/ 669 w 7016"/>
                <a:gd name="T17" fmla="*/ 6689 h 7813"/>
                <a:gd name="T18" fmla="*/ 3522 w 7016"/>
                <a:gd name="T19" fmla="*/ 7167 h 7813"/>
                <a:gd name="T20" fmla="*/ 3522 w 7016"/>
                <a:gd name="T21" fmla="*/ 7167 h 7813"/>
                <a:gd name="T22" fmla="*/ 7015 w 7016"/>
                <a:gd name="T23" fmla="*/ 367 h 7813"/>
                <a:gd name="T24" fmla="*/ 7015 w 7016"/>
                <a:gd name="T25" fmla="*/ 367 h 7813"/>
                <a:gd name="T26" fmla="*/ 7006 w 7016"/>
                <a:gd name="T27" fmla="*/ 0 h 7813"/>
                <a:gd name="T28" fmla="*/ 7006 w 7016"/>
                <a:gd name="T29" fmla="*/ 0 h 7813"/>
                <a:gd name="T30" fmla="*/ 5523 w 7016"/>
                <a:gd name="T31" fmla="*/ 1121 h 7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16" h="7813">
                  <a:moveTo>
                    <a:pt x="5523" y="1121"/>
                  </a:moveTo>
                  <a:lnTo>
                    <a:pt x="5523" y="1121"/>
                  </a:lnTo>
                  <a:cubicBezTo>
                    <a:pt x="4584" y="1425"/>
                    <a:pt x="3601" y="1213"/>
                    <a:pt x="2879" y="645"/>
                  </a:cubicBezTo>
                  <a:lnTo>
                    <a:pt x="2879" y="645"/>
                  </a:lnTo>
                  <a:cubicBezTo>
                    <a:pt x="2792" y="1945"/>
                    <a:pt x="2122" y="3086"/>
                    <a:pt x="1128" y="3807"/>
                  </a:cubicBezTo>
                  <a:lnTo>
                    <a:pt x="1129" y="3808"/>
                  </a:lnTo>
                  <a:lnTo>
                    <a:pt x="1129" y="3808"/>
                  </a:lnTo>
                  <a:cubicBezTo>
                    <a:pt x="206" y="4476"/>
                    <a:pt x="0" y="5766"/>
                    <a:pt x="669" y="6689"/>
                  </a:cubicBezTo>
                  <a:lnTo>
                    <a:pt x="669" y="6689"/>
                  </a:lnTo>
                  <a:cubicBezTo>
                    <a:pt x="1331" y="7602"/>
                    <a:pt x="2602" y="7812"/>
                    <a:pt x="3522" y="7167"/>
                  </a:cubicBezTo>
                  <a:lnTo>
                    <a:pt x="3522" y="7167"/>
                  </a:lnTo>
                  <a:cubicBezTo>
                    <a:pt x="5634" y="5645"/>
                    <a:pt x="7012" y="3168"/>
                    <a:pt x="7015" y="367"/>
                  </a:cubicBezTo>
                  <a:lnTo>
                    <a:pt x="7015" y="367"/>
                  </a:lnTo>
                  <a:cubicBezTo>
                    <a:pt x="7015" y="244"/>
                    <a:pt x="7011" y="122"/>
                    <a:pt x="7006" y="0"/>
                  </a:cubicBezTo>
                  <a:lnTo>
                    <a:pt x="7006" y="0"/>
                  </a:lnTo>
                  <a:cubicBezTo>
                    <a:pt x="6662" y="510"/>
                    <a:pt x="6154" y="917"/>
                    <a:pt x="5523" y="1121"/>
                  </a:cubicBezTo>
                </a:path>
              </a:pathLst>
            </a:custGeom>
            <a:solidFill>
              <a:srgbClr val="7F1C58"/>
            </a:solidFill>
            <a:ln>
              <a:noFill/>
            </a:ln>
            <a:effectLst/>
          </p:spPr>
          <p:txBody>
            <a:bodyPr wrap="none" anchor="ctr"/>
            <a:lstStyle/>
            <a:p>
              <a:pPr algn="l" rtl="0"/>
              <a:endParaRPr lang="en-GB" sz="3200" dirty="0">
                <a:latin typeface="+mj-lt"/>
              </a:endParaRPr>
            </a:p>
          </p:txBody>
        </p:sp>
        <p:sp>
          <p:nvSpPr>
            <p:cNvPr id="7" name="Freeform 5">
              <a:extLst>
                <a:ext uri="{FF2B5EF4-FFF2-40B4-BE49-F238E27FC236}">
                  <a16:creationId xmlns:a16="http://schemas.microsoft.com/office/drawing/2014/main" id="{D6E44D78-EDF1-DC90-3AB0-E1609398DF2B}"/>
                </a:ext>
              </a:extLst>
            </p:cNvPr>
            <p:cNvSpPr>
              <a:spLocks noChangeArrowheads="1"/>
            </p:cNvSpPr>
            <p:nvPr/>
          </p:nvSpPr>
          <p:spPr bwMode="auto">
            <a:xfrm>
              <a:off x="5699827" y="4628997"/>
              <a:ext cx="2378551" cy="1486157"/>
            </a:xfrm>
            <a:custGeom>
              <a:avLst/>
              <a:gdLst>
                <a:gd name="T0" fmla="*/ 7459 w 8990"/>
                <a:gd name="T1" fmla="*/ 4020 h 5616"/>
                <a:gd name="T2" fmla="*/ 7459 w 8990"/>
                <a:gd name="T3" fmla="*/ 4020 h 5616"/>
                <a:gd name="T4" fmla="*/ 7095 w 8990"/>
                <a:gd name="T5" fmla="*/ 1360 h 5616"/>
                <a:gd name="T6" fmla="*/ 7095 w 8990"/>
                <a:gd name="T7" fmla="*/ 1360 h 5616"/>
                <a:gd name="T8" fmla="*/ 6052 w 8990"/>
                <a:gd name="T9" fmla="*/ 1487 h 5616"/>
                <a:gd name="T10" fmla="*/ 6052 w 8990"/>
                <a:gd name="T11" fmla="*/ 1487 h 5616"/>
                <a:gd name="T12" fmla="*/ 3548 w 8990"/>
                <a:gd name="T13" fmla="*/ 670 h 5616"/>
                <a:gd name="T14" fmla="*/ 3547 w 8990"/>
                <a:gd name="T15" fmla="*/ 671 h 5616"/>
                <a:gd name="T16" fmla="*/ 3547 w 8990"/>
                <a:gd name="T17" fmla="*/ 671 h 5616"/>
                <a:gd name="T18" fmla="*/ 666 w 8990"/>
                <a:gd name="T19" fmla="*/ 1124 h 5616"/>
                <a:gd name="T20" fmla="*/ 666 w 8990"/>
                <a:gd name="T21" fmla="*/ 1124 h 5616"/>
                <a:gd name="T22" fmla="*/ 1101 w 8990"/>
                <a:gd name="T23" fmla="*/ 3992 h 5616"/>
                <a:gd name="T24" fmla="*/ 1101 w 8990"/>
                <a:gd name="T25" fmla="*/ 3992 h 5616"/>
                <a:gd name="T26" fmla="*/ 6047 w 8990"/>
                <a:gd name="T27" fmla="*/ 5613 h 5616"/>
                <a:gd name="T28" fmla="*/ 6047 w 8990"/>
                <a:gd name="T29" fmla="*/ 5613 h 5616"/>
                <a:gd name="T30" fmla="*/ 8989 w 8990"/>
                <a:gd name="T31" fmla="*/ 5085 h 5616"/>
                <a:gd name="T32" fmla="*/ 8989 w 8990"/>
                <a:gd name="T33" fmla="*/ 5085 h 5616"/>
                <a:gd name="T34" fmla="*/ 7459 w 8990"/>
                <a:gd name="T35" fmla="*/ 4020 h 5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90" h="5616">
                  <a:moveTo>
                    <a:pt x="7459" y="4020"/>
                  </a:moveTo>
                  <a:lnTo>
                    <a:pt x="7459" y="4020"/>
                  </a:lnTo>
                  <a:cubicBezTo>
                    <a:pt x="6881" y="3221"/>
                    <a:pt x="6778" y="2222"/>
                    <a:pt x="7095" y="1360"/>
                  </a:cubicBezTo>
                  <a:lnTo>
                    <a:pt x="7095" y="1360"/>
                  </a:lnTo>
                  <a:cubicBezTo>
                    <a:pt x="6761" y="1443"/>
                    <a:pt x="6411" y="1488"/>
                    <a:pt x="6052" y="1487"/>
                  </a:cubicBezTo>
                  <a:lnTo>
                    <a:pt x="6052" y="1487"/>
                  </a:lnTo>
                  <a:cubicBezTo>
                    <a:pt x="5115" y="1486"/>
                    <a:pt x="4251" y="1183"/>
                    <a:pt x="3548" y="670"/>
                  </a:cubicBezTo>
                  <a:lnTo>
                    <a:pt x="3547" y="671"/>
                  </a:lnTo>
                  <a:lnTo>
                    <a:pt x="3547" y="671"/>
                  </a:lnTo>
                  <a:cubicBezTo>
                    <a:pt x="2627" y="0"/>
                    <a:pt x="1336" y="203"/>
                    <a:pt x="666" y="1124"/>
                  </a:cubicBezTo>
                  <a:lnTo>
                    <a:pt x="666" y="1124"/>
                  </a:lnTo>
                  <a:cubicBezTo>
                    <a:pt x="0" y="2038"/>
                    <a:pt x="196" y="3318"/>
                    <a:pt x="1101" y="3992"/>
                  </a:cubicBezTo>
                  <a:lnTo>
                    <a:pt x="1101" y="3992"/>
                  </a:lnTo>
                  <a:cubicBezTo>
                    <a:pt x="2488" y="5009"/>
                    <a:pt x="4197" y="5610"/>
                    <a:pt x="6047" y="5613"/>
                  </a:cubicBezTo>
                  <a:lnTo>
                    <a:pt x="6047" y="5613"/>
                  </a:lnTo>
                  <a:cubicBezTo>
                    <a:pt x="7082" y="5615"/>
                    <a:pt x="8073" y="5427"/>
                    <a:pt x="8989" y="5085"/>
                  </a:cubicBezTo>
                  <a:lnTo>
                    <a:pt x="8989" y="5085"/>
                  </a:lnTo>
                  <a:cubicBezTo>
                    <a:pt x="8394" y="4916"/>
                    <a:pt x="7850" y="4557"/>
                    <a:pt x="7459" y="4020"/>
                  </a:cubicBezTo>
                </a:path>
              </a:pathLst>
            </a:custGeom>
            <a:solidFill>
              <a:srgbClr val="083553"/>
            </a:solidFill>
            <a:ln>
              <a:noFill/>
            </a:ln>
            <a:effectLst/>
          </p:spPr>
          <p:txBody>
            <a:bodyPr wrap="none" anchor="ctr"/>
            <a:lstStyle/>
            <a:p>
              <a:pPr algn="l" rtl="0"/>
              <a:endParaRPr lang="en-GB" sz="3200" dirty="0">
                <a:latin typeface="+mj-lt"/>
              </a:endParaRPr>
            </a:p>
          </p:txBody>
        </p:sp>
        <p:sp>
          <p:nvSpPr>
            <p:cNvPr id="8" name="TextBox 36">
              <a:extLst>
                <a:ext uri="{FF2B5EF4-FFF2-40B4-BE49-F238E27FC236}">
                  <a16:creationId xmlns:a16="http://schemas.microsoft.com/office/drawing/2014/main" id="{B65AD441-08BD-E3D8-E431-01B90C1D3CAB}"/>
                </a:ext>
              </a:extLst>
            </p:cNvPr>
            <p:cNvSpPr txBox="1"/>
            <p:nvPr/>
          </p:nvSpPr>
          <p:spPr>
            <a:xfrm>
              <a:off x="6182552" y="3457397"/>
              <a:ext cx="2259957" cy="875711"/>
            </a:xfrm>
            <a:prstGeom prst="rect">
              <a:avLst/>
            </a:prstGeom>
            <a:noFill/>
          </p:spPr>
          <p:txBody>
            <a:bodyPr wrap="none" rtlCol="0" anchor="ctr">
              <a:spAutoFit/>
            </a:bodyPr>
            <a:lstStyle/>
            <a:p>
              <a:pPr algn="ctr" rtl="0"/>
              <a:r>
                <a:rPr lang="en-GB" sz="2400" b="1" dirty="0">
                  <a:solidFill>
                    <a:srgbClr val="083553"/>
                  </a:solidFill>
                  <a:cs typeface="Poppins" pitchFamily="2" charset="77"/>
                </a:rPr>
                <a:t>ADMINISTRACIÓN</a:t>
              </a:r>
            </a:p>
            <a:p>
              <a:pPr algn="ctr" rtl="0"/>
              <a:r>
                <a:rPr lang="en-GB" sz="2400" b="1" dirty="0">
                  <a:solidFill>
                    <a:srgbClr val="083553"/>
                  </a:solidFill>
                  <a:cs typeface="Poppins" pitchFamily="2" charset="77"/>
                </a:rPr>
                <a:t>ESTRUCTURA</a:t>
              </a:r>
            </a:p>
          </p:txBody>
        </p:sp>
        <p:sp>
          <p:nvSpPr>
            <p:cNvPr id="9" name="TextBox 37">
              <a:extLst>
                <a:ext uri="{FF2B5EF4-FFF2-40B4-BE49-F238E27FC236}">
                  <a16:creationId xmlns:a16="http://schemas.microsoft.com/office/drawing/2014/main" id="{4600992C-059B-50F0-64C4-7FC9A74044BD}"/>
                </a:ext>
              </a:extLst>
            </p:cNvPr>
            <p:cNvSpPr txBox="1"/>
            <p:nvPr/>
          </p:nvSpPr>
          <p:spPr>
            <a:xfrm rot="20700000">
              <a:off x="6273220" y="2073216"/>
              <a:ext cx="1216604" cy="421639"/>
            </a:xfrm>
            <a:prstGeom prst="rect">
              <a:avLst/>
            </a:prstGeom>
            <a:noFill/>
          </p:spPr>
          <p:txBody>
            <a:bodyPr wrap="none" rtlCol="0" anchor="ctr" anchorCtr="0">
              <a:spAutoFit/>
            </a:bodyPr>
            <a:lstStyle/>
            <a:p>
              <a:pPr algn="ctr" rtl="0"/>
              <a:r>
                <a:rPr lang="en-GB" sz="2000" b="1" dirty="0">
                  <a:solidFill>
                    <a:schemeClr val="bg1"/>
                  </a:solidFill>
                  <a:ea typeface="League Spartan" charset="0"/>
                  <a:cs typeface="Poppins" pitchFamily="2" charset="77"/>
                </a:rPr>
                <a:t>IDENTIFICAR</a:t>
              </a:r>
            </a:p>
          </p:txBody>
        </p:sp>
        <p:sp>
          <p:nvSpPr>
            <p:cNvPr id="11" name="TextBox 38">
              <a:extLst>
                <a:ext uri="{FF2B5EF4-FFF2-40B4-BE49-F238E27FC236}">
                  <a16:creationId xmlns:a16="http://schemas.microsoft.com/office/drawing/2014/main" id="{AEDA605C-7A34-BA44-2ECA-F6B164CAC3EE}"/>
                </a:ext>
              </a:extLst>
            </p:cNvPr>
            <p:cNvSpPr txBox="1"/>
            <p:nvPr/>
          </p:nvSpPr>
          <p:spPr>
            <a:xfrm rot="2700000">
              <a:off x="8022340" y="2749953"/>
              <a:ext cx="1311270" cy="421639"/>
            </a:xfrm>
            <a:prstGeom prst="rect">
              <a:avLst/>
            </a:prstGeom>
            <a:noFill/>
          </p:spPr>
          <p:txBody>
            <a:bodyPr wrap="none" rtlCol="0" anchor="ctr" anchorCtr="0">
              <a:spAutoFit/>
            </a:bodyPr>
            <a:lstStyle/>
            <a:p>
              <a:pPr algn="ctr" rtl="0"/>
              <a:r>
                <a:rPr lang="en-GB" sz="2000" b="1" dirty="0">
                  <a:solidFill>
                    <a:schemeClr val="bg1"/>
                  </a:solidFill>
                  <a:ea typeface="League Spartan" charset="0"/>
                  <a:cs typeface="Poppins" pitchFamily="2" charset="77"/>
                </a:rPr>
                <a:t>MEDIDA</a:t>
              </a:r>
            </a:p>
          </p:txBody>
        </p:sp>
        <p:sp>
          <p:nvSpPr>
            <p:cNvPr id="15" name="TextBox 39">
              <a:extLst>
                <a:ext uri="{FF2B5EF4-FFF2-40B4-BE49-F238E27FC236}">
                  <a16:creationId xmlns:a16="http://schemas.microsoft.com/office/drawing/2014/main" id="{615B32A9-FDA8-8423-0E81-D6752970800A}"/>
                </a:ext>
              </a:extLst>
            </p:cNvPr>
            <p:cNvSpPr txBox="1"/>
            <p:nvPr/>
          </p:nvSpPr>
          <p:spPr>
            <a:xfrm rot="18341779">
              <a:off x="8059504" y="4623488"/>
              <a:ext cx="1236942" cy="421639"/>
            </a:xfrm>
            <a:prstGeom prst="rect">
              <a:avLst/>
            </a:prstGeom>
            <a:noFill/>
          </p:spPr>
          <p:txBody>
            <a:bodyPr wrap="none" rtlCol="0" anchor="ctr" anchorCtr="0">
              <a:spAutoFit/>
            </a:bodyPr>
            <a:lstStyle/>
            <a:p>
              <a:pPr algn="ctr" rtl="0"/>
              <a:r>
                <a:rPr lang="en-GB" sz="2000" b="1" dirty="0">
                  <a:solidFill>
                    <a:schemeClr val="bg1"/>
                  </a:solidFill>
                  <a:ea typeface="League Spartan" charset="0"/>
                  <a:cs typeface="Poppins" pitchFamily="2" charset="77"/>
                </a:rPr>
                <a:t>ADMINISTRAR</a:t>
              </a:r>
            </a:p>
          </p:txBody>
        </p:sp>
        <p:sp>
          <p:nvSpPr>
            <p:cNvPr id="16" name="TextBox 40">
              <a:extLst>
                <a:ext uri="{FF2B5EF4-FFF2-40B4-BE49-F238E27FC236}">
                  <a16:creationId xmlns:a16="http://schemas.microsoft.com/office/drawing/2014/main" id="{D79B6523-72D9-8882-4371-D6D61249927A}"/>
                </a:ext>
              </a:extLst>
            </p:cNvPr>
            <p:cNvSpPr txBox="1"/>
            <p:nvPr/>
          </p:nvSpPr>
          <p:spPr>
            <a:xfrm rot="1076605">
              <a:off x="6086147" y="5270946"/>
              <a:ext cx="1324243" cy="421639"/>
            </a:xfrm>
            <a:prstGeom prst="rect">
              <a:avLst/>
            </a:prstGeom>
            <a:noFill/>
          </p:spPr>
          <p:txBody>
            <a:bodyPr wrap="none" rtlCol="0" anchor="ctr" anchorCtr="0">
              <a:spAutoFit/>
            </a:bodyPr>
            <a:lstStyle/>
            <a:p>
              <a:pPr algn="ctr" rtl="0"/>
              <a:r>
                <a:rPr lang="en-GB" sz="2000" b="1" dirty="0">
                  <a:solidFill>
                    <a:schemeClr val="bg1"/>
                  </a:solidFill>
                  <a:ea typeface="League Spartan" charset="0"/>
                  <a:cs typeface="Poppins" pitchFamily="2" charset="77"/>
                </a:rPr>
                <a:t>MONITOR</a:t>
              </a:r>
            </a:p>
          </p:txBody>
        </p:sp>
        <p:sp>
          <p:nvSpPr>
            <p:cNvPr id="17" name="TextBox 41">
              <a:extLst>
                <a:ext uri="{FF2B5EF4-FFF2-40B4-BE49-F238E27FC236}">
                  <a16:creationId xmlns:a16="http://schemas.microsoft.com/office/drawing/2014/main" id="{26ACB66D-B47F-1A46-D6C5-623662F010AA}"/>
                </a:ext>
              </a:extLst>
            </p:cNvPr>
            <p:cNvSpPr txBox="1"/>
            <p:nvPr/>
          </p:nvSpPr>
          <p:spPr>
            <a:xfrm rot="16200000">
              <a:off x="5137322" y="3606664"/>
              <a:ext cx="1087273" cy="421639"/>
            </a:xfrm>
            <a:prstGeom prst="rect">
              <a:avLst/>
            </a:prstGeom>
            <a:noFill/>
          </p:spPr>
          <p:txBody>
            <a:bodyPr wrap="none" rtlCol="0" anchor="ctr" anchorCtr="0">
              <a:spAutoFit/>
            </a:bodyPr>
            <a:lstStyle/>
            <a:p>
              <a:pPr algn="ctr" rtl="0"/>
              <a:r>
                <a:rPr lang="en-GB" sz="2000" b="1" dirty="0">
                  <a:solidFill>
                    <a:schemeClr val="bg1"/>
                  </a:solidFill>
                  <a:ea typeface="League Spartan" charset="0"/>
                  <a:cs typeface="Poppins" pitchFamily="2" charset="77"/>
                </a:rPr>
                <a:t>REPORTE</a:t>
              </a:r>
            </a:p>
          </p:txBody>
        </p:sp>
      </p:grpSp>
    </p:spTree>
    <p:extLst>
      <p:ext uri="{BB962C8B-B14F-4D97-AF65-F5344CB8AC3E}">
        <p14:creationId xmlns:p14="http://schemas.microsoft.com/office/powerpoint/2010/main" val="12752512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29BCBB0-2531-B07C-F79F-E806EA32F80C}"/>
              </a:ext>
            </a:extLst>
          </p:cNvPr>
          <p:cNvSpPr>
            <a:spLocks noGrp="1"/>
          </p:cNvSpPr>
          <p:nvPr>
            <p:ph type="body" sz="quarter" idx="18"/>
          </p:nvPr>
        </p:nvSpPr>
        <p:spPr>
          <a:xfrm>
            <a:off x="2243137" y="2114549"/>
            <a:ext cx="9572625" cy="4614864"/>
          </a:xfrm>
        </p:spPr>
        <p:txBody>
          <a:bodyPr>
            <a:normAutofit/>
          </a:bodyPr>
          <a:lstStyle/>
          <a:p>
            <a:pPr marL="12700" indent="-12700" algn="l" rtl="0"/>
            <a:r>
              <a:rPr lang="en-US" dirty="0"/>
              <a:t>La gestión de las partes interesadas no es un método que se aplique una sola vez, sino un proceso continuo.</a:t>
            </a:r>
          </a:p>
          <a:p>
            <a:pPr marL="12700" indent="-12700" algn="l" rtl="0"/>
            <a:endParaRPr lang="en-US" dirty="0"/>
          </a:p>
          <a:p>
            <a:pPr marL="12700" indent="-12700" algn="l" rtl="0"/>
            <a:r>
              <a:rPr lang="en-US" b="1" dirty="0">
                <a:solidFill>
                  <a:srgbClr val="F16924"/>
                </a:solidFill>
              </a:rPr>
              <a:t>Con base en el análisis inicial de las partes interesadas, estas preguntas deben hacerse con regularidad:</a:t>
            </a:r>
          </a:p>
          <a:p>
            <a:pPr marL="12700" indent="-12700" algn="l" rtl="0"/>
            <a:endParaRPr lang="en-US" b="1" dirty="0"/>
          </a:p>
          <a:p>
            <a:pPr marL="342900" indent="-342900" algn="l" rtl="0">
              <a:buClr>
                <a:srgbClr val="F16924"/>
              </a:buClr>
              <a:buFont typeface="Arial" panose="020B0604020202020204" pitchFamily="34" charset="0"/>
              <a:buChar char="•"/>
            </a:pPr>
            <a:r>
              <a:rPr lang="en-US" dirty="0"/>
              <a:t>¿La lista de partes interesadas aún está actualizada o debemos considerar a otras partes interesadas?</a:t>
            </a:r>
          </a:p>
          <a:p>
            <a:pPr marL="342900" indent="-342900" algn="l" rtl="0">
              <a:buClr>
                <a:srgbClr val="F16924"/>
              </a:buClr>
              <a:buFont typeface="Arial" panose="020B0604020202020204" pitchFamily="34" charset="0"/>
              <a:buChar char="•"/>
            </a:pPr>
            <a:r>
              <a:rPr lang="en-US" dirty="0"/>
              <a:t>¿Siguen siendo correctas las calificaciones de las partes interesadas?</a:t>
            </a:r>
          </a:p>
          <a:p>
            <a:pPr marL="342900" indent="-342900" algn="l" rtl="0">
              <a:buClr>
                <a:srgbClr val="F16924"/>
              </a:buClr>
              <a:buFont typeface="Arial" panose="020B0604020202020204" pitchFamily="34" charset="0"/>
              <a:buChar char="•"/>
            </a:pPr>
            <a:r>
              <a:rPr lang="en-US" dirty="0"/>
              <a:t>¿Reaccionan las partes interesadas según lo previsto o deben ajustarse las medidas? Si se descuida este paso, la gestión de las partes interesadas pierde gran parte de su eficacia.</a:t>
            </a:r>
          </a:p>
          <a:p>
            <a:pPr marL="12700" indent="-12700" algn="l" rtl="0"/>
            <a:endParaRPr lang="en-US" dirty="0"/>
          </a:p>
        </p:txBody>
      </p:sp>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9944101" cy="828675"/>
          </a:xfrm>
        </p:spPr>
        <p:txBody>
          <a:bodyPr>
            <a:normAutofit/>
          </a:bodyPr>
          <a:lstStyle/>
          <a:p>
            <a:pPr algn="l" rtl="0"/>
            <a:r>
              <a:rPr lang="en-US" dirty="0"/>
              <a:t>Supervisión y revisión de las partes interesadas</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a:buNone/>
            </a:pPr>
            <a:r>
              <a:rPr lang="en-US" sz="8000" dirty="0">
                <a:solidFill>
                  <a:schemeClr val="bg1"/>
                </a:solidFill>
              </a:rPr>
              <a:t>05</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Tree>
    <p:extLst>
      <p:ext uri="{BB962C8B-B14F-4D97-AF65-F5344CB8AC3E}">
        <p14:creationId xmlns:p14="http://schemas.microsoft.com/office/powerpoint/2010/main" val="38065296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9944101" cy="828675"/>
          </a:xfrm>
        </p:spPr>
        <p:txBody>
          <a:bodyPr>
            <a:normAutofit/>
          </a:bodyPr>
          <a:lstStyle/>
          <a:p>
            <a:pPr algn="l" rtl="0"/>
            <a:r>
              <a:rPr lang="en-US" dirty="0"/>
              <a:t>Supervisión y revisión de las partes interesadas</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a:buNone/>
            </a:pPr>
            <a:r>
              <a:rPr lang="en-US" sz="8000" dirty="0">
                <a:solidFill>
                  <a:schemeClr val="bg1"/>
                </a:solidFill>
              </a:rPr>
              <a:t>05</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grpSp>
        <p:nvGrpSpPr>
          <p:cNvPr id="73" name="Gruppieren 2">
            <a:extLst>
              <a:ext uri="{FF2B5EF4-FFF2-40B4-BE49-F238E27FC236}">
                <a16:creationId xmlns:a16="http://schemas.microsoft.com/office/drawing/2014/main" id="{C36CFA75-2FC0-84A8-547B-1E2F80B730DC}"/>
              </a:ext>
            </a:extLst>
          </p:cNvPr>
          <p:cNvGrpSpPr>
            <a:grpSpLocks noChangeAspect="1"/>
          </p:cNvGrpSpPr>
          <p:nvPr/>
        </p:nvGrpSpPr>
        <p:grpSpPr>
          <a:xfrm>
            <a:off x="2114549" y="1657350"/>
            <a:ext cx="7969059" cy="4389522"/>
            <a:chOff x="1039852" y="364387"/>
            <a:chExt cx="10294883" cy="5670628"/>
          </a:xfrm>
        </p:grpSpPr>
        <p:sp>
          <p:nvSpPr>
            <p:cNvPr id="74" name="Rectangle 3">
              <a:extLst>
                <a:ext uri="{FF2B5EF4-FFF2-40B4-BE49-F238E27FC236}">
                  <a16:creationId xmlns:a16="http://schemas.microsoft.com/office/drawing/2014/main" id="{CB6346F1-AD87-C433-0F37-EA4D97EE27DE}"/>
                </a:ext>
              </a:extLst>
            </p:cNvPr>
            <p:cNvSpPr/>
            <p:nvPr/>
          </p:nvSpPr>
          <p:spPr>
            <a:xfrm>
              <a:off x="1497051" y="1614050"/>
              <a:ext cx="3276600" cy="1473994"/>
            </a:xfrm>
            <a:prstGeom prst="rect">
              <a:avLst/>
            </a:prstGeom>
            <a:solidFill>
              <a:srgbClr val="EDA13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latin typeface="+mj-lt"/>
              </a:endParaRPr>
            </a:p>
          </p:txBody>
        </p:sp>
        <p:sp>
          <p:nvSpPr>
            <p:cNvPr id="75" name="Rectangle 74">
              <a:extLst>
                <a:ext uri="{FF2B5EF4-FFF2-40B4-BE49-F238E27FC236}">
                  <a16:creationId xmlns:a16="http://schemas.microsoft.com/office/drawing/2014/main" id="{4EC5AC05-43EC-7570-8098-22DBF96AB1AF}"/>
                </a:ext>
              </a:extLst>
            </p:cNvPr>
            <p:cNvSpPr/>
            <p:nvPr/>
          </p:nvSpPr>
          <p:spPr>
            <a:xfrm>
              <a:off x="1497051" y="3088044"/>
              <a:ext cx="3276600" cy="1473994"/>
            </a:xfrm>
            <a:prstGeom prst="rect">
              <a:avLst/>
            </a:prstGeom>
            <a:solidFill>
              <a:srgbClr val="EDA13E">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latin typeface="+mj-lt"/>
              </a:endParaRPr>
            </a:p>
          </p:txBody>
        </p:sp>
        <p:sp>
          <p:nvSpPr>
            <p:cNvPr id="76" name="Rectangle 75">
              <a:extLst>
                <a:ext uri="{FF2B5EF4-FFF2-40B4-BE49-F238E27FC236}">
                  <a16:creationId xmlns:a16="http://schemas.microsoft.com/office/drawing/2014/main" id="{69498469-52AE-36ED-086C-8E75274E80E8}"/>
                </a:ext>
              </a:extLst>
            </p:cNvPr>
            <p:cNvSpPr/>
            <p:nvPr/>
          </p:nvSpPr>
          <p:spPr>
            <a:xfrm>
              <a:off x="1039852" y="1621194"/>
              <a:ext cx="456010" cy="146685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solidFill>
                  <a:schemeClr val="bg2"/>
                </a:solidFill>
                <a:latin typeface="+mj-lt"/>
              </a:endParaRPr>
            </a:p>
          </p:txBody>
        </p:sp>
        <p:sp>
          <p:nvSpPr>
            <p:cNvPr id="77" name="Rectangle 76">
              <a:extLst>
                <a:ext uri="{FF2B5EF4-FFF2-40B4-BE49-F238E27FC236}">
                  <a16:creationId xmlns:a16="http://schemas.microsoft.com/office/drawing/2014/main" id="{045B7378-016F-A437-293C-A275DF1828A0}"/>
                </a:ext>
              </a:extLst>
            </p:cNvPr>
            <p:cNvSpPr/>
            <p:nvPr/>
          </p:nvSpPr>
          <p:spPr>
            <a:xfrm>
              <a:off x="1039852" y="3088044"/>
              <a:ext cx="456010" cy="1473994"/>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solidFill>
                  <a:schemeClr val="bg2"/>
                </a:solidFill>
                <a:latin typeface="+mj-lt"/>
              </a:endParaRPr>
            </a:p>
          </p:txBody>
        </p:sp>
        <p:sp>
          <p:nvSpPr>
            <p:cNvPr id="78" name="Rectangle 9">
              <a:extLst>
                <a:ext uri="{FF2B5EF4-FFF2-40B4-BE49-F238E27FC236}">
                  <a16:creationId xmlns:a16="http://schemas.microsoft.com/office/drawing/2014/main" id="{1B8014FA-054B-000E-A5BA-0CB932AC22D4}"/>
                </a:ext>
              </a:extLst>
            </p:cNvPr>
            <p:cNvSpPr/>
            <p:nvPr/>
          </p:nvSpPr>
          <p:spPr>
            <a:xfrm>
              <a:off x="4770081" y="1157874"/>
              <a:ext cx="3277790" cy="45617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solidFill>
                  <a:schemeClr val="bg2"/>
                </a:solidFill>
                <a:latin typeface="+mj-lt"/>
              </a:endParaRPr>
            </a:p>
          </p:txBody>
        </p:sp>
        <p:sp>
          <p:nvSpPr>
            <p:cNvPr id="79" name="Rectangle 13">
              <a:extLst>
                <a:ext uri="{FF2B5EF4-FFF2-40B4-BE49-F238E27FC236}">
                  <a16:creationId xmlns:a16="http://schemas.microsoft.com/office/drawing/2014/main" id="{B16BF7BC-493C-6F16-C3DD-EA02A383E7BD}"/>
                </a:ext>
              </a:extLst>
            </p:cNvPr>
            <p:cNvSpPr/>
            <p:nvPr/>
          </p:nvSpPr>
          <p:spPr>
            <a:xfrm>
              <a:off x="4772462" y="3088044"/>
              <a:ext cx="3277790" cy="1473994"/>
            </a:xfrm>
            <a:prstGeom prst="rect">
              <a:avLst/>
            </a:prstGeom>
            <a:solidFill>
              <a:srgbClr val="F16924">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latin typeface="+mj-lt"/>
              </a:endParaRPr>
            </a:p>
          </p:txBody>
        </p:sp>
        <p:sp>
          <p:nvSpPr>
            <p:cNvPr id="80" name="Rectangle 14">
              <a:extLst>
                <a:ext uri="{FF2B5EF4-FFF2-40B4-BE49-F238E27FC236}">
                  <a16:creationId xmlns:a16="http://schemas.microsoft.com/office/drawing/2014/main" id="{8A6ADD28-2C10-13C0-3B93-CD58341F00A2}"/>
                </a:ext>
              </a:extLst>
            </p:cNvPr>
            <p:cNvSpPr/>
            <p:nvPr/>
          </p:nvSpPr>
          <p:spPr>
            <a:xfrm>
              <a:off x="4772462" y="1617622"/>
              <a:ext cx="3277790" cy="1470423"/>
            </a:xfrm>
            <a:prstGeom prst="rect">
              <a:avLst/>
            </a:prstGeom>
            <a:solidFill>
              <a:srgbClr val="F1692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latin typeface="+mj-lt"/>
              </a:endParaRPr>
            </a:p>
          </p:txBody>
        </p:sp>
        <p:sp>
          <p:nvSpPr>
            <p:cNvPr id="81" name="Rectangle 21">
              <a:extLst>
                <a:ext uri="{FF2B5EF4-FFF2-40B4-BE49-F238E27FC236}">
                  <a16:creationId xmlns:a16="http://schemas.microsoft.com/office/drawing/2014/main" id="{94FFAA97-26EB-CA2E-8EA1-03F366EBEE04}"/>
                </a:ext>
              </a:extLst>
            </p:cNvPr>
            <p:cNvSpPr/>
            <p:nvPr/>
          </p:nvSpPr>
          <p:spPr>
            <a:xfrm>
              <a:off x="1496456" y="1157874"/>
              <a:ext cx="3277790" cy="456176"/>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solidFill>
                  <a:schemeClr val="bg2"/>
                </a:solidFill>
                <a:latin typeface="+mj-lt"/>
              </a:endParaRPr>
            </a:p>
          </p:txBody>
        </p:sp>
        <p:sp>
          <p:nvSpPr>
            <p:cNvPr id="82" name="TextBox 22">
              <a:extLst>
                <a:ext uri="{FF2B5EF4-FFF2-40B4-BE49-F238E27FC236}">
                  <a16:creationId xmlns:a16="http://schemas.microsoft.com/office/drawing/2014/main" id="{5AEFE542-3501-3B08-6AF0-F578D26BB71A}"/>
                </a:ext>
              </a:extLst>
            </p:cNvPr>
            <p:cNvSpPr txBox="1"/>
            <p:nvPr/>
          </p:nvSpPr>
          <p:spPr>
            <a:xfrm>
              <a:off x="2751823" y="1168049"/>
              <a:ext cx="762901" cy="437363"/>
            </a:xfrm>
            <a:prstGeom prst="rect">
              <a:avLst/>
            </a:prstGeom>
            <a:noFill/>
          </p:spPr>
          <p:txBody>
            <a:bodyPr wrap="none" rtlCol="0" anchor="ctr" anchorCtr="0">
              <a:spAutoFit/>
            </a:bodyPr>
            <a:lstStyle/>
            <a:p>
              <a:pPr algn="ctr" rtl="0"/>
              <a:r>
                <a:rPr lang="en-GB" sz="1600" b="1" dirty="0">
                  <a:solidFill>
                    <a:schemeClr val="bg1"/>
                  </a:solidFill>
                  <a:latin typeface="Calibri" panose="020F0502020204030204" pitchFamily="34" charset="0"/>
                  <a:ea typeface="League Spartan" charset="0"/>
                  <a:cs typeface="Calibri" panose="020F0502020204030204" pitchFamily="34" charset="0"/>
                </a:rPr>
                <a:t>BAJO</a:t>
              </a:r>
            </a:p>
          </p:txBody>
        </p:sp>
        <p:sp>
          <p:nvSpPr>
            <p:cNvPr id="83" name="TextBox 23">
              <a:extLst>
                <a:ext uri="{FF2B5EF4-FFF2-40B4-BE49-F238E27FC236}">
                  <a16:creationId xmlns:a16="http://schemas.microsoft.com/office/drawing/2014/main" id="{667BD7CB-88CA-1649-FDAB-F2382DF55F38}"/>
                </a:ext>
              </a:extLst>
            </p:cNvPr>
            <p:cNvSpPr txBox="1"/>
            <p:nvPr/>
          </p:nvSpPr>
          <p:spPr>
            <a:xfrm>
              <a:off x="5852763" y="1168049"/>
              <a:ext cx="1116602" cy="437363"/>
            </a:xfrm>
            <a:prstGeom prst="rect">
              <a:avLst/>
            </a:prstGeom>
            <a:noFill/>
          </p:spPr>
          <p:txBody>
            <a:bodyPr wrap="none" rtlCol="0" anchor="ctr" anchorCtr="0">
              <a:spAutoFit/>
            </a:bodyPr>
            <a:lstStyle/>
            <a:p>
              <a:pPr algn="ctr" rtl="0"/>
              <a:r>
                <a:rPr lang="en-GB" sz="1600" b="1" dirty="0">
                  <a:solidFill>
                    <a:schemeClr val="bg1"/>
                  </a:solidFill>
                  <a:latin typeface="Calibri" panose="020F0502020204030204" pitchFamily="34" charset="0"/>
                  <a:ea typeface="League Spartan" charset="0"/>
                  <a:cs typeface="Calibri" panose="020F0502020204030204" pitchFamily="34" charset="0"/>
                </a:rPr>
                <a:t>MEDIO</a:t>
              </a:r>
            </a:p>
          </p:txBody>
        </p:sp>
        <p:sp>
          <p:nvSpPr>
            <p:cNvPr id="84" name="TextBox 24">
              <a:extLst>
                <a:ext uri="{FF2B5EF4-FFF2-40B4-BE49-F238E27FC236}">
                  <a16:creationId xmlns:a16="http://schemas.microsoft.com/office/drawing/2014/main" id="{8FD6B277-9E22-AAB8-E17A-A3475078787B}"/>
                </a:ext>
              </a:extLst>
            </p:cNvPr>
            <p:cNvSpPr txBox="1"/>
            <p:nvPr/>
          </p:nvSpPr>
          <p:spPr>
            <a:xfrm rot="16200000">
              <a:off x="860730" y="2135939"/>
              <a:ext cx="814258" cy="437363"/>
            </a:xfrm>
            <a:prstGeom prst="rect">
              <a:avLst/>
            </a:prstGeom>
            <a:noFill/>
          </p:spPr>
          <p:txBody>
            <a:bodyPr wrap="none" rtlCol="0" anchor="ctr" anchorCtr="0">
              <a:spAutoFit/>
            </a:bodyPr>
            <a:lstStyle/>
            <a:p>
              <a:pPr algn="ctr" rtl="0"/>
              <a:r>
                <a:rPr lang="en-GB" sz="1600" b="1" dirty="0">
                  <a:solidFill>
                    <a:schemeClr val="bg1"/>
                  </a:solidFill>
                  <a:latin typeface="Calibri" panose="020F0502020204030204" pitchFamily="34" charset="0"/>
                  <a:ea typeface="League Spartan" charset="0"/>
                  <a:cs typeface="Calibri" panose="020F0502020204030204" pitchFamily="34" charset="0"/>
                </a:rPr>
                <a:t>ALTO</a:t>
              </a:r>
            </a:p>
          </p:txBody>
        </p:sp>
        <p:sp>
          <p:nvSpPr>
            <p:cNvPr id="85" name="TextBox 25">
              <a:extLst>
                <a:ext uri="{FF2B5EF4-FFF2-40B4-BE49-F238E27FC236}">
                  <a16:creationId xmlns:a16="http://schemas.microsoft.com/office/drawing/2014/main" id="{A26D7B80-2E08-0C29-8751-02B5775AC80D}"/>
                </a:ext>
              </a:extLst>
            </p:cNvPr>
            <p:cNvSpPr txBox="1"/>
            <p:nvPr/>
          </p:nvSpPr>
          <p:spPr>
            <a:xfrm rot="16200000">
              <a:off x="534435" y="3601770"/>
              <a:ext cx="1466852" cy="437363"/>
            </a:xfrm>
            <a:prstGeom prst="rect">
              <a:avLst/>
            </a:prstGeom>
            <a:solidFill>
              <a:srgbClr val="F16924"/>
            </a:solidFill>
          </p:spPr>
          <p:txBody>
            <a:bodyPr wrap="square" rtlCol="0" anchor="ctr" anchorCtr="0">
              <a:spAutoFit/>
            </a:bodyPr>
            <a:lstStyle/>
            <a:p>
              <a:pPr algn="ctr" rtl="0"/>
              <a:r>
                <a:rPr lang="en-GB" sz="1600" b="1" dirty="0">
                  <a:solidFill>
                    <a:schemeClr val="bg1"/>
                  </a:solidFill>
                  <a:latin typeface="Calibri" panose="020F0502020204030204" pitchFamily="34" charset="0"/>
                  <a:ea typeface="League Spartan" charset="0"/>
                  <a:cs typeface="Calibri" panose="020F0502020204030204" pitchFamily="34" charset="0"/>
                </a:rPr>
                <a:t>MEDIO</a:t>
              </a:r>
            </a:p>
          </p:txBody>
        </p:sp>
        <p:sp>
          <p:nvSpPr>
            <p:cNvPr id="86" name="Rectangle 9">
              <a:extLst>
                <a:ext uri="{FF2B5EF4-FFF2-40B4-BE49-F238E27FC236}">
                  <a16:creationId xmlns:a16="http://schemas.microsoft.com/office/drawing/2014/main" id="{89B2F565-4B1D-8F90-62DB-954453FC0AF1}"/>
                </a:ext>
              </a:extLst>
            </p:cNvPr>
            <p:cNvSpPr/>
            <p:nvPr/>
          </p:nvSpPr>
          <p:spPr>
            <a:xfrm>
              <a:off x="8054564" y="1157874"/>
              <a:ext cx="3277790" cy="45617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solidFill>
                  <a:schemeClr val="bg2"/>
                </a:solidFill>
                <a:latin typeface="+mj-lt"/>
              </a:endParaRPr>
            </a:p>
          </p:txBody>
        </p:sp>
        <p:sp>
          <p:nvSpPr>
            <p:cNvPr id="87" name="Rectangle 13">
              <a:extLst>
                <a:ext uri="{FF2B5EF4-FFF2-40B4-BE49-F238E27FC236}">
                  <a16:creationId xmlns:a16="http://schemas.microsoft.com/office/drawing/2014/main" id="{23CCD5D6-0D73-BB1E-F29E-94F228385113}"/>
                </a:ext>
              </a:extLst>
            </p:cNvPr>
            <p:cNvSpPr/>
            <p:nvPr/>
          </p:nvSpPr>
          <p:spPr>
            <a:xfrm>
              <a:off x="8056945" y="3088044"/>
              <a:ext cx="3277790" cy="1473994"/>
            </a:xfrm>
            <a:prstGeom prst="rect">
              <a:avLst/>
            </a:prstGeom>
            <a:solidFill>
              <a:srgbClr val="B41F7A">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latin typeface="+mj-lt"/>
              </a:endParaRPr>
            </a:p>
          </p:txBody>
        </p:sp>
        <p:sp>
          <p:nvSpPr>
            <p:cNvPr id="88" name="Rectangle 14">
              <a:extLst>
                <a:ext uri="{FF2B5EF4-FFF2-40B4-BE49-F238E27FC236}">
                  <a16:creationId xmlns:a16="http://schemas.microsoft.com/office/drawing/2014/main" id="{18FF1C7F-D4B9-A507-EAFC-B6967ED39057}"/>
                </a:ext>
              </a:extLst>
            </p:cNvPr>
            <p:cNvSpPr/>
            <p:nvPr/>
          </p:nvSpPr>
          <p:spPr>
            <a:xfrm>
              <a:off x="8056945" y="1617622"/>
              <a:ext cx="3277790" cy="1470423"/>
            </a:xfrm>
            <a:prstGeom prst="rect">
              <a:avLst/>
            </a:prstGeom>
            <a:solidFill>
              <a:srgbClr val="B41F7A">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latin typeface="+mj-lt"/>
              </a:endParaRPr>
            </a:p>
          </p:txBody>
        </p:sp>
        <p:sp>
          <p:nvSpPr>
            <p:cNvPr id="89" name="TextBox 23">
              <a:extLst>
                <a:ext uri="{FF2B5EF4-FFF2-40B4-BE49-F238E27FC236}">
                  <a16:creationId xmlns:a16="http://schemas.microsoft.com/office/drawing/2014/main" id="{5E654560-0FAC-210F-09B5-091761AFB07B}"/>
                </a:ext>
              </a:extLst>
            </p:cNvPr>
            <p:cNvSpPr txBox="1"/>
            <p:nvPr/>
          </p:nvSpPr>
          <p:spPr>
            <a:xfrm>
              <a:off x="9288417" y="1168049"/>
              <a:ext cx="814259" cy="437363"/>
            </a:xfrm>
            <a:prstGeom prst="rect">
              <a:avLst/>
            </a:prstGeom>
            <a:noFill/>
          </p:spPr>
          <p:txBody>
            <a:bodyPr wrap="none" rtlCol="0" anchor="ctr" anchorCtr="0">
              <a:spAutoFit/>
            </a:bodyPr>
            <a:lstStyle/>
            <a:p>
              <a:pPr algn="ctr" rtl="0"/>
              <a:r>
                <a:rPr lang="en-GB" sz="1600" b="1" dirty="0">
                  <a:solidFill>
                    <a:schemeClr val="bg1"/>
                  </a:solidFill>
                  <a:latin typeface="Calibri" panose="020F0502020204030204" pitchFamily="34" charset="0"/>
                  <a:ea typeface="League Spartan" charset="0"/>
                  <a:cs typeface="Calibri" panose="020F0502020204030204" pitchFamily="34" charset="0"/>
                </a:rPr>
                <a:t>ALTO</a:t>
              </a:r>
            </a:p>
          </p:txBody>
        </p:sp>
        <p:sp>
          <p:nvSpPr>
            <p:cNvPr id="90" name="Rectangle 4">
              <a:extLst>
                <a:ext uri="{FF2B5EF4-FFF2-40B4-BE49-F238E27FC236}">
                  <a16:creationId xmlns:a16="http://schemas.microsoft.com/office/drawing/2014/main" id="{1D99B120-1D57-5A08-9A1D-385168732F0C}"/>
                </a:ext>
              </a:extLst>
            </p:cNvPr>
            <p:cNvSpPr/>
            <p:nvPr/>
          </p:nvSpPr>
          <p:spPr>
            <a:xfrm>
              <a:off x="1495862" y="4561021"/>
              <a:ext cx="3276600" cy="1473994"/>
            </a:xfrm>
            <a:prstGeom prst="rect">
              <a:avLst/>
            </a:prstGeom>
            <a:solidFill>
              <a:srgbClr val="EDA13E">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latin typeface="+mj-lt"/>
              </a:endParaRPr>
            </a:p>
          </p:txBody>
        </p:sp>
        <p:sp>
          <p:nvSpPr>
            <p:cNvPr id="91" name="Rectangle 6">
              <a:extLst>
                <a:ext uri="{FF2B5EF4-FFF2-40B4-BE49-F238E27FC236}">
                  <a16:creationId xmlns:a16="http://schemas.microsoft.com/office/drawing/2014/main" id="{40866E99-4ED8-D2A0-4E3E-C1B8D3E65AB7}"/>
                </a:ext>
              </a:extLst>
            </p:cNvPr>
            <p:cNvSpPr/>
            <p:nvPr/>
          </p:nvSpPr>
          <p:spPr>
            <a:xfrm>
              <a:off x="1049177" y="4561021"/>
              <a:ext cx="445496" cy="1473994"/>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solidFill>
                  <a:schemeClr val="bg2"/>
                </a:solidFill>
                <a:latin typeface="+mj-lt"/>
              </a:endParaRPr>
            </a:p>
          </p:txBody>
        </p:sp>
        <p:sp>
          <p:nvSpPr>
            <p:cNvPr id="92" name="Rectangle 13">
              <a:extLst>
                <a:ext uri="{FF2B5EF4-FFF2-40B4-BE49-F238E27FC236}">
                  <a16:creationId xmlns:a16="http://schemas.microsoft.com/office/drawing/2014/main" id="{0CB001E1-468A-7BCC-936C-1AD92B2C6B33}"/>
                </a:ext>
              </a:extLst>
            </p:cNvPr>
            <p:cNvSpPr/>
            <p:nvPr/>
          </p:nvSpPr>
          <p:spPr>
            <a:xfrm>
              <a:off x="4771273" y="4561021"/>
              <a:ext cx="3277790" cy="1473994"/>
            </a:xfrm>
            <a:prstGeom prst="rect">
              <a:avLst/>
            </a:prstGeom>
            <a:solidFill>
              <a:srgbClr val="F16924">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latin typeface="+mj-lt"/>
              </a:endParaRPr>
            </a:p>
          </p:txBody>
        </p:sp>
        <p:sp>
          <p:nvSpPr>
            <p:cNvPr id="93" name="TextBox 92">
              <a:extLst>
                <a:ext uri="{FF2B5EF4-FFF2-40B4-BE49-F238E27FC236}">
                  <a16:creationId xmlns:a16="http://schemas.microsoft.com/office/drawing/2014/main" id="{565BDD02-5971-5EBC-A6C2-FBB2336C975B}"/>
                </a:ext>
              </a:extLst>
            </p:cNvPr>
            <p:cNvSpPr txBox="1"/>
            <p:nvPr/>
          </p:nvSpPr>
          <p:spPr>
            <a:xfrm rot="16200000">
              <a:off x="885221" y="5079338"/>
              <a:ext cx="762900" cy="437363"/>
            </a:xfrm>
            <a:prstGeom prst="rect">
              <a:avLst/>
            </a:prstGeom>
            <a:noFill/>
          </p:spPr>
          <p:txBody>
            <a:bodyPr wrap="none" rtlCol="0" anchor="ctr" anchorCtr="0">
              <a:spAutoFit/>
            </a:bodyPr>
            <a:lstStyle/>
            <a:p>
              <a:pPr algn="ctr" rtl="0"/>
              <a:r>
                <a:rPr lang="en-GB" sz="1600" b="1" dirty="0">
                  <a:solidFill>
                    <a:schemeClr val="bg1"/>
                  </a:solidFill>
                  <a:latin typeface="Calibri" panose="020F0502020204030204" pitchFamily="34" charset="0"/>
                  <a:ea typeface="League Spartan" charset="0"/>
                  <a:cs typeface="Calibri" panose="020F0502020204030204" pitchFamily="34" charset="0"/>
                </a:rPr>
                <a:t>BAJO</a:t>
              </a:r>
            </a:p>
          </p:txBody>
        </p:sp>
        <p:sp>
          <p:nvSpPr>
            <p:cNvPr id="94" name="Rectangle 13">
              <a:extLst>
                <a:ext uri="{FF2B5EF4-FFF2-40B4-BE49-F238E27FC236}">
                  <a16:creationId xmlns:a16="http://schemas.microsoft.com/office/drawing/2014/main" id="{5F28CCA2-D89B-D359-2AFE-30B5383DA3C3}"/>
                </a:ext>
              </a:extLst>
            </p:cNvPr>
            <p:cNvSpPr/>
            <p:nvPr/>
          </p:nvSpPr>
          <p:spPr>
            <a:xfrm>
              <a:off x="8055756" y="4561021"/>
              <a:ext cx="3277790" cy="1473994"/>
            </a:xfrm>
            <a:prstGeom prst="rect">
              <a:avLst/>
            </a:prstGeom>
            <a:solidFill>
              <a:srgbClr val="B41F7A">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a:defRPr/>
              </a:pPr>
              <a:endParaRPr lang="en-GB" sz="1600" dirty="0">
                <a:latin typeface="+mj-lt"/>
              </a:endParaRPr>
            </a:p>
          </p:txBody>
        </p:sp>
        <p:sp>
          <p:nvSpPr>
            <p:cNvPr id="95" name="TextBox 35">
              <a:extLst>
                <a:ext uri="{FF2B5EF4-FFF2-40B4-BE49-F238E27FC236}">
                  <a16:creationId xmlns:a16="http://schemas.microsoft.com/office/drawing/2014/main" id="{F1AC1C7E-9370-5224-E5AC-850346E5A280}"/>
                </a:ext>
              </a:extLst>
            </p:cNvPr>
            <p:cNvSpPr txBox="1"/>
            <p:nvPr/>
          </p:nvSpPr>
          <p:spPr>
            <a:xfrm>
              <a:off x="5415476" y="364387"/>
              <a:ext cx="1987002" cy="707011"/>
            </a:xfrm>
            <a:prstGeom prst="rect">
              <a:avLst/>
            </a:prstGeom>
            <a:noFill/>
          </p:spPr>
          <p:txBody>
            <a:bodyPr wrap="none" rtlCol="0" anchor="b" anchorCtr="0">
              <a:spAutoFit/>
            </a:bodyPr>
            <a:lstStyle/>
            <a:p>
              <a:pPr algn="ctr" rtl="0"/>
              <a:r>
                <a:rPr lang="en-GB" sz="1600" b="1" dirty="0">
                  <a:solidFill>
                    <a:schemeClr val="tx2"/>
                  </a:solidFill>
                  <a:latin typeface="+mj-lt"/>
                  <a:ea typeface="League Spartan" charset="0"/>
                  <a:cs typeface="Poppins" pitchFamily="2" charset="77"/>
                </a:rPr>
                <a:t>Influencia</a:t>
              </a:r>
            </a:p>
          </p:txBody>
        </p:sp>
        <p:sp>
          <p:nvSpPr>
            <p:cNvPr id="96" name="Ellipse 48">
              <a:extLst>
                <a:ext uri="{FF2B5EF4-FFF2-40B4-BE49-F238E27FC236}">
                  <a16:creationId xmlns:a16="http://schemas.microsoft.com/office/drawing/2014/main" id="{DACD1C60-9A3E-03F3-A3F0-CBB8CF4758D8}"/>
                </a:ext>
              </a:extLst>
            </p:cNvPr>
            <p:cNvSpPr/>
            <p:nvPr/>
          </p:nvSpPr>
          <p:spPr>
            <a:xfrm>
              <a:off x="2458071" y="1880526"/>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GB" sz="2000" dirty="0"/>
                <a:t>S1</a:t>
              </a:r>
            </a:p>
          </p:txBody>
        </p:sp>
        <p:sp>
          <p:nvSpPr>
            <p:cNvPr id="97" name="Ellipse 50">
              <a:extLst>
                <a:ext uri="{FF2B5EF4-FFF2-40B4-BE49-F238E27FC236}">
                  <a16:creationId xmlns:a16="http://schemas.microsoft.com/office/drawing/2014/main" id="{E56CA96C-05BE-DE29-0A4E-2C886C0529BB}"/>
                </a:ext>
              </a:extLst>
            </p:cNvPr>
            <p:cNvSpPr/>
            <p:nvPr/>
          </p:nvSpPr>
          <p:spPr>
            <a:xfrm>
              <a:off x="2857191" y="3296479"/>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GB" sz="2000" dirty="0"/>
                <a:t>S2</a:t>
              </a:r>
            </a:p>
          </p:txBody>
        </p:sp>
        <p:sp>
          <p:nvSpPr>
            <p:cNvPr id="98" name="Ellipse 51">
              <a:extLst>
                <a:ext uri="{FF2B5EF4-FFF2-40B4-BE49-F238E27FC236}">
                  <a16:creationId xmlns:a16="http://schemas.microsoft.com/office/drawing/2014/main" id="{84536D0F-8CAB-FB09-B5A4-CF9C1B41722C}"/>
                </a:ext>
              </a:extLst>
            </p:cNvPr>
            <p:cNvSpPr/>
            <p:nvPr/>
          </p:nvSpPr>
          <p:spPr>
            <a:xfrm>
              <a:off x="4555406" y="2222500"/>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GB" sz="2000" dirty="0"/>
                <a:t>S3</a:t>
              </a:r>
            </a:p>
          </p:txBody>
        </p:sp>
        <p:sp>
          <p:nvSpPr>
            <p:cNvPr id="99" name="Ellipse 55">
              <a:extLst>
                <a:ext uri="{FF2B5EF4-FFF2-40B4-BE49-F238E27FC236}">
                  <a16:creationId xmlns:a16="http://schemas.microsoft.com/office/drawing/2014/main" id="{BA704B0D-ADC3-0444-879F-67E9A65FD27A}"/>
                </a:ext>
              </a:extLst>
            </p:cNvPr>
            <p:cNvSpPr/>
            <p:nvPr/>
          </p:nvSpPr>
          <p:spPr>
            <a:xfrm>
              <a:off x="9997379" y="1654268"/>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GB" sz="2000" dirty="0"/>
                <a:t>S7</a:t>
              </a:r>
            </a:p>
          </p:txBody>
        </p:sp>
        <p:sp>
          <p:nvSpPr>
            <p:cNvPr id="100" name="Ellipse 56">
              <a:extLst>
                <a:ext uri="{FF2B5EF4-FFF2-40B4-BE49-F238E27FC236}">
                  <a16:creationId xmlns:a16="http://schemas.microsoft.com/office/drawing/2014/main" id="{D0B82B97-CF22-3E5D-962C-9C239AC002D7}"/>
                </a:ext>
              </a:extLst>
            </p:cNvPr>
            <p:cNvSpPr/>
            <p:nvPr/>
          </p:nvSpPr>
          <p:spPr>
            <a:xfrm>
              <a:off x="8516115" y="1691044"/>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GB" sz="2000" dirty="0"/>
                <a:t>S6</a:t>
              </a:r>
            </a:p>
          </p:txBody>
        </p:sp>
        <p:sp>
          <p:nvSpPr>
            <p:cNvPr id="101" name="Ellipse 57">
              <a:extLst>
                <a:ext uri="{FF2B5EF4-FFF2-40B4-BE49-F238E27FC236}">
                  <a16:creationId xmlns:a16="http://schemas.microsoft.com/office/drawing/2014/main" id="{7EE49FDE-312C-04AA-3C62-8879D685A923}"/>
                </a:ext>
              </a:extLst>
            </p:cNvPr>
            <p:cNvSpPr/>
            <p:nvPr/>
          </p:nvSpPr>
          <p:spPr>
            <a:xfrm>
              <a:off x="8168845" y="4590789"/>
              <a:ext cx="1232353"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GB" sz="2000" dirty="0"/>
                <a:t>S5</a:t>
              </a:r>
            </a:p>
          </p:txBody>
        </p:sp>
        <p:sp>
          <p:nvSpPr>
            <p:cNvPr id="102" name="Ellipse 58">
              <a:extLst>
                <a:ext uri="{FF2B5EF4-FFF2-40B4-BE49-F238E27FC236}">
                  <a16:creationId xmlns:a16="http://schemas.microsoft.com/office/drawing/2014/main" id="{E81528CB-F3FD-31D8-7F6B-A28B1F5690BC}"/>
                </a:ext>
              </a:extLst>
            </p:cNvPr>
            <p:cNvSpPr/>
            <p:nvPr/>
          </p:nvSpPr>
          <p:spPr>
            <a:xfrm>
              <a:off x="5807585" y="1803263"/>
              <a:ext cx="1232353" cy="1206500"/>
            </a:xfrm>
            <a:prstGeom prst="ellipse">
              <a:avLst/>
            </a:prstGeom>
            <a:solidFill>
              <a:srgbClr val="B41F7A"/>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GB" sz="2000" dirty="0"/>
                <a:t>S4</a:t>
              </a:r>
            </a:p>
          </p:txBody>
        </p:sp>
      </p:grpSp>
      <p:sp>
        <p:nvSpPr>
          <p:cNvPr id="103" name="Ellipse 56">
            <a:extLst>
              <a:ext uri="{FF2B5EF4-FFF2-40B4-BE49-F238E27FC236}">
                <a16:creationId xmlns:a16="http://schemas.microsoft.com/office/drawing/2014/main" id="{0CF6BDD4-F5CD-28FC-06A3-2C976611B9BC}"/>
              </a:ext>
            </a:extLst>
          </p:cNvPr>
          <p:cNvSpPr/>
          <p:nvPr/>
        </p:nvSpPr>
        <p:spPr>
          <a:xfrm>
            <a:off x="7770190" y="3880339"/>
            <a:ext cx="953939" cy="933928"/>
          </a:xfrm>
          <a:prstGeom prst="ellipse">
            <a:avLst/>
          </a:prstGeom>
          <a:solidFill>
            <a:srgbClr val="B41F7A"/>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GB" sz="2000" dirty="0"/>
              <a:t>S6</a:t>
            </a:r>
          </a:p>
        </p:txBody>
      </p:sp>
      <p:sp>
        <p:nvSpPr>
          <p:cNvPr id="104" name="Ellipse 58">
            <a:extLst>
              <a:ext uri="{FF2B5EF4-FFF2-40B4-BE49-F238E27FC236}">
                <a16:creationId xmlns:a16="http://schemas.microsoft.com/office/drawing/2014/main" id="{75EB9DBA-1838-0502-1A97-600E52FFD448}"/>
              </a:ext>
            </a:extLst>
          </p:cNvPr>
          <p:cNvSpPr/>
          <p:nvPr/>
        </p:nvSpPr>
        <p:spPr>
          <a:xfrm>
            <a:off x="6227494" y="4924459"/>
            <a:ext cx="953939" cy="933928"/>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GB" sz="2000" dirty="0"/>
              <a:t>S4</a:t>
            </a:r>
          </a:p>
        </p:txBody>
      </p:sp>
      <p:cxnSp>
        <p:nvCxnSpPr>
          <p:cNvPr id="105" name="Gerade Verbindung mit Pfeil 4">
            <a:extLst>
              <a:ext uri="{FF2B5EF4-FFF2-40B4-BE49-F238E27FC236}">
                <a16:creationId xmlns:a16="http://schemas.microsoft.com/office/drawing/2014/main" id="{F6E4828D-8011-D4DE-18B6-5BDB96878C75}"/>
              </a:ext>
            </a:extLst>
          </p:cNvPr>
          <p:cNvCxnSpPr>
            <a:cxnSpLocks/>
          </p:cNvCxnSpPr>
          <p:nvPr/>
        </p:nvCxnSpPr>
        <p:spPr>
          <a:xfrm flipH="1">
            <a:off x="8220176" y="3600877"/>
            <a:ext cx="154375" cy="212760"/>
          </a:xfrm>
          <a:prstGeom prst="straightConnector1">
            <a:avLst/>
          </a:prstGeom>
          <a:ln w="57150">
            <a:solidFill>
              <a:srgbClr val="083553"/>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Gerade Verbindung mit Pfeil 62">
            <a:extLst>
              <a:ext uri="{FF2B5EF4-FFF2-40B4-BE49-F238E27FC236}">
                <a16:creationId xmlns:a16="http://schemas.microsoft.com/office/drawing/2014/main" id="{1B7D7DFD-882B-3824-326F-4189AEAC273D}"/>
              </a:ext>
            </a:extLst>
          </p:cNvPr>
          <p:cNvCxnSpPr>
            <a:cxnSpLocks/>
          </p:cNvCxnSpPr>
          <p:nvPr/>
        </p:nvCxnSpPr>
        <p:spPr>
          <a:xfrm flipH="1" flipV="1">
            <a:off x="6479284" y="3787444"/>
            <a:ext cx="165051" cy="1137015"/>
          </a:xfrm>
          <a:prstGeom prst="straightConnector1">
            <a:avLst/>
          </a:prstGeom>
          <a:ln w="57150">
            <a:solidFill>
              <a:srgbClr val="08355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07282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BE35480-22C0-2888-26A8-A87F83BC5F8A}"/>
              </a:ext>
            </a:extLst>
          </p:cNvPr>
          <p:cNvSpPr>
            <a:spLocks noGrp="1"/>
          </p:cNvSpPr>
          <p:nvPr>
            <p:ph type="body" sz="quarter" idx="17"/>
          </p:nvPr>
        </p:nvSpPr>
        <p:spPr/>
        <p:txBody>
          <a:bodyPr/>
          <a:lstStyle/>
          <a:p>
            <a:pPr algn="l" rtl="0"/>
            <a:r>
              <a:rPr lang="en-US" dirty="0"/>
              <a:t>01</a:t>
            </a:r>
          </a:p>
        </p:txBody>
      </p:sp>
      <p:sp>
        <p:nvSpPr>
          <p:cNvPr id="6" name="Text Placeholder 1">
            <a:extLst>
              <a:ext uri="{FF2B5EF4-FFF2-40B4-BE49-F238E27FC236}">
                <a16:creationId xmlns:a16="http://schemas.microsoft.com/office/drawing/2014/main" id="{20FB6E2B-CA79-2D36-9C1C-2A33E3ADD39F}"/>
              </a:ext>
            </a:extLst>
          </p:cNvPr>
          <p:cNvSpPr txBox="1">
            <a:spLocks/>
          </p:cNvSpPr>
          <p:nvPr/>
        </p:nvSpPr>
        <p:spPr>
          <a:xfrm>
            <a:off x="2149154" y="2234382"/>
            <a:ext cx="4231981" cy="2138516"/>
          </a:xfrm>
          <a:prstGeom prst="rect">
            <a:avLst/>
          </a:prstGeom>
        </p:spPr>
        <p:txBody>
          <a:bodyPr vert="horz" lIns="91440" tIns="45720" rIns="91440" bIns="45720" rtlCol="0">
            <a:noAutofit/>
          </a:bodyPr>
          <a:lstStyle>
            <a:lvl1pPr marL="0" indent="0" algn="l" defTabSz="914400" rtl="0" eaLnBrk="1" latinLnBrk="0" hangingPunct="1">
              <a:lnSpc>
                <a:spcPts val="4860"/>
              </a:lnSpc>
              <a:spcBef>
                <a:spcPts val="0"/>
              </a:spcBef>
              <a:buFont typeface="Arial" panose="020B0604020202020204" pitchFamily="34" charset="0"/>
              <a:buNone/>
              <a:defRPr sz="4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60"/>
              </a:lnSpc>
              <a:buClr>
                <a:srgbClr val="EDA13E"/>
              </a:buClr>
            </a:pPr>
            <a:r>
              <a:rPr lang="en-US" sz="2200" dirty="0">
                <a:latin typeface="Calibri" panose="020F0502020204030204" pitchFamily="34" charset="0"/>
                <a:cs typeface="Calibri" panose="020F0502020204030204" pitchFamily="34" charset="0"/>
              </a:rPr>
              <a:t>Las habilidades para manejar una crisis</a:t>
            </a:r>
          </a:p>
          <a:p>
            <a:pPr marL="407988" indent="-407988" algn="l" rtl="0">
              <a:lnSpc>
                <a:spcPts val="2260"/>
              </a:lnSpc>
              <a:buClr>
                <a:srgbClr val="EDA13E"/>
              </a:buClr>
              <a:buFont typeface="Arial" panose="020B0604020202020204" pitchFamily="34" charset="0"/>
              <a:buChar char="•"/>
            </a:pPr>
            <a:r>
              <a:rPr lang="en-US" sz="2200" dirty="0">
                <a:latin typeface="Calibri" panose="020F0502020204030204" pitchFamily="34" charset="0"/>
                <a:cs typeface="Calibri" panose="020F0502020204030204" pitchFamily="34" charset="0"/>
              </a:rPr>
              <a:t>Pensamiento crítico</a:t>
            </a:r>
          </a:p>
          <a:p>
            <a:pPr marL="407988" indent="-407988" algn="l" rtl="0">
              <a:lnSpc>
                <a:spcPts val="2260"/>
              </a:lnSpc>
              <a:buClr>
                <a:srgbClr val="EDA13E"/>
              </a:buClr>
              <a:buFont typeface="Arial" panose="020B0604020202020204" pitchFamily="34" charset="0"/>
              <a:buChar char="•"/>
            </a:pPr>
            <a:r>
              <a:rPr lang="en-US" sz="2200" dirty="0">
                <a:latin typeface="Calibri" panose="020F0502020204030204" pitchFamily="34" charset="0"/>
                <a:cs typeface="Calibri" panose="020F0502020204030204" pitchFamily="34" charset="0"/>
              </a:rPr>
              <a:t>Comprender el liderazgo adaptativo</a:t>
            </a:r>
          </a:p>
          <a:p>
            <a:pPr marL="407988" indent="-407988" algn="l" rtl="0">
              <a:lnSpc>
                <a:spcPts val="2260"/>
              </a:lnSpc>
              <a:buClr>
                <a:srgbClr val="EDA13E"/>
              </a:buClr>
              <a:buFont typeface="Arial" panose="020B0604020202020204" pitchFamily="34" charset="0"/>
              <a:buChar char="•"/>
            </a:pPr>
            <a:r>
              <a:rPr lang="en-US" sz="2200" dirty="0">
                <a:latin typeface="Calibri" panose="020F0502020204030204" pitchFamily="34" charset="0"/>
                <a:cs typeface="Calibri" panose="020F0502020204030204" pitchFamily="34" charset="0"/>
              </a:rPr>
              <a:t>Trabajo en equipo</a:t>
            </a:r>
          </a:p>
          <a:p>
            <a:pPr algn="l" rtl="0">
              <a:lnSpc>
                <a:spcPts val="2260"/>
              </a:lnSpc>
              <a:buClr>
                <a:srgbClr val="EDA13E"/>
              </a:buClr>
            </a:pPr>
            <a:br>
              <a:rPr lang="en-US" sz="2200" dirty="0">
                <a:latin typeface="Calibri" panose="020F0502020204030204" pitchFamily="34" charset="0"/>
                <a:cs typeface="Calibri" panose="020F0502020204030204" pitchFamily="34" charset="0"/>
              </a:rPr>
            </a:br>
            <a:br>
              <a:rPr lang="en-US" sz="2200" dirty="0">
                <a:latin typeface="Calibri" panose="020F0502020204030204" pitchFamily="34" charset="0"/>
                <a:cs typeface="Calibri" panose="020F0502020204030204" pitchFamily="34" charset="0"/>
              </a:rPr>
            </a:br>
            <a:endParaRPr lang="en-US" sz="2200" dirty="0"/>
          </a:p>
          <a:p>
            <a:pPr marL="407988" indent="-407988" algn="l" rtl="0">
              <a:lnSpc>
                <a:spcPts val="2260"/>
              </a:lnSpc>
              <a:buClr>
                <a:srgbClr val="EDA13E"/>
              </a:buClr>
              <a:buFont typeface="Arial" panose="020B0604020202020204" pitchFamily="34" charset="0"/>
              <a:buChar char="•"/>
            </a:pPr>
            <a:endParaRPr lang="en-US" sz="2200" dirty="0"/>
          </a:p>
        </p:txBody>
      </p:sp>
      <p:sp>
        <p:nvSpPr>
          <p:cNvPr id="8" name="Text Placeholder 7">
            <a:extLst>
              <a:ext uri="{FF2B5EF4-FFF2-40B4-BE49-F238E27FC236}">
                <a16:creationId xmlns:a16="http://schemas.microsoft.com/office/drawing/2014/main" id="{0747E47D-5983-7B56-E09A-E880094FA48E}"/>
              </a:ext>
            </a:extLst>
          </p:cNvPr>
          <p:cNvSpPr>
            <a:spLocks noGrp="1"/>
          </p:cNvSpPr>
          <p:nvPr>
            <p:ph type="body" sz="quarter" idx="16"/>
          </p:nvPr>
        </p:nvSpPr>
        <p:spPr>
          <a:xfrm>
            <a:off x="2149154" y="1379072"/>
            <a:ext cx="4561362" cy="1924568"/>
          </a:xfrm>
        </p:spPr>
        <p:txBody>
          <a:bodyPr>
            <a:normAutofit fontScale="85000" lnSpcReduction="10000"/>
          </a:bodyPr>
          <a:lstStyle/>
          <a:p>
            <a:pPr algn="l" rtl="0"/>
            <a:r>
              <a:rPr lang="en-US" dirty="0"/>
              <a:t>Cultura de liderazgo:</a:t>
            </a:r>
            <a:br>
              <a:rPr lang="en-US" dirty="0"/>
            </a:br>
            <a:endParaRPr lang="en-US" dirty="0"/>
          </a:p>
          <a:p>
            <a:pPr algn="l" rtl="0"/>
            <a:endParaRPr lang="en-US" dirty="0"/>
          </a:p>
        </p:txBody>
      </p:sp>
    </p:spTree>
    <p:extLst>
      <p:ext uri="{BB962C8B-B14F-4D97-AF65-F5344CB8AC3E}">
        <p14:creationId xmlns:p14="http://schemas.microsoft.com/office/powerpoint/2010/main" val="39148309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AF261C4E-DB3C-720A-45F5-08A040502D2B}"/>
              </a:ext>
            </a:extLst>
          </p:cNvPr>
          <p:cNvSpPr txBox="1">
            <a:spLocks/>
          </p:cNvSpPr>
          <p:nvPr/>
        </p:nvSpPr>
        <p:spPr>
          <a:xfrm>
            <a:off x="2393004" y="2700527"/>
            <a:ext cx="4235894" cy="3833009"/>
          </a:xfrm>
          <a:prstGeom prst="rect">
            <a:avLst/>
          </a:prstGeom>
        </p:spPr>
        <p:txBody>
          <a:bodyPr vert="horz" lIns="91440" tIns="45720" rIns="91440" bIns="45720" rtlCol="0">
            <a:normAutofit/>
          </a:bodyPr>
          <a:lstStyle>
            <a:lvl1pPr marL="0" indent="0" algn="l" defTabSz="914400" rtl="0" eaLnBrk="1" latinLnBrk="0" hangingPunct="1">
              <a:lnSpc>
                <a:spcPts val="4860"/>
              </a:lnSpc>
              <a:spcBef>
                <a:spcPts val="0"/>
              </a:spcBef>
              <a:buFont typeface="Arial" panose="020B0604020202020204" pitchFamily="34" charset="0"/>
              <a:buNone/>
              <a:defRPr sz="4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60"/>
              </a:lnSpc>
            </a:pPr>
            <a:r>
              <a:rPr lang="en-US" sz="2200" dirty="0"/>
              <a:t>Si no puedes comunicarte, no puedes recuperarte.</a:t>
            </a:r>
          </a:p>
          <a:p>
            <a:pPr algn="l" rtl="0">
              <a:lnSpc>
                <a:spcPts val="2260"/>
              </a:lnSpc>
            </a:pPr>
            <a:endParaRPr lang="en-US" sz="2200" dirty="0"/>
          </a:p>
          <a:p>
            <a:pPr marL="363538" indent="-363538" algn="l" rtl="0">
              <a:lnSpc>
                <a:spcPts val="2260"/>
              </a:lnSpc>
              <a:buFont typeface="Arial" panose="020B0604020202020204" pitchFamily="34" charset="0"/>
              <a:buChar char="•"/>
            </a:pPr>
            <a:r>
              <a:rPr lang="en-US" sz="2200" dirty="0"/>
              <a:t>Comunicaciones de deber de diligencia</a:t>
            </a:r>
          </a:p>
          <a:p>
            <a:pPr marL="363538" indent="-363538" algn="l" rtl="0">
              <a:lnSpc>
                <a:spcPts val="2260"/>
              </a:lnSpc>
              <a:buFont typeface="Arial" panose="020B0604020202020204" pitchFamily="34" charset="0"/>
              <a:buChar char="•"/>
            </a:pPr>
            <a:r>
              <a:rPr lang="en-US" sz="2200" dirty="0"/>
              <a:t>Controlando la narrativa</a:t>
            </a:r>
          </a:p>
          <a:p>
            <a:pPr algn="l" rtl="0">
              <a:lnSpc>
                <a:spcPts val="2260"/>
              </a:lnSpc>
            </a:pPr>
            <a:endParaRPr lang="en-US" sz="2200" dirty="0"/>
          </a:p>
        </p:txBody>
      </p:sp>
      <p:sp>
        <p:nvSpPr>
          <p:cNvPr id="6" name="Text Placeholder 5">
            <a:extLst>
              <a:ext uri="{FF2B5EF4-FFF2-40B4-BE49-F238E27FC236}">
                <a16:creationId xmlns:a16="http://schemas.microsoft.com/office/drawing/2014/main" id="{A0B16E9D-A2CC-9691-FAEE-6B2447670D92}"/>
              </a:ext>
            </a:extLst>
          </p:cNvPr>
          <p:cNvSpPr>
            <a:spLocks noGrp="1"/>
          </p:cNvSpPr>
          <p:nvPr>
            <p:ph type="body" sz="quarter" idx="17"/>
          </p:nvPr>
        </p:nvSpPr>
        <p:spPr/>
        <p:txBody>
          <a:bodyPr/>
          <a:lstStyle/>
          <a:p>
            <a:pPr algn="l" rtl="0"/>
            <a:r>
              <a:rPr lang="en-US" dirty="0"/>
              <a:t>03</a:t>
            </a:r>
          </a:p>
        </p:txBody>
      </p:sp>
      <p:sp>
        <p:nvSpPr>
          <p:cNvPr id="8" name="Text Placeholder 7">
            <a:extLst>
              <a:ext uri="{FF2B5EF4-FFF2-40B4-BE49-F238E27FC236}">
                <a16:creationId xmlns:a16="http://schemas.microsoft.com/office/drawing/2014/main" id="{643DDF24-9074-5912-521E-4097ECBB50FC}"/>
              </a:ext>
            </a:extLst>
          </p:cNvPr>
          <p:cNvSpPr>
            <a:spLocks noGrp="1"/>
          </p:cNvSpPr>
          <p:nvPr>
            <p:ph type="body" sz="quarter" idx="16"/>
          </p:nvPr>
        </p:nvSpPr>
        <p:spPr>
          <a:xfrm>
            <a:off x="2149154" y="1379072"/>
            <a:ext cx="4723594" cy="1187148"/>
          </a:xfrm>
        </p:spPr>
        <p:txBody>
          <a:bodyPr/>
          <a:lstStyle/>
          <a:p>
            <a:pPr algn="l" rtl="0"/>
            <a:r>
              <a:rPr lang="en-US" dirty="0"/>
              <a:t>Comunicaciones:</a:t>
            </a:r>
          </a:p>
        </p:txBody>
      </p:sp>
    </p:spTree>
    <p:extLst>
      <p:ext uri="{BB962C8B-B14F-4D97-AF65-F5344CB8AC3E}">
        <p14:creationId xmlns:p14="http://schemas.microsoft.com/office/powerpoint/2010/main" val="1619396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2"/>
            <a:ext cx="3410380" cy="6463521"/>
          </a:xfrm>
        </p:spPr>
        <p:txBody>
          <a:bodyPr>
            <a:normAutofit lnSpcReduction="10000"/>
          </a:bodyPr>
          <a:lstStyle/>
          <a:p>
            <a:pPr algn="l" rtl="0"/>
            <a:r>
              <a:rPr lang="en-GB" dirty="0">
                <a:solidFill>
                  <a:schemeClr val="bg1"/>
                </a:solidFill>
              </a:rPr>
              <a:t>Propósito de la comunicación con las partes interesadas en situaciones de crisis</a:t>
            </a:r>
          </a:p>
          <a:p>
            <a:pPr algn="l" rtl="0"/>
            <a:endParaRPr lang="en-GB" dirty="0">
              <a:solidFill>
                <a:schemeClr val="bg1"/>
              </a:solidFill>
            </a:endParaRPr>
          </a:p>
          <a:p>
            <a:pPr algn="l" rtl="0"/>
            <a:endParaRPr lang="en-GB" dirty="0">
              <a:solidFill>
                <a:schemeClr val="bg1"/>
              </a:solidFill>
            </a:endParaRPr>
          </a:p>
          <a:p>
            <a:pPr algn="l" rtl="0">
              <a:lnSpc>
                <a:spcPts val="2260"/>
              </a:lnSpc>
              <a:spcBef>
                <a:spcPts val="0"/>
              </a:spcBef>
            </a:pPr>
            <a:r>
              <a:rPr lang="en-GB" sz="2400" b="1" dirty="0">
                <a:solidFill>
                  <a:schemeClr val="bg1"/>
                </a:solidFill>
              </a:rPr>
              <a:t>Partes interesadas</a:t>
            </a:r>
          </a:p>
          <a:p>
            <a:pPr algn="l" rtl="0">
              <a:lnSpc>
                <a:spcPts val="2260"/>
              </a:lnSpc>
              <a:spcBef>
                <a:spcPts val="0"/>
              </a:spcBef>
            </a:pPr>
            <a:r>
              <a:rPr lang="en-GB" sz="2400" dirty="0">
                <a:solidFill>
                  <a:schemeClr val="bg1"/>
                </a:solidFill>
              </a:rPr>
              <a:t>= todos los grupos dentro y fuera de la organización,</a:t>
            </a:r>
          </a:p>
          <a:p>
            <a:pPr algn="l" rtl="0">
              <a:lnSpc>
                <a:spcPts val="2260"/>
              </a:lnSpc>
              <a:spcBef>
                <a:spcPts val="0"/>
              </a:spcBef>
            </a:pPr>
            <a:r>
              <a:rPr lang="en-GB" sz="2400" dirty="0">
                <a:solidFill>
                  <a:schemeClr val="bg1"/>
                </a:solidFill>
              </a:rPr>
              <a:t>que influyen en el desempeño y el logro de las metas de la organización con lo que hacen</a:t>
            </a:r>
          </a:p>
          <a:p>
            <a:pPr algn="l" rtl="0"/>
            <a:endParaRPr lang="en-GB" dirty="0">
              <a:solidFill>
                <a:schemeClr val="bg1"/>
              </a:solidFill>
            </a:endParaRPr>
          </a:p>
        </p:txBody>
      </p:sp>
      <p:sp>
        <p:nvSpPr>
          <p:cNvPr id="8" name="Rectangle 7">
            <a:extLst>
              <a:ext uri="{FF2B5EF4-FFF2-40B4-BE49-F238E27FC236}">
                <a16:creationId xmlns:a16="http://schemas.microsoft.com/office/drawing/2014/main" id="{14F9744D-3107-97CB-5B61-61E5B24B2E44}"/>
              </a:ext>
            </a:extLst>
          </p:cNvPr>
          <p:cNvSpPr/>
          <p:nvPr/>
        </p:nvSpPr>
        <p:spPr>
          <a:xfrm>
            <a:off x="524792" y="2893062"/>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Calibri" panose="020F0502020204030204" pitchFamily="34" charset="0"/>
              <a:cs typeface="Calibri" panose="020F0502020204030204" pitchFamily="34" charset="0"/>
            </a:endParaRPr>
          </a:p>
        </p:txBody>
      </p:sp>
      <p:cxnSp>
        <p:nvCxnSpPr>
          <p:cNvPr id="3" name="Straight Arrow Connector 24">
            <a:extLst>
              <a:ext uri="{FF2B5EF4-FFF2-40B4-BE49-F238E27FC236}">
                <a16:creationId xmlns:a16="http://schemas.microsoft.com/office/drawing/2014/main" id="{5C25294F-D0A1-CD65-D827-9475A3F827D7}"/>
              </a:ext>
            </a:extLst>
          </p:cNvPr>
          <p:cNvCxnSpPr>
            <a:cxnSpLocks/>
          </p:cNvCxnSpPr>
          <p:nvPr/>
        </p:nvCxnSpPr>
        <p:spPr>
          <a:xfrm flipH="1">
            <a:off x="6664318" y="4624500"/>
            <a:ext cx="1285621" cy="0"/>
          </a:xfrm>
          <a:prstGeom prst="straightConnector1">
            <a:avLst/>
          </a:prstGeom>
          <a:ln w="38100" cap="rnd">
            <a:solidFill>
              <a:srgbClr val="F16924"/>
            </a:solidFill>
            <a:tailEnd type="oval"/>
          </a:ln>
        </p:spPr>
        <p:style>
          <a:lnRef idx="1">
            <a:schemeClr val="accent1"/>
          </a:lnRef>
          <a:fillRef idx="0">
            <a:schemeClr val="accent1"/>
          </a:fillRef>
          <a:effectRef idx="0">
            <a:schemeClr val="accent1"/>
          </a:effectRef>
          <a:fontRef idx="minor">
            <a:schemeClr val="tx1"/>
          </a:fontRef>
        </p:style>
      </p:cxnSp>
      <p:cxnSp>
        <p:nvCxnSpPr>
          <p:cNvPr id="4" name="Straight Arrow Connector 25">
            <a:extLst>
              <a:ext uri="{FF2B5EF4-FFF2-40B4-BE49-F238E27FC236}">
                <a16:creationId xmlns:a16="http://schemas.microsoft.com/office/drawing/2014/main" id="{48937EDA-1EBE-9AAA-4847-7CE6A1E677C2}"/>
              </a:ext>
            </a:extLst>
          </p:cNvPr>
          <p:cNvCxnSpPr>
            <a:cxnSpLocks/>
          </p:cNvCxnSpPr>
          <p:nvPr/>
        </p:nvCxnSpPr>
        <p:spPr>
          <a:xfrm flipH="1">
            <a:off x="6664317" y="3754686"/>
            <a:ext cx="1787620" cy="0"/>
          </a:xfrm>
          <a:prstGeom prst="straightConnector1">
            <a:avLst/>
          </a:prstGeom>
          <a:ln w="38100" cap="rnd">
            <a:solidFill>
              <a:srgbClr val="083553"/>
            </a:solidFill>
            <a:tailEnd type="oval"/>
          </a:ln>
        </p:spPr>
        <p:style>
          <a:lnRef idx="1">
            <a:schemeClr val="accent1"/>
          </a:lnRef>
          <a:fillRef idx="0">
            <a:schemeClr val="accent1"/>
          </a:fillRef>
          <a:effectRef idx="0">
            <a:schemeClr val="accent1"/>
          </a:effectRef>
          <a:fontRef idx="minor">
            <a:schemeClr val="tx1"/>
          </a:fontRef>
        </p:style>
      </p:cxnSp>
      <p:cxnSp>
        <p:nvCxnSpPr>
          <p:cNvPr id="5" name="Straight Arrow Connector 26">
            <a:extLst>
              <a:ext uri="{FF2B5EF4-FFF2-40B4-BE49-F238E27FC236}">
                <a16:creationId xmlns:a16="http://schemas.microsoft.com/office/drawing/2014/main" id="{BF04BA93-C6F2-51A8-C24C-32BD259B9346}"/>
              </a:ext>
            </a:extLst>
          </p:cNvPr>
          <p:cNvCxnSpPr>
            <a:cxnSpLocks/>
          </p:cNvCxnSpPr>
          <p:nvPr/>
        </p:nvCxnSpPr>
        <p:spPr>
          <a:xfrm flipH="1">
            <a:off x="6664318" y="2888465"/>
            <a:ext cx="2286025" cy="0"/>
          </a:xfrm>
          <a:prstGeom prst="straightConnector1">
            <a:avLst/>
          </a:prstGeom>
          <a:ln w="38100" cap="rnd">
            <a:solidFill>
              <a:srgbClr val="B41F7A"/>
            </a:solidFill>
            <a:tailEnd type="oval"/>
          </a:ln>
        </p:spPr>
        <p:style>
          <a:lnRef idx="1">
            <a:schemeClr val="accent1"/>
          </a:lnRef>
          <a:fillRef idx="0">
            <a:schemeClr val="accent1"/>
          </a:fillRef>
          <a:effectRef idx="0">
            <a:schemeClr val="accent1"/>
          </a:effectRef>
          <a:fontRef idx="minor">
            <a:schemeClr val="tx1"/>
          </a:fontRef>
        </p:style>
      </p:cxnSp>
      <p:sp>
        <p:nvSpPr>
          <p:cNvPr id="7" name="Freeform 12">
            <a:extLst>
              <a:ext uri="{FF2B5EF4-FFF2-40B4-BE49-F238E27FC236}">
                <a16:creationId xmlns:a16="http://schemas.microsoft.com/office/drawing/2014/main" id="{CCB93CE6-D43A-BCAB-EC52-B62AF125AD8C}"/>
              </a:ext>
            </a:extLst>
          </p:cNvPr>
          <p:cNvSpPr>
            <a:spLocks/>
          </p:cNvSpPr>
          <p:nvPr/>
        </p:nvSpPr>
        <p:spPr bwMode="auto">
          <a:xfrm>
            <a:off x="7204504" y="4624500"/>
            <a:ext cx="1001603" cy="866218"/>
          </a:xfrm>
          <a:custGeom>
            <a:avLst/>
            <a:gdLst>
              <a:gd name="T0" fmla="*/ 419 w 836"/>
              <a:gd name="T1" fmla="*/ 723 h 723"/>
              <a:gd name="T2" fmla="*/ 0 w 836"/>
              <a:gd name="T3" fmla="*/ 0 h 723"/>
              <a:gd name="T4" fmla="*/ 836 w 836"/>
              <a:gd name="T5" fmla="*/ 0 h 723"/>
              <a:gd name="T6" fmla="*/ 419 w 836"/>
              <a:gd name="T7" fmla="*/ 723 h 723"/>
              <a:gd name="T8" fmla="*/ 419 w 836"/>
              <a:gd name="T9" fmla="*/ 723 h 723"/>
            </a:gdLst>
            <a:ahLst/>
            <a:cxnLst>
              <a:cxn ang="0">
                <a:pos x="T0" y="T1"/>
              </a:cxn>
              <a:cxn ang="0">
                <a:pos x="T2" y="T3"/>
              </a:cxn>
              <a:cxn ang="0">
                <a:pos x="T4" y="T5"/>
              </a:cxn>
              <a:cxn ang="0">
                <a:pos x="T6" y="T7"/>
              </a:cxn>
              <a:cxn ang="0">
                <a:pos x="T8" y="T9"/>
              </a:cxn>
            </a:cxnLst>
            <a:rect l="0" t="0" r="r" b="b"/>
            <a:pathLst>
              <a:path w="836" h="723">
                <a:moveTo>
                  <a:pt x="419" y="723"/>
                </a:moveTo>
                <a:lnTo>
                  <a:pt x="0" y="0"/>
                </a:lnTo>
                <a:lnTo>
                  <a:pt x="836" y="0"/>
                </a:lnTo>
                <a:lnTo>
                  <a:pt x="419" y="723"/>
                </a:lnTo>
                <a:lnTo>
                  <a:pt x="419" y="723"/>
                </a:lnTo>
                <a:close/>
              </a:path>
            </a:pathLst>
          </a:custGeom>
          <a:solidFill>
            <a:srgbClr val="F16924"/>
          </a:solidFill>
          <a:ln>
            <a:noFill/>
          </a:ln>
        </p:spPr>
        <p:txBody>
          <a:bodyPr vert="horz" wrap="square" lIns="68580" tIns="34290" rIns="68580" bIns="34290" numCol="1" anchor="t" anchorCtr="0" compatLnSpc="1">
            <a:prstTxWarp prst="textNoShape">
              <a:avLst/>
            </a:prstTxWarp>
          </a:bodyPr>
          <a:lstStyle/>
          <a:p>
            <a:pPr algn="l" rtl="0"/>
            <a:endParaRPr lang="en-GB" sz="2700" u="sng" dirty="0"/>
          </a:p>
        </p:txBody>
      </p:sp>
      <p:sp>
        <p:nvSpPr>
          <p:cNvPr id="9" name="Freeform 10">
            <a:extLst>
              <a:ext uri="{FF2B5EF4-FFF2-40B4-BE49-F238E27FC236}">
                <a16:creationId xmlns:a16="http://schemas.microsoft.com/office/drawing/2014/main" id="{F805B9AF-4BBD-BE70-B0A3-040C648409EC}"/>
              </a:ext>
            </a:extLst>
          </p:cNvPr>
          <p:cNvSpPr>
            <a:spLocks/>
          </p:cNvSpPr>
          <p:nvPr/>
        </p:nvSpPr>
        <p:spPr bwMode="auto">
          <a:xfrm>
            <a:off x="8206106" y="4624500"/>
            <a:ext cx="999207" cy="866218"/>
          </a:xfrm>
          <a:custGeom>
            <a:avLst/>
            <a:gdLst>
              <a:gd name="T0" fmla="*/ 417 w 834"/>
              <a:gd name="T1" fmla="*/ 723 h 723"/>
              <a:gd name="T2" fmla="*/ 0 w 834"/>
              <a:gd name="T3" fmla="*/ 0 h 723"/>
              <a:gd name="T4" fmla="*/ 834 w 834"/>
              <a:gd name="T5" fmla="*/ 0 h 723"/>
              <a:gd name="T6" fmla="*/ 417 w 834"/>
              <a:gd name="T7" fmla="*/ 723 h 723"/>
              <a:gd name="T8" fmla="*/ 417 w 834"/>
              <a:gd name="T9" fmla="*/ 723 h 723"/>
            </a:gdLst>
            <a:ahLst/>
            <a:cxnLst>
              <a:cxn ang="0">
                <a:pos x="T0" y="T1"/>
              </a:cxn>
              <a:cxn ang="0">
                <a:pos x="T2" y="T3"/>
              </a:cxn>
              <a:cxn ang="0">
                <a:pos x="T4" y="T5"/>
              </a:cxn>
              <a:cxn ang="0">
                <a:pos x="T6" y="T7"/>
              </a:cxn>
              <a:cxn ang="0">
                <a:pos x="T8" y="T9"/>
              </a:cxn>
            </a:cxnLst>
            <a:rect l="0" t="0" r="r" b="b"/>
            <a:pathLst>
              <a:path w="834" h="723">
                <a:moveTo>
                  <a:pt x="417" y="723"/>
                </a:moveTo>
                <a:lnTo>
                  <a:pt x="0" y="0"/>
                </a:lnTo>
                <a:lnTo>
                  <a:pt x="834" y="0"/>
                </a:lnTo>
                <a:lnTo>
                  <a:pt x="417" y="723"/>
                </a:lnTo>
                <a:lnTo>
                  <a:pt x="417" y="723"/>
                </a:lnTo>
                <a:close/>
              </a:path>
            </a:pathLst>
          </a:custGeom>
          <a:solidFill>
            <a:srgbClr val="122E45"/>
          </a:solidFill>
          <a:ln>
            <a:noFill/>
          </a:ln>
        </p:spPr>
        <p:txBody>
          <a:bodyPr vert="horz" wrap="square" lIns="68580" tIns="34290" rIns="68580" bIns="34290" numCol="1" anchor="t" anchorCtr="0" compatLnSpc="1">
            <a:prstTxWarp prst="textNoShape">
              <a:avLst/>
            </a:prstTxWarp>
          </a:bodyPr>
          <a:lstStyle/>
          <a:p>
            <a:pPr algn="l" rtl="0"/>
            <a:endParaRPr lang="en-GB" sz="2700" dirty="0"/>
          </a:p>
        </p:txBody>
      </p:sp>
      <p:sp>
        <p:nvSpPr>
          <p:cNvPr id="10" name="Freeform 6">
            <a:extLst>
              <a:ext uri="{FF2B5EF4-FFF2-40B4-BE49-F238E27FC236}">
                <a16:creationId xmlns:a16="http://schemas.microsoft.com/office/drawing/2014/main" id="{261C27E3-72B5-FC8B-160A-69D557B753D6}"/>
              </a:ext>
            </a:extLst>
          </p:cNvPr>
          <p:cNvSpPr>
            <a:spLocks/>
          </p:cNvSpPr>
          <p:nvPr/>
        </p:nvSpPr>
        <p:spPr bwMode="auto">
          <a:xfrm>
            <a:off x="7706503" y="2888468"/>
            <a:ext cx="999207" cy="866219"/>
          </a:xfrm>
          <a:custGeom>
            <a:avLst/>
            <a:gdLst>
              <a:gd name="T0" fmla="*/ 417 w 834"/>
              <a:gd name="T1" fmla="*/ 0 h 723"/>
              <a:gd name="T2" fmla="*/ 0 w 834"/>
              <a:gd name="T3" fmla="*/ 723 h 723"/>
              <a:gd name="T4" fmla="*/ 834 w 834"/>
              <a:gd name="T5" fmla="*/ 723 h 723"/>
              <a:gd name="T6" fmla="*/ 417 w 834"/>
              <a:gd name="T7" fmla="*/ 0 h 723"/>
              <a:gd name="T8" fmla="*/ 417 w 834"/>
              <a:gd name="T9" fmla="*/ 0 h 723"/>
            </a:gdLst>
            <a:ahLst/>
            <a:cxnLst>
              <a:cxn ang="0">
                <a:pos x="T0" y="T1"/>
              </a:cxn>
              <a:cxn ang="0">
                <a:pos x="T2" y="T3"/>
              </a:cxn>
              <a:cxn ang="0">
                <a:pos x="T4" y="T5"/>
              </a:cxn>
              <a:cxn ang="0">
                <a:pos x="T6" y="T7"/>
              </a:cxn>
              <a:cxn ang="0">
                <a:pos x="T8" y="T9"/>
              </a:cxn>
            </a:cxnLst>
            <a:rect l="0" t="0" r="r" b="b"/>
            <a:pathLst>
              <a:path w="834" h="723">
                <a:moveTo>
                  <a:pt x="417" y="0"/>
                </a:moveTo>
                <a:lnTo>
                  <a:pt x="0" y="723"/>
                </a:lnTo>
                <a:lnTo>
                  <a:pt x="834" y="723"/>
                </a:lnTo>
                <a:lnTo>
                  <a:pt x="417" y="0"/>
                </a:lnTo>
                <a:lnTo>
                  <a:pt x="417" y="0"/>
                </a:lnTo>
                <a:close/>
              </a:path>
            </a:pathLst>
          </a:custGeom>
          <a:solidFill>
            <a:srgbClr val="083553"/>
          </a:solidFill>
          <a:ln>
            <a:noFill/>
          </a:ln>
        </p:spPr>
        <p:txBody>
          <a:bodyPr vert="horz" wrap="square" lIns="68580" tIns="34290" rIns="68580" bIns="34290" numCol="1" anchor="t" anchorCtr="0" compatLnSpc="1">
            <a:prstTxWarp prst="textNoShape">
              <a:avLst/>
            </a:prstTxWarp>
          </a:bodyPr>
          <a:lstStyle/>
          <a:p>
            <a:pPr algn="l" rtl="0"/>
            <a:endParaRPr lang="en-GB" sz="2700" dirty="0"/>
          </a:p>
        </p:txBody>
      </p:sp>
      <p:sp>
        <p:nvSpPr>
          <p:cNvPr id="11" name="Freeform 7">
            <a:extLst>
              <a:ext uri="{FF2B5EF4-FFF2-40B4-BE49-F238E27FC236}">
                <a16:creationId xmlns:a16="http://schemas.microsoft.com/office/drawing/2014/main" id="{770E4907-7092-9B63-7FE6-9C244B0CA4D4}"/>
              </a:ext>
            </a:extLst>
          </p:cNvPr>
          <p:cNvSpPr>
            <a:spLocks/>
          </p:cNvSpPr>
          <p:nvPr/>
        </p:nvSpPr>
        <p:spPr bwMode="auto">
          <a:xfrm>
            <a:off x="7706503" y="3754688"/>
            <a:ext cx="999207" cy="869813"/>
          </a:xfrm>
          <a:custGeom>
            <a:avLst/>
            <a:gdLst>
              <a:gd name="T0" fmla="*/ 417 w 834"/>
              <a:gd name="T1" fmla="*/ 726 h 726"/>
              <a:gd name="T2" fmla="*/ 0 w 834"/>
              <a:gd name="T3" fmla="*/ 0 h 726"/>
              <a:gd name="T4" fmla="*/ 834 w 834"/>
              <a:gd name="T5" fmla="*/ 0 h 726"/>
              <a:gd name="T6" fmla="*/ 417 w 834"/>
              <a:gd name="T7" fmla="*/ 726 h 726"/>
              <a:gd name="T8" fmla="*/ 417 w 834"/>
              <a:gd name="T9" fmla="*/ 726 h 726"/>
            </a:gdLst>
            <a:ahLst/>
            <a:cxnLst>
              <a:cxn ang="0">
                <a:pos x="T0" y="T1"/>
              </a:cxn>
              <a:cxn ang="0">
                <a:pos x="T2" y="T3"/>
              </a:cxn>
              <a:cxn ang="0">
                <a:pos x="T4" y="T5"/>
              </a:cxn>
              <a:cxn ang="0">
                <a:pos x="T6" y="T7"/>
              </a:cxn>
              <a:cxn ang="0">
                <a:pos x="T8" y="T9"/>
              </a:cxn>
            </a:cxnLst>
            <a:rect l="0" t="0" r="r" b="b"/>
            <a:pathLst>
              <a:path w="834" h="726">
                <a:moveTo>
                  <a:pt x="417" y="726"/>
                </a:moveTo>
                <a:lnTo>
                  <a:pt x="0" y="0"/>
                </a:lnTo>
                <a:lnTo>
                  <a:pt x="834" y="0"/>
                </a:lnTo>
                <a:lnTo>
                  <a:pt x="417" y="726"/>
                </a:lnTo>
                <a:lnTo>
                  <a:pt x="417" y="726"/>
                </a:lnTo>
                <a:close/>
              </a:path>
            </a:pathLst>
          </a:custGeom>
          <a:solidFill>
            <a:srgbClr val="122E45"/>
          </a:solidFill>
          <a:ln>
            <a:noFill/>
          </a:ln>
        </p:spPr>
        <p:txBody>
          <a:bodyPr vert="horz" wrap="square" lIns="68580" tIns="34290" rIns="68580" bIns="34290" numCol="1" anchor="t" anchorCtr="0" compatLnSpc="1">
            <a:prstTxWarp prst="textNoShape">
              <a:avLst/>
            </a:prstTxWarp>
          </a:bodyPr>
          <a:lstStyle/>
          <a:p>
            <a:pPr algn="l" rtl="0"/>
            <a:endParaRPr lang="en-GB" sz="2700" dirty="0"/>
          </a:p>
        </p:txBody>
      </p:sp>
      <p:sp>
        <p:nvSpPr>
          <p:cNvPr id="12" name="Freeform 13">
            <a:extLst>
              <a:ext uri="{FF2B5EF4-FFF2-40B4-BE49-F238E27FC236}">
                <a16:creationId xmlns:a16="http://schemas.microsoft.com/office/drawing/2014/main" id="{C9E9AD93-5795-6D7F-FA02-FB567C068335}"/>
              </a:ext>
            </a:extLst>
          </p:cNvPr>
          <p:cNvSpPr>
            <a:spLocks/>
          </p:cNvSpPr>
          <p:nvPr/>
        </p:nvSpPr>
        <p:spPr bwMode="auto">
          <a:xfrm>
            <a:off x="7204504" y="3754688"/>
            <a:ext cx="1001603" cy="869813"/>
          </a:xfrm>
          <a:custGeom>
            <a:avLst/>
            <a:gdLst>
              <a:gd name="T0" fmla="*/ 419 w 836"/>
              <a:gd name="T1" fmla="*/ 0 h 726"/>
              <a:gd name="T2" fmla="*/ 0 w 836"/>
              <a:gd name="T3" fmla="*/ 726 h 726"/>
              <a:gd name="T4" fmla="*/ 836 w 836"/>
              <a:gd name="T5" fmla="*/ 726 h 726"/>
              <a:gd name="T6" fmla="*/ 419 w 836"/>
              <a:gd name="T7" fmla="*/ 0 h 726"/>
              <a:gd name="T8" fmla="*/ 419 w 836"/>
              <a:gd name="T9" fmla="*/ 0 h 726"/>
            </a:gdLst>
            <a:ahLst/>
            <a:cxnLst>
              <a:cxn ang="0">
                <a:pos x="T0" y="T1"/>
              </a:cxn>
              <a:cxn ang="0">
                <a:pos x="T2" y="T3"/>
              </a:cxn>
              <a:cxn ang="0">
                <a:pos x="T4" y="T5"/>
              </a:cxn>
              <a:cxn ang="0">
                <a:pos x="T6" y="T7"/>
              </a:cxn>
              <a:cxn ang="0">
                <a:pos x="T8" y="T9"/>
              </a:cxn>
            </a:cxnLst>
            <a:rect l="0" t="0" r="r" b="b"/>
            <a:pathLst>
              <a:path w="836" h="726">
                <a:moveTo>
                  <a:pt x="419" y="0"/>
                </a:moveTo>
                <a:lnTo>
                  <a:pt x="0" y="726"/>
                </a:lnTo>
                <a:lnTo>
                  <a:pt x="836" y="726"/>
                </a:lnTo>
                <a:lnTo>
                  <a:pt x="419" y="0"/>
                </a:lnTo>
                <a:lnTo>
                  <a:pt x="419" y="0"/>
                </a:lnTo>
                <a:close/>
              </a:path>
            </a:pathLst>
          </a:custGeom>
          <a:solidFill>
            <a:srgbClr val="EDA13E"/>
          </a:solidFill>
          <a:ln>
            <a:noFill/>
          </a:ln>
        </p:spPr>
        <p:txBody>
          <a:bodyPr vert="horz" wrap="square" lIns="68580" tIns="34290" rIns="68580" bIns="34290" numCol="1" anchor="t" anchorCtr="0" compatLnSpc="1">
            <a:prstTxWarp prst="textNoShape">
              <a:avLst/>
            </a:prstTxWarp>
          </a:bodyPr>
          <a:lstStyle/>
          <a:p>
            <a:pPr algn="l" rtl="0"/>
            <a:endParaRPr lang="en-GB" sz="2700" dirty="0"/>
          </a:p>
        </p:txBody>
      </p:sp>
      <p:sp>
        <p:nvSpPr>
          <p:cNvPr id="13" name="Freeform 7">
            <a:extLst>
              <a:ext uri="{FF2B5EF4-FFF2-40B4-BE49-F238E27FC236}">
                <a16:creationId xmlns:a16="http://schemas.microsoft.com/office/drawing/2014/main" id="{670FB012-37BC-3C97-165C-6FB250879EEA}"/>
              </a:ext>
            </a:extLst>
          </p:cNvPr>
          <p:cNvSpPr>
            <a:spLocks/>
          </p:cNvSpPr>
          <p:nvPr/>
        </p:nvSpPr>
        <p:spPr bwMode="auto">
          <a:xfrm>
            <a:off x="7706503" y="4624500"/>
            <a:ext cx="999207" cy="866218"/>
          </a:xfrm>
          <a:custGeom>
            <a:avLst/>
            <a:gdLst>
              <a:gd name="T0" fmla="*/ 417 w 834"/>
              <a:gd name="T1" fmla="*/ 0 h 723"/>
              <a:gd name="T2" fmla="*/ 0 w 834"/>
              <a:gd name="T3" fmla="*/ 723 h 723"/>
              <a:gd name="T4" fmla="*/ 834 w 834"/>
              <a:gd name="T5" fmla="*/ 723 h 723"/>
              <a:gd name="T6" fmla="*/ 417 w 834"/>
              <a:gd name="T7" fmla="*/ 0 h 723"/>
              <a:gd name="T8" fmla="*/ 417 w 834"/>
              <a:gd name="T9" fmla="*/ 0 h 723"/>
            </a:gdLst>
            <a:ahLst/>
            <a:cxnLst>
              <a:cxn ang="0">
                <a:pos x="T0" y="T1"/>
              </a:cxn>
              <a:cxn ang="0">
                <a:pos x="T2" y="T3"/>
              </a:cxn>
              <a:cxn ang="0">
                <a:pos x="T4" y="T5"/>
              </a:cxn>
              <a:cxn ang="0">
                <a:pos x="T6" y="T7"/>
              </a:cxn>
              <a:cxn ang="0">
                <a:pos x="T8" y="T9"/>
              </a:cxn>
            </a:cxnLst>
            <a:rect l="0" t="0" r="r" b="b"/>
            <a:pathLst>
              <a:path w="834" h="723">
                <a:moveTo>
                  <a:pt x="417" y="0"/>
                </a:moveTo>
                <a:lnTo>
                  <a:pt x="0" y="723"/>
                </a:lnTo>
                <a:lnTo>
                  <a:pt x="834" y="723"/>
                </a:lnTo>
                <a:lnTo>
                  <a:pt x="417" y="0"/>
                </a:lnTo>
                <a:lnTo>
                  <a:pt x="417" y="0"/>
                </a:lnTo>
                <a:close/>
              </a:path>
            </a:pathLst>
          </a:custGeom>
          <a:solidFill>
            <a:srgbClr val="EDA13E"/>
          </a:solidFill>
          <a:ln>
            <a:noFill/>
          </a:ln>
        </p:spPr>
        <p:txBody>
          <a:bodyPr vert="horz" wrap="square" lIns="68580" tIns="34290" rIns="68580" bIns="34290" numCol="1" anchor="t" anchorCtr="0" compatLnSpc="1">
            <a:prstTxWarp prst="textNoShape">
              <a:avLst/>
            </a:prstTxWarp>
          </a:bodyPr>
          <a:lstStyle/>
          <a:p>
            <a:pPr algn="l" rtl="0"/>
            <a:endParaRPr lang="en-GB" sz="2700" dirty="0"/>
          </a:p>
        </p:txBody>
      </p:sp>
      <p:sp>
        <p:nvSpPr>
          <p:cNvPr id="14" name="Freeform 10">
            <a:extLst>
              <a:ext uri="{FF2B5EF4-FFF2-40B4-BE49-F238E27FC236}">
                <a16:creationId xmlns:a16="http://schemas.microsoft.com/office/drawing/2014/main" id="{5CBEC9AB-F839-8639-1977-1CD4EB2866BF}"/>
              </a:ext>
            </a:extLst>
          </p:cNvPr>
          <p:cNvSpPr>
            <a:spLocks/>
          </p:cNvSpPr>
          <p:nvPr/>
        </p:nvSpPr>
        <p:spPr bwMode="auto">
          <a:xfrm>
            <a:off x="8206106" y="3754688"/>
            <a:ext cx="999207" cy="869813"/>
          </a:xfrm>
          <a:custGeom>
            <a:avLst/>
            <a:gdLst>
              <a:gd name="T0" fmla="*/ 417 w 834"/>
              <a:gd name="T1" fmla="*/ 0 h 726"/>
              <a:gd name="T2" fmla="*/ 0 w 834"/>
              <a:gd name="T3" fmla="*/ 726 h 726"/>
              <a:gd name="T4" fmla="*/ 834 w 834"/>
              <a:gd name="T5" fmla="*/ 726 h 726"/>
              <a:gd name="T6" fmla="*/ 417 w 834"/>
              <a:gd name="T7" fmla="*/ 0 h 726"/>
              <a:gd name="T8" fmla="*/ 417 w 834"/>
              <a:gd name="T9" fmla="*/ 0 h 726"/>
            </a:gdLst>
            <a:ahLst/>
            <a:cxnLst>
              <a:cxn ang="0">
                <a:pos x="T0" y="T1"/>
              </a:cxn>
              <a:cxn ang="0">
                <a:pos x="T2" y="T3"/>
              </a:cxn>
              <a:cxn ang="0">
                <a:pos x="T4" y="T5"/>
              </a:cxn>
              <a:cxn ang="0">
                <a:pos x="T6" y="T7"/>
              </a:cxn>
              <a:cxn ang="0">
                <a:pos x="T8" y="T9"/>
              </a:cxn>
            </a:cxnLst>
            <a:rect l="0" t="0" r="r" b="b"/>
            <a:pathLst>
              <a:path w="834" h="726">
                <a:moveTo>
                  <a:pt x="417" y="0"/>
                </a:moveTo>
                <a:lnTo>
                  <a:pt x="0" y="726"/>
                </a:lnTo>
                <a:lnTo>
                  <a:pt x="834" y="726"/>
                </a:lnTo>
                <a:lnTo>
                  <a:pt x="417" y="0"/>
                </a:lnTo>
                <a:lnTo>
                  <a:pt x="417" y="0"/>
                </a:lnTo>
                <a:close/>
              </a:path>
            </a:pathLst>
          </a:custGeom>
          <a:solidFill>
            <a:srgbClr val="083553"/>
          </a:solidFill>
          <a:ln>
            <a:noFill/>
          </a:ln>
        </p:spPr>
        <p:txBody>
          <a:bodyPr vert="horz" wrap="square" lIns="68580" tIns="34290" rIns="68580" bIns="34290" numCol="1" anchor="t" anchorCtr="0" compatLnSpc="1">
            <a:prstTxWarp prst="textNoShape">
              <a:avLst/>
            </a:prstTxWarp>
          </a:bodyPr>
          <a:lstStyle/>
          <a:p>
            <a:pPr algn="l" rtl="0"/>
            <a:endParaRPr lang="en-GB" sz="2700" dirty="0"/>
          </a:p>
        </p:txBody>
      </p:sp>
      <p:sp>
        <p:nvSpPr>
          <p:cNvPr id="15" name="Freeform 5">
            <a:extLst>
              <a:ext uri="{FF2B5EF4-FFF2-40B4-BE49-F238E27FC236}">
                <a16:creationId xmlns:a16="http://schemas.microsoft.com/office/drawing/2014/main" id="{70848451-CAAE-72DE-613B-D3409A8D7600}"/>
              </a:ext>
            </a:extLst>
          </p:cNvPr>
          <p:cNvSpPr>
            <a:spLocks/>
          </p:cNvSpPr>
          <p:nvPr/>
        </p:nvSpPr>
        <p:spPr bwMode="auto">
          <a:xfrm>
            <a:off x="8705709" y="4624500"/>
            <a:ext cx="1001603" cy="866218"/>
          </a:xfrm>
          <a:custGeom>
            <a:avLst/>
            <a:gdLst>
              <a:gd name="T0" fmla="*/ 417 w 836"/>
              <a:gd name="T1" fmla="*/ 0 h 723"/>
              <a:gd name="T2" fmla="*/ 836 w 836"/>
              <a:gd name="T3" fmla="*/ 723 h 723"/>
              <a:gd name="T4" fmla="*/ 0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836" y="723"/>
                </a:lnTo>
                <a:lnTo>
                  <a:pt x="0" y="723"/>
                </a:lnTo>
                <a:lnTo>
                  <a:pt x="417" y="0"/>
                </a:lnTo>
                <a:lnTo>
                  <a:pt x="417" y="0"/>
                </a:lnTo>
                <a:close/>
              </a:path>
            </a:pathLst>
          </a:custGeom>
          <a:solidFill>
            <a:srgbClr val="083553"/>
          </a:solidFill>
          <a:ln>
            <a:noFill/>
          </a:ln>
        </p:spPr>
        <p:txBody>
          <a:bodyPr vert="horz" wrap="square" lIns="68580" tIns="34290" rIns="68580" bIns="34290" numCol="1" anchor="t" anchorCtr="0" compatLnSpc="1">
            <a:prstTxWarp prst="textNoShape">
              <a:avLst/>
            </a:prstTxWarp>
          </a:bodyPr>
          <a:lstStyle/>
          <a:p>
            <a:pPr algn="l" rtl="0"/>
            <a:endParaRPr lang="en-GB" sz="2700" dirty="0"/>
          </a:p>
        </p:txBody>
      </p:sp>
      <p:sp>
        <p:nvSpPr>
          <p:cNvPr id="16" name="Freeform 6">
            <a:extLst>
              <a:ext uri="{FF2B5EF4-FFF2-40B4-BE49-F238E27FC236}">
                <a16:creationId xmlns:a16="http://schemas.microsoft.com/office/drawing/2014/main" id="{76B83D6E-A927-BC93-7FF9-A2DBD45CA972}"/>
              </a:ext>
            </a:extLst>
          </p:cNvPr>
          <p:cNvSpPr>
            <a:spLocks/>
          </p:cNvSpPr>
          <p:nvPr/>
        </p:nvSpPr>
        <p:spPr bwMode="auto">
          <a:xfrm>
            <a:off x="6704900" y="4624500"/>
            <a:ext cx="1001603" cy="866218"/>
          </a:xfrm>
          <a:custGeom>
            <a:avLst/>
            <a:gdLst>
              <a:gd name="T0" fmla="*/ 417 w 836"/>
              <a:gd name="T1" fmla="*/ 0 h 723"/>
              <a:gd name="T2" fmla="*/ 0 w 836"/>
              <a:gd name="T3" fmla="*/ 723 h 723"/>
              <a:gd name="T4" fmla="*/ 836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0" y="723"/>
                </a:lnTo>
                <a:lnTo>
                  <a:pt x="836" y="723"/>
                </a:lnTo>
                <a:lnTo>
                  <a:pt x="417" y="0"/>
                </a:lnTo>
                <a:lnTo>
                  <a:pt x="417" y="0"/>
                </a:lnTo>
                <a:close/>
              </a:path>
            </a:pathLst>
          </a:custGeom>
          <a:solidFill>
            <a:srgbClr val="EDA13E"/>
          </a:solidFill>
          <a:ln>
            <a:noFill/>
          </a:ln>
        </p:spPr>
        <p:txBody>
          <a:bodyPr vert="horz" wrap="square" lIns="68580" tIns="34290" rIns="68580" bIns="34290" numCol="1" anchor="t" anchorCtr="0" compatLnSpc="1">
            <a:prstTxWarp prst="textNoShape">
              <a:avLst/>
            </a:prstTxWarp>
          </a:bodyPr>
          <a:lstStyle/>
          <a:p>
            <a:pPr algn="l" rtl="0"/>
            <a:endParaRPr lang="en-GB" sz="2700" dirty="0"/>
          </a:p>
        </p:txBody>
      </p:sp>
      <p:sp>
        <p:nvSpPr>
          <p:cNvPr id="17" name="Freeform 6">
            <a:extLst>
              <a:ext uri="{FF2B5EF4-FFF2-40B4-BE49-F238E27FC236}">
                <a16:creationId xmlns:a16="http://schemas.microsoft.com/office/drawing/2014/main" id="{496C9865-38D4-5E4D-8B03-25A64D86186B}"/>
              </a:ext>
            </a:extLst>
          </p:cNvPr>
          <p:cNvSpPr>
            <a:spLocks/>
          </p:cNvSpPr>
          <p:nvPr/>
        </p:nvSpPr>
        <p:spPr bwMode="auto">
          <a:xfrm>
            <a:off x="9699292" y="4624500"/>
            <a:ext cx="1001603" cy="866218"/>
          </a:xfrm>
          <a:custGeom>
            <a:avLst/>
            <a:gdLst>
              <a:gd name="T0" fmla="*/ 417 w 836"/>
              <a:gd name="T1" fmla="*/ 0 h 723"/>
              <a:gd name="T2" fmla="*/ 0 w 836"/>
              <a:gd name="T3" fmla="*/ 723 h 723"/>
              <a:gd name="T4" fmla="*/ 836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0" y="723"/>
                </a:lnTo>
                <a:lnTo>
                  <a:pt x="836" y="723"/>
                </a:lnTo>
                <a:lnTo>
                  <a:pt x="417" y="0"/>
                </a:lnTo>
                <a:lnTo>
                  <a:pt x="417" y="0"/>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pPr algn="l" rtl="0"/>
            <a:endParaRPr lang="en-GB" sz="2700" dirty="0"/>
          </a:p>
        </p:txBody>
      </p:sp>
      <p:sp>
        <p:nvSpPr>
          <p:cNvPr id="18" name="Freeform 10">
            <a:extLst>
              <a:ext uri="{FF2B5EF4-FFF2-40B4-BE49-F238E27FC236}">
                <a16:creationId xmlns:a16="http://schemas.microsoft.com/office/drawing/2014/main" id="{DF13142F-8339-EA25-33EF-FBC363408344}"/>
              </a:ext>
            </a:extLst>
          </p:cNvPr>
          <p:cNvSpPr>
            <a:spLocks/>
          </p:cNvSpPr>
          <p:nvPr/>
        </p:nvSpPr>
        <p:spPr bwMode="auto">
          <a:xfrm rot="10800000">
            <a:off x="8704878" y="2888466"/>
            <a:ext cx="999207" cy="866218"/>
          </a:xfrm>
          <a:custGeom>
            <a:avLst/>
            <a:gdLst>
              <a:gd name="T0" fmla="*/ 417 w 834"/>
              <a:gd name="T1" fmla="*/ 723 h 723"/>
              <a:gd name="T2" fmla="*/ 0 w 834"/>
              <a:gd name="T3" fmla="*/ 0 h 723"/>
              <a:gd name="T4" fmla="*/ 834 w 834"/>
              <a:gd name="T5" fmla="*/ 0 h 723"/>
              <a:gd name="T6" fmla="*/ 417 w 834"/>
              <a:gd name="T7" fmla="*/ 723 h 723"/>
              <a:gd name="T8" fmla="*/ 417 w 834"/>
              <a:gd name="T9" fmla="*/ 723 h 723"/>
            </a:gdLst>
            <a:ahLst/>
            <a:cxnLst>
              <a:cxn ang="0">
                <a:pos x="T0" y="T1"/>
              </a:cxn>
              <a:cxn ang="0">
                <a:pos x="T2" y="T3"/>
              </a:cxn>
              <a:cxn ang="0">
                <a:pos x="T4" y="T5"/>
              </a:cxn>
              <a:cxn ang="0">
                <a:pos x="T6" y="T7"/>
              </a:cxn>
              <a:cxn ang="0">
                <a:pos x="T8" y="T9"/>
              </a:cxn>
            </a:cxnLst>
            <a:rect l="0" t="0" r="r" b="b"/>
            <a:pathLst>
              <a:path w="834" h="723">
                <a:moveTo>
                  <a:pt x="417" y="723"/>
                </a:moveTo>
                <a:lnTo>
                  <a:pt x="0" y="0"/>
                </a:lnTo>
                <a:lnTo>
                  <a:pt x="834" y="0"/>
                </a:lnTo>
                <a:lnTo>
                  <a:pt x="417" y="723"/>
                </a:lnTo>
                <a:lnTo>
                  <a:pt x="417" y="723"/>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pPr algn="l" rtl="0"/>
            <a:endParaRPr lang="en-GB" sz="2700" dirty="0"/>
          </a:p>
        </p:txBody>
      </p:sp>
      <p:sp>
        <p:nvSpPr>
          <p:cNvPr id="19" name="Freeform 15">
            <a:extLst>
              <a:ext uri="{FF2B5EF4-FFF2-40B4-BE49-F238E27FC236}">
                <a16:creationId xmlns:a16="http://schemas.microsoft.com/office/drawing/2014/main" id="{46EFF813-CF62-A96D-16DD-B96E1839867B}"/>
              </a:ext>
            </a:extLst>
          </p:cNvPr>
          <p:cNvSpPr>
            <a:spLocks/>
          </p:cNvSpPr>
          <p:nvPr/>
        </p:nvSpPr>
        <p:spPr bwMode="auto">
          <a:xfrm rot="10800000">
            <a:off x="9204483" y="4624499"/>
            <a:ext cx="999207" cy="866219"/>
          </a:xfrm>
          <a:custGeom>
            <a:avLst/>
            <a:gdLst>
              <a:gd name="T0" fmla="*/ 417 w 834"/>
              <a:gd name="T1" fmla="*/ 0 h 723"/>
              <a:gd name="T2" fmla="*/ 0 w 834"/>
              <a:gd name="T3" fmla="*/ 723 h 723"/>
              <a:gd name="T4" fmla="*/ 834 w 834"/>
              <a:gd name="T5" fmla="*/ 723 h 723"/>
              <a:gd name="T6" fmla="*/ 417 w 834"/>
              <a:gd name="T7" fmla="*/ 0 h 723"/>
              <a:gd name="T8" fmla="*/ 417 w 834"/>
              <a:gd name="T9" fmla="*/ 0 h 723"/>
            </a:gdLst>
            <a:ahLst/>
            <a:cxnLst>
              <a:cxn ang="0">
                <a:pos x="T0" y="T1"/>
              </a:cxn>
              <a:cxn ang="0">
                <a:pos x="T2" y="T3"/>
              </a:cxn>
              <a:cxn ang="0">
                <a:pos x="T4" y="T5"/>
              </a:cxn>
              <a:cxn ang="0">
                <a:pos x="T6" y="T7"/>
              </a:cxn>
              <a:cxn ang="0">
                <a:pos x="T8" y="T9"/>
              </a:cxn>
            </a:cxnLst>
            <a:rect l="0" t="0" r="r" b="b"/>
            <a:pathLst>
              <a:path w="834" h="723">
                <a:moveTo>
                  <a:pt x="417" y="0"/>
                </a:moveTo>
                <a:lnTo>
                  <a:pt x="0" y="723"/>
                </a:lnTo>
                <a:lnTo>
                  <a:pt x="834" y="723"/>
                </a:lnTo>
                <a:lnTo>
                  <a:pt x="417" y="0"/>
                </a:lnTo>
                <a:lnTo>
                  <a:pt x="417"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pPr algn="l" rtl="0"/>
            <a:endParaRPr lang="en-GB" sz="2700" dirty="0"/>
          </a:p>
        </p:txBody>
      </p:sp>
      <p:sp>
        <p:nvSpPr>
          <p:cNvPr id="20" name="Freeform 16">
            <a:extLst>
              <a:ext uri="{FF2B5EF4-FFF2-40B4-BE49-F238E27FC236}">
                <a16:creationId xmlns:a16="http://schemas.microsoft.com/office/drawing/2014/main" id="{BCB697C7-13B8-FC92-BFF8-711A84A19493}"/>
              </a:ext>
            </a:extLst>
          </p:cNvPr>
          <p:cNvSpPr>
            <a:spLocks/>
          </p:cNvSpPr>
          <p:nvPr/>
        </p:nvSpPr>
        <p:spPr bwMode="auto">
          <a:xfrm rot="10800000">
            <a:off x="9204483" y="3754686"/>
            <a:ext cx="999207" cy="869813"/>
          </a:xfrm>
          <a:custGeom>
            <a:avLst/>
            <a:gdLst>
              <a:gd name="T0" fmla="*/ 417 w 834"/>
              <a:gd name="T1" fmla="*/ 726 h 726"/>
              <a:gd name="T2" fmla="*/ 0 w 834"/>
              <a:gd name="T3" fmla="*/ 0 h 726"/>
              <a:gd name="T4" fmla="*/ 834 w 834"/>
              <a:gd name="T5" fmla="*/ 0 h 726"/>
              <a:gd name="T6" fmla="*/ 417 w 834"/>
              <a:gd name="T7" fmla="*/ 726 h 726"/>
              <a:gd name="T8" fmla="*/ 417 w 834"/>
              <a:gd name="T9" fmla="*/ 726 h 726"/>
            </a:gdLst>
            <a:ahLst/>
            <a:cxnLst>
              <a:cxn ang="0">
                <a:pos x="T0" y="T1"/>
              </a:cxn>
              <a:cxn ang="0">
                <a:pos x="T2" y="T3"/>
              </a:cxn>
              <a:cxn ang="0">
                <a:pos x="T4" y="T5"/>
              </a:cxn>
              <a:cxn ang="0">
                <a:pos x="T6" y="T7"/>
              </a:cxn>
              <a:cxn ang="0">
                <a:pos x="T8" y="T9"/>
              </a:cxn>
            </a:cxnLst>
            <a:rect l="0" t="0" r="r" b="b"/>
            <a:pathLst>
              <a:path w="834" h="726">
                <a:moveTo>
                  <a:pt x="417" y="726"/>
                </a:moveTo>
                <a:lnTo>
                  <a:pt x="0" y="0"/>
                </a:lnTo>
                <a:lnTo>
                  <a:pt x="834" y="0"/>
                </a:lnTo>
                <a:lnTo>
                  <a:pt x="417" y="726"/>
                </a:lnTo>
                <a:lnTo>
                  <a:pt x="417" y="72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pPr algn="l" rtl="0"/>
            <a:endParaRPr lang="en-GB" sz="2700" dirty="0"/>
          </a:p>
        </p:txBody>
      </p:sp>
      <p:sp>
        <p:nvSpPr>
          <p:cNvPr id="21" name="Freeform 17">
            <a:extLst>
              <a:ext uri="{FF2B5EF4-FFF2-40B4-BE49-F238E27FC236}">
                <a16:creationId xmlns:a16="http://schemas.microsoft.com/office/drawing/2014/main" id="{451AC84C-6E70-472D-1290-9AA94E3289A6}"/>
              </a:ext>
            </a:extLst>
          </p:cNvPr>
          <p:cNvSpPr>
            <a:spLocks/>
          </p:cNvSpPr>
          <p:nvPr/>
        </p:nvSpPr>
        <p:spPr bwMode="auto">
          <a:xfrm rot="10800000">
            <a:off x="8704878" y="3754686"/>
            <a:ext cx="999207" cy="869813"/>
          </a:xfrm>
          <a:custGeom>
            <a:avLst/>
            <a:gdLst>
              <a:gd name="T0" fmla="*/ 417 w 834"/>
              <a:gd name="T1" fmla="*/ 0 h 726"/>
              <a:gd name="T2" fmla="*/ 0 w 834"/>
              <a:gd name="T3" fmla="*/ 726 h 726"/>
              <a:gd name="T4" fmla="*/ 834 w 834"/>
              <a:gd name="T5" fmla="*/ 726 h 726"/>
              <a:gd name="T6" fmla="*/ 417 w 834"/>
              <a:gd name="T7" fmla="*/ 0 h 726"/>
              <a:gd name="T8" fmla="*/ 417 w 834"/>
              <a:gd name="T9" fmla="*/ 0 h 726"/>
            </a:gdLst>
            <a:ahLst/>
            <a:cxnLst>
              <a:cxn ang="0">
                <a:pos x="T0" y="T1"/>
              </a:cxn>
              <a:cxn ang="0">
                <a:pos x="T2" y="T3"/>
              </a:cxn>
              <a:cxn ang="0">
                <a:pos x="T4" y="T5"/>
              </a:cxn>
              <a:cxn ang="0">
                <a:pos x="T6" y="T7"/>
              </a:cxn>
              <a:cxn ang="0">
                <a:pos x="T8" y="T9"/>
              </a:cxn>
            </a:cxnLst>
            <a:rect l="0" t="0" r="r" b="b"/>
            <a:pathLst>
              <a:path w="834" h="726">
                <a:moveTo>
                  <a:pt x="417" y="0"/>
                </a:moveTo>
                <a:lnTo>
                  <a:pt x="0" y="726"/>
                </a:lnTo>
                <a:lnTo>
                  <a:pt x="834" y="726"/>
                </a:lnTo>
                <a:lnTo>
                  <a:pt x="417" y="0"/>
                </a:lnTo>
                <a:lnTo>
                  <a:pt x="417"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pPr algn="l" rtl="0"/>
            <a:endParaRPr lang="en-GB" sz="2700" dirty="0"/>
          </a:p>
        </p:txBody>
      </p:sp>
      <p:sp>
        <p:nvSpPr>
          <p:cNvPr id="22" name="Freeform 5">
            <a:extLst>
              <a:ext uri="{FF2B5EF4-FFF2-40B4-BE49-F238E27FC236}">
                <a16:creationId xmlns:a16="http://schemas.microsoft.com/office/drawing/2014/main" id="{3C43B185-D2CB-AF1C-0E39-AAF96D7B35EA}"/>
              </a:ext>
            </a:extLst>
          </p:cNvPr>
          <p:cNvSpPr>
            <a:spLocks/>
          </p:cNvSpPr>
          <p:nvPr/>
        </p:nvSpPr>
        <p:spPr bwMode="auto">
          <a:xfrm rot="10800000">
            <a:off x="8202879" y="2888466"/>
            <a:ext cx="1001603" cy="866218"/>
          </a:xfrm>
          <a:custGeom>
            <a:avLst/>
            <a:gdLst>
              <a:gd name="T0" fmla="*/ 417 w 836"/>
              <a:gd name="T1" fmla="*/ 0 h 723"/>
              <a:gd name="T2" fmla="*/ 836 w 836"/>
              <a:gd name="T3" fmla="*/ 723 h 723"/>
              <a:gd name="T4" fmla="*/ 0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836" y="723"/>
                </a:lnTo>
                <a:lnTo>
                  <a:pt x="0" y="723"/>
                </a:lnTo>
                <a:lnTo>
                  <a:pt x="417" y="0"/>
                </a:lnTo>
                <a:lnTo>
                  <a:pt x="417"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pPr algn="l" rtl="0"/>
            <a:endParaRPr lang="en-GB" sz="2700" dirty="0"/>
          </a:p>
        </p:txBody>
      </p:sp>
      <p:sp>
        <p:nvSpPr>
          <p:cNvPr id="23" name="Freeform 6">
            <a:extLst>
              <a:ext uri="{FF2B5EF4-FFF2-40B4-BE49-F238E27FC236}">
                <a16:creationId xmlns:a16="http://schemas.microsoft.com/office/drawing/2014/main" id="{FA6D9FA5-C4A3-BAC3-EE6B-0941FED02C11}"/>
              </a:ext>
            </a:extLst>
          </p:cNvPr>
          <p:cNvSpPr>
            <a:spLocks/>
          </p:cNvSpPr>
          <p:nvPr/>
        </p:nvSpPr>
        <p:spPr bwMode="auto">
          <a:xfrm>
            <a:off x="8199285" y="2022247"/>
            <a:ext cx="1001603" cy="866218"/>
          </a:xfrm>
          <a:custGeom>
            <a:avLst/>
            <a:gdLst>
              <a:gd name="T0" fmla="*/ 417 w 836"/>
              <a:gd name="T1" fmla="*/ 0 h 723"/>
              <a:gd name="T2" fmla="*/ 0 w 836"/>
              <a:gd name="T3" fmla="*/ 723 h 723"/>
              <a:gd name="T4" fmla="*/ 836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0" y="723"/>
                </a:lnTo>
                <a:lnTo>
                  <a:pt x="836" y="723"/>
                </a:lnTo>
                <a:lnTo>
                  <a:pt x="417" y="0"/>
                </a:lnTo>
                <a:lnTo>
                  <a:pt x="417" y="0"/>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pPr algn="l" rtl="0"/>
            <a:endParaRPr lang="en-GB" sz="2700" dirty="0"/>
          </a:p>
        </p:txBody>
      </p:sp>
      <p:sp>
        <p:nvSpPr>
          <p:cNvPr id="24" name="TextBox 38">
            <a:extLst>
              <a:ext uri="{FF2B5EF4-FFF2-40B4-BE49-F238E27FC236}">
                <a16:creationId xmlns:a16="http://schemas.microsoft.com/office/drawing/2014/main" id="{1283036E-E90E-E358-162E-9AE34DC660AD}"/>
              </a:ext>
            </a:extLst>
          </p:cNvPr>
          <p:cNvSpPr txBox="1"/>
          <p:nvPr/>
        </p:nvSpPr>
        <p:spPr>
          <a:xfrm>
            <a:off x="5050001" y="1807617"/>
            <a:ext cx="1461170" cy="400110"/>
          </a:xfrm>
          <a:prstGeom prst="rect">
            <a:avLst/>
          </a:prstGeom>
          <a:noFill/>
        </p:spPr>
        <p:txBody>
          <a:bodyPr wrap="none" rtlCol="0" anchor="ctr" anchorCtr="0">
            <a:spAutoFit/>
          </a:bodyPr>
          <a:lstStyle/>
          <a:p>
            <a:pPr algn="l" rtl="0"/>
            <a:r>
              <a:rPr lang="en-GB" sz="2000" b="1" dirty="0">
                <a:solidFill>
                  <a:srgbClr val="7F1C58"/>
                </a:solidFill>
                <a:latin typeface="+mj-lt"/>
                <a:ea typeface="League Spartan" charset="0"/>
                <a:cs typeface="Poppins" pitchFamily="2" charset="77"/>
              </a:rPr>
              <a:t>Cooperación</a:t>
            </a:r>
          </a:p>
        </p:txBody>
      </p:sp>
      <p:sp>
        <p:nvSpPr>
          <p:cNvPr id="25" name="TextBox 40">
            <a:extLst>
              <a:ext uri="{FF2B5EF4-FFF2-40B4-BE49-F238E27FC236}">
                <a16:creationId xmlns:a16="http://schemas.microsoft.com/office/drawing/2014/main" id="{D7A797AF-5D73-A407-1329-5D38DD292FAE}"/>
              </a:ext>
            </a:extLst>
          </p:cNvPr>
          <p:cNvSpPr txBox="1"/>
          <p:nvPr/>
        </p:nvSpPr>
        <p:spPr>
          <a:xfrm>
            <a:off x="4427651" y="2663068"/>
            <a:ext cx="2083520" cy="400110"/>
          </a:xfrm>
          <a:prstGeom prst="rect">
            <a:avLst/>
          </a:prstGeom>
          <a:noFill/>
        </p:spPr>
        <p:txBody>
          <a:bodyPr wrap="none" rtlCol="0" anchor="ctr" anchorCtr="0">
            <a:spAutoFit/>
          </a:bodyPr>
          <a:lstStyle/>
          <a:p>
            <a:pPr algn="l" rtl="0"/>
            <a:r>
              <a:rPr lang="en-GB" sz="2000" b="1" dirty="0">
                <a:solidFill>
                  <a:srgbClr val="B41F7A"/>
                </a:solidFill>
                <a:latin typeface="+mj-lt"/>
                <a:ea typeface="League Spartan" charset="0"/>
                <a:cs typeface="Poppins" pitchFamily="2" charset="77"/>
              </a:rPr>
              <a:t>Intereses comunes</a:t>
            </a:r>
          </a:p>
        </p:txBody>
      </p:sp>
      <p:sp>
        <p:nvSpPr>
          <p:cNvPr id="26" name="TextBox 42">
            <a:extLst>
              <a:ext uri="{FF2B5EF4-FFF2-40B4-BE49-F238E27FC236}">
                <a16:creationId xmlns:a16="http://schemas.microsoft.com/office/drawing/2014/main" id="{B1718EC1-5F79-DD03-41C1-159A4ACF974F}"/>
              </a:ext>
            </a:extLst>
          </p:cNvPr>
          <p:cNvSpPr txBox="1"/>
          <p:nvPr/>
        </p:nvSpPr>
        <p:spPr>
          <a:xfrm>
            <a:off x="5018325" y="3529287"/>
            <a:ext cx="1492846" cy="400110"/>
          </a:xfrm>
          <a:prstGeom prst="rect">
            <a:avLst/>
          </a:prstGeom>
          <a:noFill/>
        </p:spPr>
        <p:txBody>
          <a:bodyPr wrap="none" rtlCol="0" anchor="ctr" anchorCtr="0">
            <a:spAutoFit/>
          </a:bodyPr>
          <a:lstStyle/>
          <a:p>
            <a:pPr algn="l" rtl="0"/>
            <a:r>
              <a:rPr lang="en-GB" sz="2000" b="1" dirty="0">
                <a:solidFill>
                  <a:srgbClr val="083553"/>
                </a:solidFill>
                <a:latin typeface="+mj-lt"/>
                <a:ea typeface="League Spartan" charset="0"/>
                <a:cs typeface="Poppins" pitchFamily="2" charset="77"/>
              </a:rPr>
              <a:t>Expectativas</a:t>
            </a:r>
          </a:p>
        </p:txBody>
      </p:sp>
      <p:sp>
        <p:nvSpPr>
          <p:cNvPr id="27" name="TextBox 44">
            <a:extLst>
              <a:ext uri="{FF2B5EF4-FFF2-40B4-BE49-F238E27FC236}">
                <a16:creationId xmlns:a16="http://schemas.microsoft.com/office/drawing/2014/main" id="{0D707CC2-C447-FA1D-2D39-03884853DCC6}"/>
              </a:ext>
            </a:extLst>
          </p:cNvPr>
          <p:cNvSpPr txBox="1"/>
          <p:nvPr/>
        </p:nvSpPr>
        <p:spPr>
          <a:xfrm>
            <a:off x="5115724" y="4399101"/>
            <a:ext cx="1395447" cy="400110"/>
          </a:xfrm>
          <a:prstGeom prst="rect">
            <a:avLst/>
          </a:prstGeom>
          <a:noFill/>
        </p:spPr>
        <p:txBody>
          <a:bodyPr wrap="none" rtlCol="0" anchor="ctr" anchorCtr="0">
            <a:spAutoFit/>
          </a:bodyPr>
          <a:lstStyle/>
          <a:p>
            <a:pPr algn="l" rtl="0"/>
            <a:r>
              <a:rPr lang="en-GB" sz="2000" b="1" dirty="0">
                <a:solidFill>
                  <a:srgbClr val="F16924"/>
                </a:solidFill>
                <a:latin typeface="+mj-lt"/>
                <a:ea typeface="League Spartan" charset="0"/>
                <a:cs typeface="Poppins" pitchFamily="2" charset="77"/>
              </a:rPr>
              <a:t>percepciones</a:t>
            </a:r>
          </a:p>
        </p:txBody>
      </p:sp>
      <p:sp>
        <p:nvSpPr>
          <p:cNvPr id="29" name="TextBox 34">
            <a:extLst>
              <a:ext uri="{FF2B5EF4-FFF2-40B4-BE49-F238E27FC236}">
                <a16:creationId xmlns:a16="http://schemas.microsoft.com/office/drawing/2014/main" id="{A7090DD5-AA3F-8EA2-3A0A-4A4E2157F9F3}"/>
              </a:ext>
            </a:extLst>
          </p:cNvPr>
          <p:cNvSpPr txBox="1"/>
          <p:nvPr/>
        </p:nvSpPr>
        <p:spPr>
          <a:xfrm>
            <a:off x="6096000" y="5708384"/>
            <a:ext cx="5129737" cy="430887"/>
          </a:xfrm>
          <a:prstGeom prst="rect">
            <a:avLst/>
          </a:prstGeom>
          <a:noFill/>
        </p:spPr>
        <p:txBody>
          <a:bodyPr wrap="square" rtlCol="0" anchor="b" anchorCtr="0">
            <a:spAutoFit/>
          </a:bodyPr>
          <a:lstStyle/>
          <a:p>
            <a:pPr algn="ctr" rtl="0"/>
            <a:r>
              <a:rPr lang="en-GB" sz="2200" b="1" dirty="0">
                <a:solidFill>
                  <a:srgbClr val="7F1C58"/>
                </a:solidFill>
                <a:latin typeface="+mj-lt"/>
                <a:ea typeface="League Spartan" charset="0"/>
                <a:cs typeface="Poppins" pitchFamily="2" charset="77"/>
              </a:rPr>
              <a:t>Gestión de las Relaciones con las Partes Interesadas</a:t>
            </a:r>
          </a:p>
        </p:txBody>
      </p:sp>
      <p:cxnSp>
        <p:nvCxnSpPr>
          <p:cNvPr id="30" name="Straight Arrow Connector 26">
            <a:extLst>
              <a:ext uri="{FF2B5EF4-FFF2-40B4-BE49-F238E27FC236}">
                <a16:creationId xmlns:a16="http://schemas.microsoft.com/office/drawing/2014/main" id="{306502D9-D0D5-D8C2-9FEF-64A9BB1F0C2A}"/>
              </a:ext>
            </a:extLst>
          </p:cNvPr>
          <p:cNvCxnSpPr>
            <a:cxnSpLocks/>
          </p:cNvCxnSpPr>
          <p:nvPr/>
        </p:nvCxnSpPr>
        <p:spPr>
          <a:xfrm flipH="1">
            <a:off x="6600421" y="2071759"/>
            <a:ext cx="2098467" cy="1"/>
          </a:xfrm>
          <a:prstGeom prst="straightConnector1">
            <a:avLst/>
          </a:prstGeom>
          <a:ln w="38100" cap="rnd">
            <a:solidFill>
              <a:srgbClr val="7F1C58"/>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38681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2"/>
            <a:ext cx="3410380" cy="2646851"/>
          </a:xfrm>
        </p:spPr>
        <p:txBody>
          <a:bodyPr>
            <a:normAutofit fontScale="92500" lnSpcReduction="20000"/>
          </a:bodyPr>
          <a:lstStyle/>
          <a:p>
            <a:pPr algn="l" rtl="0"/>
            <a:r>
              <a:rPr lang="en-GB" dirty="0">
                <a:solidFill>
                  <a:schemeClr val="bg1"/>
                </a:solidFill>
              </a:rPr>
              <a:t>Responsabilidades de la comunicación con las partes interesadas en situaciones de crisis</a:t>
            </a:r>
          </a:p>
        </p:txBody>
      </p:sp>
      <p:sp>
        <p:nvSpPr>
          <p:cNvPr id="8" name="Rectangle 7">
            <a:extLst>
              <a:ext uri="{FF2B5EF4-FFF2-40B4-BE49-F238E27FC236}">
                <a16:creationId xmlns:a16="http://schemas.microsoft.com/office/drawing/2014/main" id="{14F9744D-3107-97CB-5B61-61E5B24B2E44}"/>
              </a:ext>
            </a:extLst>
          </p:cNvPr>
          <p:cNvSpPr/>
          <p:nvPr/>
        </p:nvSpPr>
        <p:spPr>
          <a:xfrm>
            <a:off x="524792" y="2893062"/>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Calibri" panose="020F0502020204030204" pitchFamily="34" charset="0"/>
              <a:cs typeface="Calibri" panose="020F0502020204030204" pitchFamily="34" charset="0"/>
            </a:endParaRPr>
          </a:p>
        </p:txBody>
      </p:sp>
      <p:grpSp>
        <p:nvGrpSpPr>
          <p:cNvPr id="89" name="Group 88">
            <a:extLst>
              <a:ext uri="{FF2B5EF4-FFF2-40B4-BE49-F238E27FC236}">
                <a16:creationId xmlns:a16="http://schemas.microsoft.com/office/drawing/2014/main" id="{610706A0-3EF0-ED51-DEB0-0C4B725F20A0}"/>
              </a:ext>
            </a:extLst>
          </p:cNvPr>
          <p:cNvGrpSpPr/>
          <p:nvPr/>
        </p:nvGrpSpPr>
        <p:grpSpPr>
          <a:xfrm>
            <a:off x="5008819" y="491602"/>
            <a:ext cx="6656912" cy="6165792"/>
            <a:chOff x="4143298" y="527426"/>
            <a:chExt cx="6646615" cy="6156254"/>
          </a:xfrm>
        </p:grpSpPr>
        <p:grpSp>
          <p:nvGrpSpPr>
            <p:cNvPr id="34" name="Gruppieren 3">
              <a:extLst>
                <a:ext uri="{FF2B5EF4-FFF2-40B4-BE49-F238E27FC236}">
                  <a16:creationId xmlns:a16="http://schemas.microsoft.com/office/drawing/2014/main" id="{654492DE-7156-288B-9D6B-5E7442754EB9}"/>
                </a:ext>
              </a:extLst>
            </p:cNvPr>
            <p:cNvGrpSpPr>
              <a:grpSpLocks noChangeAspect="1"/>
            </p:cNvGrpSpPr>
            <p:nvPr/>
          </p:nvGrpSpPr>
          <p:grpSpPr>
            <a:xfrm>
              <a:off x="4798508" y="601751"/>
              <a:ext cx="5210499" cy="5405477"/>
              <a:chOff x="6275234" y="2175839"/>
              <a:chExt cx="2856886" cy="2963790"/>
            </a:xfrm>
          </p:grpSpPr>
          <p:sp>
            <p:nvSpPr>
              <p:cNvPr id="35" name="Freeform: Shape 8784">
                <a:extLst>
                  <a:ext uri="{FF2B5EF4-FFF2-40B4-BE49-F238E27FC236}">
                    <a16:creationId xmlns:a16="http://schemas.microsoft.com/office/drawing/2014/main" id="{DFD4A9B1-7E6F-853A-7CF0-9AC4FD15B7E6}"/>
                  </a:ext>
                </a:extLst>
              </p:cNvPr>
              <p:cNvSpPr/>
              <p:nvPr/>
            </p:nvSpPr>
            <p:spPr>
              <a:xfrm>
                <a:off x="7677570" y="2287727"/>
                <a:ext cx="862784" cy="1340174"/>
              </a:xfrm>
              <a:custGeom>
                <a:avLst/>
                <a:gdLst/>
                <a:ahLst/>
                <a:cxnLst>
                  <a:cxn ang="3cd4">
                    <a:pos x="hc" y="t"/>
                  </a:cxn>
                  <a:cxn ang="cd2">
                    <a:pos x="l" y="vc"/>
                  </a:cxn>
                  <a:cxn ang="cd4">
                    <a:pos x="hc" y="b"/>
                  </a:cxn>
                  <a:cxn ang="0">
                    <a:pos x="r" y="vc"/>
                  </a:cxn>
                </a:cxnLst>
                <a:rect l="l" t="t" r="r" b="b"/>
                <a:pathLst>
                  <a:path w="348" h="540">
                    <a:moveTo>
                      <a:pt x="0" y="0"/>
                    </a:moveTo>
                    <a:lnTo>
                      <a:pt x="0" y="540"/>
                    </a:lnTo>
                    <a:lnTo>
                      <a:pt x="348" y="127"/>
                    </a:lnTo>
                    <a:cubicBezTo>
                      <a:pt x="314" y="142"/>
                      <a:pt x="277" y="150"/>
                      <a:pt x="240" y="150"/>
                    </a:cubicBezTo>
                    <a:cubicBezTo>
                      <a:pt x="136" y="150"/>
                      <a:pt x="44" y="90"/>
                      <a:pt x="0" y="0"/>
                    </a:cubicBezTo>
                    <a:close/>
                  </a:path>
                </a:pathLst>
              </a:custGeom>
              <a:solidFill>
                <a:srgbClr val="7F1C58"/>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36" name="Freeform: Shape 8785">
                <a:extLst>
                  <a:ext uri="{FF2B5EF4-FFF2-40B4-BE49-F238E27FC236}">
                    <a16:creationId xmlns:a16="http://schemas.microsoft.com/office/drawing/2014/main" id="{C5979183-2AB0-8E1D-3381-9561EC480353}"/>
                  </a:ext>
                </a:extLst>
              </p:cNvPr>
              <p:cNvSpPr/>
              <p:nvPr/>
            </p:nvSpPr>
            <p:spPr>
              <a:xfrm>
                <a:off x="6770023" y="2287727"/>
                <a:ext cx="862784" cy="1340174"/>
              </a:xfrm>
              <a:custGeom>
                <a:avLst/>
                <a:gdLst/>
                <a:ahLst/>
                <a:cxnLst>
                  <a:cxn ang="3cd4">
                    <a:pos x="hc" y="t"/>
                  </a:cxn>
                  <a:cxn ang="cd2">
                    <a:pos x="l" y="vc"/>
                  </a:cxn>
                  <a:cxn ang="cd4">
                    <a:pos x="hc" y="b"/>
                  </a:cxn>
                  <a:cxn ang="0">
                    <a:pos x="r" y="vc"/>
                  </a:cxn>
                </a:cxnLst>
                <a:rect l="l" t="t" r="r" b="b"/>
                <a:pathLst>
                  <a:path w="348" h="540">
                    <a:moveTo>
                      <a:pt x="280" y="87"/>
                    </a:moveTo>
                    <a:cubicBezTo>
                      <a:pt x="232" y="127"/>
                      <a:pt x="172" y="149"/>
                      <a:pt x="109" y="149"/>
                    </a:cubicBezTo>
                    <a:cubicBezTo>
                      <a:pt x="72" y="149"/>
                      <a:pt x="34" y="141"/>
                      <a:pt x="0" y="126"/>
                    </a:cubicBezTo>
                    <a:lnTo>
                      <a:pt x="348" y="540"/>
                    </a:lnTo>
                    <a:lnTo>
                      <a:pt x="348" y="0"/>
                    </a:lnTo>
                    <a:cubicBezTo>
                      <a:pt x="332" y="33"/>
                      <a:pt x="309" y="63"/>
                      <a:pt x="280" y="87"/>
                    </a:cubicBezTo>
                    <a:close/>
                  </a:path>
                </a:pathLst>
              </a:custGeom>
              <a:solidFill>
                <a:srgbClr val="EDA13E"/>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37" name="Freeform: Shape 8786">
                <a:extLst>
                  <a:ext uri="{FF2B5EF4-FFF2-40B4-BE49-F238E27FC236}">
                    <a16:creationId xmlns:a16="http://schemas.microsoft.com/office/drawing/2014/main" id="{BC590490-E2A6-8DAF-2C33-C53443E0AC82}"/>
                  </a:ext>
                </a:extLst>
              </p:cNvPr>
              <p:cNvSpPr/>
              <p:nvPr/>
            </p:nvSpPr>
            <p:spPr>
              <a:xfrm>
                <a:off x="6275234" y="2633331"/>
                <a:ext cx="1320284" cy="1024400"/>
              </a:xfrm>
              <a:custGeom>
                <a:avLst/>
                <a:gdLst/>
                <a:ahLst/>
                <a:cxnLst>
                  <a:cxn ang="3cd4">
                    <a:pos x="hc" y="t"/>
                  </a:cxn>
                  <a:cxn ang="cd2">
                    <a:pos x="l" y="vc"/>
                  </a:cxn>
                  <a:cxn ang="cd4">
                    <a:pos x="hc" y="b"/>
                  </a:cxn>
                  <a:cxn ang="0">
                    <a:pos x="r" y="vc"/>
                  </a:cxn>
                </a:cxnLst>
                <a:rect l="l" t="t" r="r" b="b"/>
                <a:pathLst>
                  <a:path w="532" h="413">
                    <a:moveTo>
                      <a:pt x="532" y="413"/>
                    </a:moveTo>
                    <a:lnTo>
                      <a:pt x="185" y="0"/>
                    </a:lnTo>
                    <a:cubicBezTo>
                      <a:pt x="194" y="35"/>
                      <a:pt x="196" y="73"/>
                      <a:pt x="189" y="109"/>
                    </a:cubicBezTo>
                    <a:cubicBezTo>
                      <a:pt x="171" y="212"/>
                      <a:pt x="97" y="292"/>
                      <a:pt x="0" y="319"/>
                    </a:cubicBez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38" name="Freeform: Shape 8788">
                <a:extLst>
                  <a:ext uri="{FF2B5EF4-FFF2-40B4-BE49-F238E27FC236}">
                    <a16:creationId xmlns:a16="http://schemas.microsoft.com/office/drawing/2014/main" id="{2612FFF6-D2AF-C4F5-2E58-33E1531FA8C2}"/>
                  </a:ext>
                </a:extLst>
              </p:cNvPr>
              <p:cNvSpPr/>
              <p:nvPr/>
            </p:nvSpPr>
            <p:spPr>
              <a:xfrm>
                <a:off x="6449283" y="3747248"/>
                <a:ext cx="1161154" cy="1260608"/>
              </a:xfrm>
              <a:custGeom>
                <a:avLst/>
                <a:gdLst/>
                <a:ahLst/>
                <a:cxnLst>
                  <a:cxn ang="3cd4">
                    <a:pos x="hc" y="t"/>
                  </a:cxn>
                  <a:cxn ang="cd2">
                    <a:pos x="l" y="vc"/>
                  </a:cxn>
                  <a:cxn ang="cd4">
                    <a:pos x="hc" y="b"/>
                  </a:cxn>
                  <a:cxn ang="0">
                    <a:pos x="r" y="vc"/>
                  </a:cxn>
                </a:cxnLst>
                <a:rect l="l" t="t" r="r" b="b"/>
                <a:pathLst>
                  <a:path w="468" h="508">
                    <a:moveTo>
                      <a:pt x="110" y="285"/>
                    </a:moveTo>
                    <a:cubicBezTo>
                      <a:pt x="207" y="321"/>
                      <a:pt x="274" y="408"/>
                      <a:pt x="284" y="508"/>
                    </a:cubicBezTo>
                    <a:lnTo>
                      <a:pt x="468" y="0"/>
                    </a:lnTo>
                    <a:lnTo>
                      <a:pt x="0" y="270"/>
                    </a:lnTo>
                    <a:cubicBezTo>
                      <a:pt x="7" y="269"/>
                      <a:pt x="13" y="269"/>
                      <a:pt x="19" y="269"/>
                    </a:cubicBezTo>
                    <a:cubicBezTo>
                      <a:pt x="50" y="269"/>
                      <a:pt x="80" y="274"/>
                      <a:pt x="110" y="285"/>
                    </a:cubicBez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39" name="Freeform: Shape 8789">
                <a:extLst>
                  <a:ext uri="{FF2B5EF4-FFF2-40B4-BE49-F238E27FC236}">
                    <a16:creationId xmlns:a16="http://schemas.microsoft.com/office/drawing/2014/main" id="{72D64348-8B19-64BE-229A-5E9500050ADF}"/>
                  </a:ext>
                </a:extLst>
              </p:cNvPr>
              <p:cNvSpPr/>
              <p:nvPr/>
            </p:nvSpPr>
            <p:spPr>
              <a:xfrm>
                <a:off x="7197693" y="3764654"/>
                <a:ext cx="917485" cy="1260608"/>
              </a:xfrm>
              <a:custGeom>
                <a:avLst/>
                <a:gdLst/>
                <a:ahLst/>
                <a:cxnLst>
                  <a:cxn ang="3cd4">
                    <a:pos x="hc" y="t"/>
                  </a:cxn>
                  <a:cxn ang="cd2">
                    <a:pos x="l" y="vc"/>
                  </a:cxn>
                  <a:cxn ang="cd4">
                    <a:pos x="hc" y="b"/>
                  </a:cxn>
                  <a:cxn ang="0">
                    <a:pos x="r" y="vc"/>
                  </a:cxn>
                </a:cxnLst>
                <a:rect l="l" t="t" r="r" b="b"/>
                <a:pathLst>
                  <a:path w="370" h="508">
                    <a:moveTo>
                      <a:pt x="184" y="432"/>
                    </a:moveTo>
                    <a:cubicBezTo>
                      <a:pt x="254" y="432"/>
                      <a:pt x="321" y="460"/>
                      <a:pt x="370" y="508"/>
                    </a:cubicBezTo>
                    <a:lnTo>
                      <a:pt x="185" y="0"/>
                    </a:lnTo>
                    <a:lnTo>
                      <a:pt x="0" y="507"/>
                    </a:lnTo>
                    <a:cubicBezTo>
                      <a:pt x="26" y="481"/>
                      <a:pt x="58" y="461"/>
                      <a:pt x="93" y="448"/>
                    </a:cubicBezTo>
                    <a:cubicBezTo>
                      <a:pt x="123" y="438"/>
                      <a:pt x="153" y="432"/>
                      <a:pt x="184" y="432"/>
                    </a:cubicBezTo>
                    <a:close/>
                  </a:path>
                </a:pathLst>
              </a:custGeom>
              <a:solidFill>
                <a:srgbClr val="7F1C58"/>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0" name="Freeform: Shape 8790">
                <a:extLst>
                  <a:ext uri="{FF2B5EF4-FFF2-40B4-BE49-F238E27FC236}">
                    <a16:creationId xmlns:a16="http://schemas.microsoft.com/office/drawing/2014/main" id="{AD21809D-599C-3CE2-C719-AE857C077FE3}"/>
                  </a:ext>
                </a:extLst>
              </p:cNvPr>
              <p:cNvSpPr/>
              <p:nvPr/>
            </p:nvSpPr>
            <p:spPr>
              <a:xfrm>
                <a:off x="7699947" y="3747248"/>
                <a:ext cx="1161154" cy="1260608"/>
              </a:xfrm>
              <a:custGeom>
                <a:avLst/>
                <a:gdLst/>
                <a:ahLst/>
                <a:cxnLst>
                  <a:cxn ang="3cd4">
                    <a:pos x="hc" y="t"/>
                  </a:cxn>
                  <a:cxn ang="cd2">
                    <a:pos x="l" y="vc"/>
                  </a:cxn>
                  <a:cxn ang="cd4">
                    <a:pos x="hc" y="b"/>
                  </a:cxn>
                  <a:cxn ang="0">
                    <a:pos x="r" y="vc"/>
                  </a:cxn>
                </a:cxnLst>
                <a:rect l="l" t="t" r="r" b="b"/>
                <a:pathLst>
                  <a:path w="468" h="508">
                    <a:moveTo>
                      <a:pt x="448" y="270"/>
                    </a:moveTo>
                    <a:cubicBezTo>
                      <a:pt x="455" y="270"/>
                      <a:pt x="462" y="270"/>
                      <a:pt x="468" y="271"/>
                    </a:cubicBezTo>
                    <a:lnTo>
                      <a:pt x="0" y="0"/>
                    </a:lnTo>
                    <a:lnTo>
                      <a:pt x="184" y="508"/>
                    </a:lnTo>
                    <a:cubicBezTo>
                      <a:pt x="188" y="471"/>
                      <a:pt x="199" y="435"/>
                      <a:pt x="218" y="403"/>
                    </a:cubicBezTo>
                    <a:cubicBezTo>
                      <a:pt x="265" y="321"/>
                      <a:pt x="354" y="270"/>
                      <a:pt x="448" y="270"/>
                    </a:cubicBezTo>
                    <a:close/>
                  </a:path>
                </a:pathLst>
              </a:custGeom>
              <a:solidFill>
                <a:srgbClr val="EDA13E"/>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1" name="Freeform: Shape 8791">
                <a:extLst>
                  <a:ext uri="{FF2B5EF4-FFF2-40B4-BE49-F238E27FC236}">
                    <a16:creationId xmlns:a16="http://schemas.microsoft.com/office/drawing/2014/main" id="{1CF06A42-6DE2-EA70-8EC0-920FE6347690}"/>
                  </a:ext>
                </a:extLst>
              </p:cNvPr>
              <p:cNvSpPr/>
              <p:nvPr/>
            </p:nvSpPr>
            <p:spPr>
              <a:xfrm>
                <a:off x="7722325" y="3473743"/>
                <a:ext cx="1320284" cy="902566"/>
              </a:xfrm>
              <a:custGeom>
                <a:avLst/>
                <a:gdLst/>
                <a:ahLst/>
                <a:cxnLst>
                  <a:cxn ang="3cd4">
                    <a:pos x="hc" y="t"/>
                  </a:cxn>
                  <a:cxn ang="cd2">
                    <a:pos x="l" y="vc"/>
                  </a:cxn>
                  <a:cxn ang="cd4">
                    <a:pos x="hc" y="b"/>
                  </a:cxn>
                  <a:cxn ang="0">
                    <a:pos x="r" y="vc"/>
                  </a:cxn>
                </a:cxnLst>
                <a:rect l="l" t="t" r="r" b="b"/>
                <a:pathLst>
                  <a:path w="532" h="364">
                    <a:moveTo>
                      <a:pt x="467" y="364"/>
                    </a:moveTo>
                    <a:cubicBezTo>
                      <a:pt x="447" y="334"/>
                      <a:pt x="433" y="299"/>
                      <a:pt x="426" y="262"/>
                    </a:cubicBezTo>
                    <a:cubicBezTo>
                      <a:pt x="408" y="159"/>
                      <a:pt x="451" y="59"/>
                      <a:pt x="532" y="0"/>
                    </a:cubicBezTo>
                    <a:lnTo>
                      <a:pt x="0" y="94"/>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2" name="Freeform: Shape 8792">
                <a:extLst>
                  <a:ext uri="{FF2B5EF4-FFF2-40B4-BE49-F238E27FC236}">
                    <a16:creationId xmlns:a16="http://schemas.microsoft.com/office/drawing/2014/main" id="{196007F5-AB8E-4304-BBE8-FEFDEA732562}"/>
                  </a:ext>
                </a:extLst>
              </p:cNvPr>
              <p:cNvSpPr/>
              <p:nvPr/>
            </p:nvSpPr>
            <p:spPr>
              <a:xfrm>
                <a:off x="7714867" y="2630844"/>
                <a:ext cx="1317797" cy="1026886"/>
              </a:xfrm>
              <a:custGeom>
                <a:avLst/>
                <a:gdLst/>
                <a:ahLst/>
                <a:cxnLst>
                  <a:cxn ang="3cd4">
                    <a:pos x="hc" y="t"/>
                  </a:cxn>
                  <a:cxn ang="cd2">
                    <a:pos x="l" y="vc"/>
                  </a:cxn>
                  <a:cxn ang="cd4">
                    <a:pos x="hc" y="b"/>
                  </a:cxn>
                  <a:cxn ang="0">
                    <a:pos x="r" y="vc"/>
                  </a:cxn>
                </a:cxnLst>
                <a:rect l="l" t="t" r="r" b="b"/>
                <a:pathLst>
                  <a:path w="531" h="414">
                    <a:moveTo>
                      <a:pt x="434" y="269"/>
                    </a:moveTo>
                    <a:cubicBezTo>
                      <a:pt x="354" y="202"/>
                      <a:pt x="322" y="97"/>
                      <a:pt x="348" y="0"/>
                    </a:cubicBezTo>
                    <a:lnTo>
                      <a:pt x="0" y="414"/>
                    </a:lnTo>
                    <a:lnTo>
                      <a:pt x="531" y="321"/>
                    </a:lnTo>
                    <a:cubicBezTo>
                      <a:pt x="496" y="311"/>
                      <a:pt x="463" y="293"/>
                      <a:pt x="434" y="269"/>
                    </a:cubicBez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3" name="Freeform: Shape 8793">
                <a:extLst>
                  <a:ext uri="{FF2B5EF4-FFF2-40B4-BE49-F238E27FC236}">
                    <a16:creationId xmlns:a16="http://schemas.microsoft.com/office/drawing/2014/main" id="{40B035CC-9272-4159-994B-7813DFA1340B}"/>
                  </a:ext>
                </a:extLst>
              </p:cNvPr>
              <p:cNvSpPr/>
              <p:nvPr/>
            </p:nvSpPr>
            <p:spPr>
              <a:xfrm>
                <a:off x="7744702" y="2245459"/>
                <a:ext cx="832948" cy="325719"/>
              </a:xfrm>
              <a:custGeom>
                <a:avLst/>
                <a:gdLst/>
                <a:ahLst/>
                <a:cxnLst>
                  <a:cxn ang="3cd4">
                    <a:pos x="hc" y="t"/>
                  </a:cxn>
                  <a:cxn ang="cd2">
                    <a:pos x="l" y="vc"/>
                  </a:cxn>
                  <a:cxn ang="cd4">
                    <a:pos x="hc" y="b"/>
                  </a:cxn>
                  <a:cxn ang="0">
                    <a:pos x="r" y="vc"/>
                  </a:cxn>
                </a:cxnLst>
                <a:rect l="l" t="t" r="r" b="b"/>
                <a:pathLst>
                  <a:path w="336" h="132">
                    <a:moveTo>
                      <a:pt x="336" y="94"/>
                    </a:moveTo>
                    <a:lnTo>
                      <a:pt x="286" y="87"/>
                    </a:lnTo>
                    <a:lnTo>
                      <a:pt x="295" y="108"/>
                    </a:lnTo>
                    <a:cubicBezTo>
                      <a:pt x="269" y="118"/>
                      <a:pt x="241" y="124"/>
                      <a:pt x="211" y="124"/>
                    </a:cubicBezTo>
                    <a:cubicBezTo>
                      <a:pt x="123" y="124"/>
                      <a:pt x="46" y="73"/>
                      <a:pt x="8" y="0"/>
                    </a:cubicBezTo>
                    <a:lnTo>
                      <a:pt x="0" y="4"/>
                    </a:lnTo>
                    <a:cubicBezTo>
                      <a:pt x="40" y="80"/>
                      <a:pt x="120" y="132"/>
                      <a:pt x="211" y="132"/>
                    </a:cubicBezTo>
                    <a:cubicBezTo>
                      <a:pt x="242" y="132"/>
                      <a:pt x="271" y="127"/>
                      <a:pt x="298" y="116"/>
                    </a:cubicBezTo>
                    <a:lnTo>
                      <a:pt x="305" y="132"/>
                    </a:lnTo>
                    <a:close/>
                  </a:path>
                </a:pathLst>
              </a:custGeom>
              <a:solidFill>
                <a:srgbClr val="7F1C58"/>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4" name="Freeform: Shape 8794">
                <a:extLst>
                  <a:ext uri="{FF2B5EF4-FFF2-40B4-BE49-F238E27FC236}">
                    <a16:creationId xmlns:a16="http://schemas.microsoft.com/office/drawing/2014/main" id="{8849927B-CD71-191D-A913-B2EFBB9A5186}"/>
                  </a:ext>
                </a:extLst>
              </p:cNvPr>
              <p:cNvSpPr/>
              <p:nvPr/>
            </p:nvSpPr>
            <p:spPr>
              <a:xfrm>
                <a:off x="6799868" y="2175839"/>
                <a:ext cx="783219" cy="407771"/>
              </a:xfrm>
              <a:custGeom>
                <a:avLst/>
                <a:gdLst/>
                <a:ahLst/>
                <a:cxnLst>
                  <a:cxn ang="3cd4">
                    <a:pos x="hc" y="t"/>
                  </a:cxn>
                  <a:cxn ang="cd2">
                    <a:pos x="l" y="vc"/>
                  </a:cxn>
                  <a:cxn ang="cd4">
                    <a:pos x="hc" y="b"/>
                  </a:cxn>
                  <a:cxn ang="0">
                    <a:pos x="r" y="vc"/>
                  </a:cxn>
                </a:cxnLst>
                <a:rect l="l" t="t" r="r" b="b"/>
                <a:pathLst>
                  <a:path w="316" h="165">
                    <a:moveTo>
                      <a:pt x="314" y="0"/>
                    </a:moveTo>
                    <a:lnTo>
                      <a:pt x="272" y="26"/>
                    </a:lnTo>
                    <a:lnTo>
                      <a:pt x="292" y="37"/>
                    </a:lnTo>
                    <a:cubicBezTo>
                      <a:pt x="279" y="62"/>
                      <a:pt x="261" y="84"/>
                      <a:pt x="238" y="103"/>
                    </a:cubicBezTo>
                    <a:cubicBezTo>
                      <a:pt x="171" y="160"/>
                      <a:pt x="79" y="171"/>
                      <a:pt x="3" y="139"/>
                    </a:cubicBezTo>
                    <a:lnTo>
                      <a:pt x="0" y="147"/>
                    </a:lnTo>
                    <a:cubicBezTo>
                      <a:pt x="79" y="180"/>
                      <a:pt x="174" y="169"/>
                      <a:pt x="244" y="110"/>
                    </a:cubicBezTo>
                    <a:cubicBezTo>
                      <a:pt x="268" y="90"/>
                      <a:pt x="286" y="67"/>
                      <a:pt x="300" y="41"/>
                    </a:cubicBezTo>
                    <a:lnTo>
                      <a:pt x="316" y="50"/>
                    </a:lnTo>
                    <a:close/>
                  </a:path>
                </a:pathLst>
              </a:custGeom>
              <a:solidFill>
                <a:schemeClr val="accent5">
                  <a:lumMod val="60000"/>
                  <a:lumOff val="40000"/>
                </a:schemeClr>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5" name="Freeform: Shape 8795">
                <a:extLst>
                  <a:ext uri="{FF2B5EF4-FFF2-40B4-BE49-F238E27FC236}">
                    <a16:creationId xmlns:a16="http://schemas.microsoft.com/office/drawing/2014/main" id="{AF2FB709-3B3C-D57E-E2EF-0B5C02E95E09}"/>
                  </a:ext>
                </a:extLst>
              </p:cNvPr>
              <p:cNvSpPr/>
              <p:nvPr/>
            </p:nvSpPr>
            <p:spPr>
              <a:xfrm>
                <a:off x="8853642" y="3516013"/>
                <a:ext cx="243668" cy="860297"/>
              </a:xfrm>
              <a:custGeom>
                <a:avLst/>
                <a:gdLst/>
                <a:ahLst/>
                <a:cxnLst>
                  <a:cxn ang="3cd4">
                    <a:pos x="hc" y="t"/>
                  </a:cxn>
                  <a:cxn ang="cd2">
                    <a:pos x="l" y="vc"/>
                  </a:cxn>
                  <a:cxn ang="cd4">
                    <a:pos x="hc" y="b"/>
                  </a:cxn>
                  <a:cxn ang="0">
                    <a:pos x="r" y="vc"/>
                  </a:cxn>
                </a:cxnLst>
                <a:rect l="l" t="t" r="r" b="b"/>
                <a:pathLst>
                  <a:path w="99" h="347">
                    <a:moveTo>
                      <a:pt x="63" y="347"/>
                    </a:moveTo>
                    <a:lnTo>
                      <a:pt x="61" y="296"/>
                    </a:lnTo>
                    <a:lnTo>
                      <a:pt x="42" y="309"/>
                    </a:lnTo>
                    <a:cubicBezTo>
                      <a:pt x="28" y="285"/>
                      <a:pt x="17" y="258"/>
                      <a:pt x="12" y="229"/>
                    </a:cubicBezTo>
                    <a:cubicBezTo>
                      <a:pt x="-3" y="142"/>
                      <a:pt x="33" y="58"/>
                      <a:pt x="99" y="7"/>
                    </a:cubicBezTo>
                    <a:lnTo>
                      <a:pt x="94" y="0"/>
                    </a:lnTo>
                    <a:cubicBezTo>
                      <a:pt x="25" y="53"/>
                      <a:pt x="-12" y="140"/>
                      <a:pt x="4" y="231"/>
                    </a:cubicBezTo>
                    <a:cubicBezTo>
                      <a:pt x="9" y="261"/>
                      <a:pt x="20" y="289"/>
                      <a:pt x="35" y="313"/>
                    </a:cubicBezTo>
                    <a:lnTo>
                      <a:pt x="20" y="323"/>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6" name="Freeform: Shape 8796">
                <a:extLst>
                  <a:ext uri="{FF2B5EF4-FFF2-40B4-BE49-F238E27FC236}">
                    <a16:creationId xmlns:a16="http://schemas.microsoft.com/office/drawing/2014/main" id="{CE313029-4CC0-E36B-347E-ABAF100340C6}"/>
                  </a:ext>
                </a:extLst>
              </p:cNvPr>
              <p:cNvSpPr/>
              <p:nvPr/>
            </p:nvSpPr>
            <p:spPr>
              <a:xfrm>
                <a:off x="8624892" y="2633332"/>
                <a:ext cx="507228" cy="728517"/>
              </a:xfrm>
              <a:custGeom>
                <a:avLst/>
                <a:gdLst/>
                <a:ahLst/>
                <a:cxnLst>
                  <a:cxn ang="3cd4">
                    <a:pos x="hc" y="t"/>
                  </a:cxn>
                  <a:cxn ang="cd2">
                    <a:pos x="l" y="vc"/>
                  </a:cxn>
                  <a:cxn ang="cd4">
                    <a:pos x="hc" y="b"/>
                  </a:cxn>
                  <a:cxn ang="0">
                    <a:pos x="r" y="vc"/>
                  </a:cxn>
                </a:cxnLst>
                <a:rect l="l" t="t" r="r" b="b"/>
                <a:pathLst>
                  <a:path w="205" h="294">
                    <a:moveTo>
                      <a:pt x="205" y="284"/>
                    </a:moveTo>
                    <a:lnTo>
                      <a:pt x="172" y="247"/>
                    </a:lnTo>
                    <a:lnTo>
                      <a:pt x="165" y="269"/>
                    </a:lnTo>
                    <a:cubicBezTo>
                      <a:pt x="138" y="260"/>
                      <a:pt x="113" y="246"/>
                      <a:pt x="91" y="227"/>
                    </a:cubicBezTo>
                    <a:cubicBezTo>
                      <a:pt x="23" y="170"/>
                      <a:pt x="-4" y="82"/>
                      <a:pt x="14" y="2"/>
                    </a:cubicBezTo>
                    <a:lnTo>
                      <a:pt x="6" y="0"/>
                    </a:lnTo>
                    <a:cubicBezTo>
                      <a:pt x="-13" y="84"/>
                      <a:pt x="15" y="175"/>
                      <a:pt x="85" y="233"/>
                    </a:cubicBezTo>
                    <a:cubicBezTo>
                      <a:pt x="109" y="253"/>
                      <a:pt x="135" y="268"/>
                      <a:pt x="162" y="277"/>
                    </a:cubicBezTo>
                    <a:lnTo>
                      <a:pt x="157" y="294"/>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60" name="Freeform: Shape 8797">
                <a:extLst>
                  <a:ext uri="{FF2B5EF4-FFF2-40B4-BE49-F238E27FC236}">
                    <a16:creationId xmlns:a16="http://schemas.microsoft.com/office/drawing/2014/main" id="{2A426172-C95C-256C-FC20-463430D58CCE}"/>
                  </a:ext>
                </a:extLst>
              </p:cNvPr>
              <p:cNvSpPr/>
              <p:nvPr/>
            </p:nvSpPr>
            <p:spPr>
              <a:xfrm>
                <a:off x="8194736" y="4493170"/>
                <a:ext cx="653926" cy="609170"/>
              </a:xfrm>
              <a:custGeom>
                <a:avLst/>
                <a:gdLst/>
                <a:ahLst/>
                <a:cxnLst>
                  <a:cxn ang="3cd4">
                    <a:pos x="hc" y="t"/>
                  </a:cxn>
                  <a:cxn ang="cd2">
                    <a:pos x="l" y="vc"/>
                  </a:cxn>
                  <a:cxn ang="cd4">
                    <a:pos x="hc" y="b"/>
                  </a:cxn>
                  <a:cxn ang="0">
                    <a:pos x="r" y="vc"/>
                  </a:cxn>
                </a:cxnLst>
                <a:rect l="l" t="t" r="r" b="b"/>
                <a:pathLst>
                  <a:path w="264" h="246">
                    <a:moveTo>
                      <a:pt x="18" y="246"/>
                    </a:moveTo>
                    <a:lnTo>
                      <a:pt x="49" y="206"/>
                    </a:lnTo>
                    <a:lnTo>
                      <a:pt x="26" y="203"/>
                    </a:lnTo>
                    <a:cubicBezTo>
                      <a:pt x="31" y="176"/>
                      <a:pt x="40" y="148"/>
                      <a:pt x="54" y="123"/>
                    </a:cubicBezTo>
                    <a:cubicBezTo>
                      <a:pt x="99" y="46"/>
                      <a:pt x="181" y="5"/>
                      <a:pt x="263" y="9"/>
                    </a:cubicBezTo>
                    <a:lnTo>
                      <a:pt x="264" y="0"/>
                    </a:lnTo>
                    <a:cubicBezTo>
                      <a:pt x="178" y="-4"/>
                      <a:pt x="93" y="39"/>
                      <a:pt x="47" y="119"/>
                    </a:cubicBezTo>
                    <a:cubicBezTo>
                      <a:pt x="32" y="145"/>
                      <a:pt x="22" y="174"/>
                      <a:pt x="18" y="202"/>
                    </a:cubicBezTo>
                    <a:lnTo>
                      <a:pt x="0" y="200"/>
                    </a:lnTo>
                    <a:close/>
                  </a:path>
                </a:pathLst>
              </a:custGeom>
              <a:solidFill>
                <a:srgbClr val="EDA13E"/>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61" name="Freeform: Shape 8798">
                <a:extLst>
                  <a:ext uri="{FF2B5EF4-FFF2-40B4-BE49-F238E27FC236}">
                    <a16:creationId xmlns:a16="http://schemas.microsoft.com/office/drawing/2014/main" id="{9306FDC1-25F6-B367-C142-BE7FC30AFBF7}"/>
                  </a:ext>
                </a:extLst>
              </p:cNvPr>
              <p:cNvSpPr/>
              <p:nvPr/>
            </p:nvSpPr>
            <p:spPr>
              <a:xfrm>
                <a:off x="6377178" y="4445928"/>
                <a:ext cx="706141" cy="559442"/>
              </a:xfrm>
              <a:custGeom>
                <a:avLst/>
                <a:gdLst/>
                <a:ahLst/>
                <a:cxnLst>
                  <a:cxn ang="3cd4">
                    <a:pos x="hc" y="t"/>
                  </a:cxn>
                  <a:cxn ang="cd2">
                    <a:pos x="l" y="vc"/>
                  </a:cxn>
                  <a:cxn ang="cd4">
                    <a:pos x="hc" y="b"/>
                  </a:cxn>
                  <a:cxn ang="0">
                    <a:pos x="r" y="vc"/>
                  </a:cxn>
                </a:cxnLst>
                <a:rect l="l" t="t" r="r" b="b"/>
                <a:pathLst>
                  <a:path w="285" h="226">
                    <a:moveTo>
                      <a:pt x="0" y="25"/>
                    </a:moveTo>
                    <a:lnTo>
                      <a:pt x="45" y="49"/>
                    </a:lnTo>
                    <a:lnTo>
                      <a:pt x="44" y="26"/>
                    </a:lnTo>
                    <a:cubicBezTo>
                      <a:pt x="72" y="25"/>
                      <a:pt x="100" y="30"/>
                      <a:pt x="127" y="40"/>
                    </a:cubicBezTo>
                    <a:cubicBezTo>
                      <a:pt x="211" y="70"/>
                      <a:pt x="265" y="144"/>
                      <a:pt x="276" y="226"/>
                    </a:cubicBezTo>
                    <a:lnTo>
                      <a:pt x="285" y="225"/>
                    </a:lnTo>
                    <a:cubicBezTo>
                      <a:pt x="274" y="139"/>
                      <a:pt x="217" y="63"/>
                      <a:pt x="130" y="32"/>
                    </a:cubicBezTo>
                    <a:cubicBezTo>
                      <a:pt x="102" y="21"/>
                      <a:pt x="72" y="17"/>
                      <a:pt x="43" y="17"/>
                    </a:cubicBezTo>
                    <a:lnTo>
                      <a:pt x="42" y="0"/>
                    </a:lnTo>
                    <a:close/>
                  </a:path>
                </a:pathLst>
              </a:custGeom>
              <a:solidFill>
                <a:srgbClr val="F16924"/>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62" name="Freeform: Shape 8799">
                <a:extLst>
                  <a:ext uri="{FF2B5EF4-FFF2-40B4-BE49-F238E27FC236}">
                    <a16:creationId xmlns:a16="http://schemas.microsoft.com/office/drawing/2014/main" id="{51347222-AD29-621B-EFC1-8C272E2214DD}"/>
                  </a:ext>
                </a:extLst>
              </p:cNvPr>
              <p:cNvSpPr/>
              <p:nvPr/>
            </p:nvSpPr>
            <p:spPr>
              <a:xfrm>
                <a:off x="7202658" y="4910879"/>
                <a:ext cx="857812" cy="228750"/>
              </a:xfrm>
              <a:custGeom>
                <a:avLst/>
                <a:gdLst/>
                <a:ahLst/>
                <a:cxnLst>
                  <a:cxn ang="3cd4">
                    <a:pos x="hc" y="t"/>
                  </a:cxn>
                  <a:cxn ang="cd2">
                    <a:pos x="l" y="vc"/>
                  </a:cxn>
                  <a:cxn ang="cd4">
                    <a:pos x="hc" y="b"/>
                  </a:cxn>
                  <a:cxn ang="0">
                    <a:pos x="r" y="vc"/>
                  </a:cxn>
                </a:cxnLst>
                <a:rect l="l" t="t" r="r" b="b"/>
                <a:pathLst>
                  <a:path w="346" h="93">
                    <a:moveTo>
                      <a:pt x="0" y="93"/>
                    </a:moveTo>
                    <a:lnTo>
                      <a:pt x="49" y="83"/>
                    </a:lnTo>
                    <a:lnTo>
                      <a:pt x="34" y="66"/>
                    </a:lnTo>
                    <a:cubicBezTo>
                      <a:pt x="55" y="48"/>
                      <a:pt x="79" y="33"/>
                      <a:pt x="107" y="23"/>
                    </a:cubicBezTo>
                    <a:cubicBezTo>
                      <a:pt x="190" y="-8"/>
                      <a:pt x="279" y="14"/>
                      <a:pt x="341" y="70"/>
                    </a:cubicBezTo>
                    <a:lnTo>
                      <a:pt x="346" y="63"/>
                    </a:lnTo>
                    <a:cubicBezTo>
                      <a:pt x="283" y="5"/>
                      <a:pt x="190" y="-17"/>
                      <a:pt x="104" y="14"/>
                    </a:cubicBezTo>
                    <a:cubicBezTo>
                      <a:pt x="75" y="25"/>
                      <a:pt x="50" y="40"/>
                      <a:pt x="28" y="60"/>
                    </a:cubicBezTo>
                    <a:lnTo>
                      <a:pt x="16" y="47"/>
                    </a:lnTo>
                    <a:close/>
                  </a:path>
                </a:pathLst>
              </a:custGeom>
              <a:solidFill>
                <a:srgbClr val="7F1C58"/>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63" name="Freeform: Shape 8800">
                <a:extLst>
                  <a:ext uri="{FF2B5EF4-FFF2-40B4-BE49-F238E27FC236}">
                    <a16:creationId xmlns:a16="http://schemas.microsoft.com/office/drawing/2014/main" id="{C22BDEDF-97A2-75E0-7D94-9D9EB4C4FE2D}"/>
                  </a:ext>
                </a:extLst>
              </p:cNvPr>
              <p:cNvSpPr/>
              <p:nvPr/>
            </p:nvSpPr>
            <p:spPr>
              <a:xfrm>
                <a:off x="6277721" y="2573657"/>
                <a:ext cx="450040" cy="780732"/>
              </a:xfrm>
              <a:custGeom>
                <a:avLst/>
                <a:gdLst/>
                <a:ahLst/>
                <a:cxnLst>
                  <a:cxn ang="3cd4">
                    <a:pos x="hc" y="t"/>
                  </a:cxn>
                  <a:cxn ang="cd2">
                    <a:pos x="l" y="vc"/>
                  </a:cxn>
                  <a:cxn ang="cd4">
                    <a:pos x="hc" y="b"/>
                  </a:cxn>
                  <a:cxn ang="0">
                    <a:pos x="r" y="vc"/>
                  </a:cxn>
                </a:cxnLst>
                <a:rect l="l" t="t" r="r" b="b"/>
                <a:pathLst>
                  <a:path w="182" h="315">
                    <a:moveTo>
                      <a:pt x="150" y="0"/>
                    </a:moveTo>
                    <a:lnTo>
                      <a:pt x="134" y="48"/>
                    </a:lnTo>
                    <a:lnTo>
                      <a:pt x="157" y="43"/>
                    </a:lnTo>
                    <a:cubicBezTo>
                      <a:pt x="162" y="70"/>
                      <a:pt x="163" y="99"/>
                      <a:pt x="158" y="128"/>
                    </a:cubicBezTo>
                    <a:cubicBezTo>
                      <a:pt x="142" y="215"/>
                      <a:pt x="79" y="282"/>
                      <a:pt x="0" y="307"/>
                    </a:cubicBezTo>
                    <a:lnTo>
                      <a:pt x="3" y="315"/>
                    </a:lnTo>
                    <a:cubicBezTo>
                      <a:pt x="85" y="289"/>
                      <a:pt x="150" y="220"/>
                      <a:pt x="166" y="130"/>
                    </a:cubicBezTo>
                    <a:cubicBezTo>
                      <a:pt x="172" y="100"/>
                      <a:pt x="171" y="70"/>
                      <a:pt x="165" y="42"/>
                    </a:cubicBezTo>
                    <a:lnTo>
                      <a:pt x="182" y="38"/>
                    </a:lnTo>
                    <a:close/>
                  </a:path>
                </a:pathLst>
              </a:custGeom>
              <a:solidFill>
                <a:srgbClr val="B41F7A"/>
              </a:solidFill>
              <a:ln cap="flat">
                <a:noFill/>
                <a:prstDash val="solid"/>
              </a:ln>
            </p:spPr>
            <p:txBody>
              <a:bodyPr vert="horz" wrap="none" lIns="33759" tIns="16879" rIns="33759" bIns="16879" anchor="ctr" anchorCtr="1" compatLnSpc="0"/>
              <a:lstStyle/>
              <a:p>
                <a:pPr algn="l" rtl="0"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grpSp>
        <p:sp>
          <p:nvSpPr>
            <p:cNvPr id="64" name="Ellipse 78">
              <a:extLst>
                <a:ext uri="{FF2B5EF4-FFF2-40B4-BE49-F238E27FC236}">
                  <a16:creationId xmlns:a16="http://schemas.microsoft.com/office/drawing/2014/main" id="{AEB92706-8A40-27A8-31E9-BE50690A63CD}"/>
                </a:ext>
              </a:extLst>
            </p:cNvPr>
            <p:cNvSpPr>
              <a:spLocks noChangeAspect="1"/>
            </p:cNvSpPr>
            <p:nvPr/>
          </p:nvSpPr>
          <p:spPr>
            <a:xfrm>
              <a:off x="5649778" y="1713746"/>
              <a:ext cx="3399114" cy="3399114"/>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200" dirty="0">
                <a:solidFill>
                  <a:srgbClr val="595959"/>
                </a:solidFill>
                <a:latin typeface="Calibri" panose="020F0502020204030204" pitchFamily="34" charset="0"/>
                <a:cs typeface="Calibri" panose="020F0502020204030204" pitchFamily="34" charset="0"/>
              </a:endParaRPr>
            </a:p>
          </p:txBody>
        </p:sp>
        <p:sp>
          <p:nvSpPr>
            <p:cNvPr id="65" name="Ellipse 4">
              <a:extLst>
                <a:ext uri="{FF2B5EF4-FFF2-40B4-BE49-F238E27FC236}">
                  <a16:creationId xmlns:a16="http://schemas.microsoft.com/office/drawing/2014/main" id="{2338FB02-6AF0-BCF2-1DDB-2DD964D63553}"/>
                </a:ext>
              </a:extLst>
            </p:cNvPr>
            <p:cNvSpPr/>
            <p:nvPr/>
          </p:nvSpPr>
          <p:spPr>
            <a:xfrm>
              <a:off x="6660600" y="2707232"/>
              <a:ext cx="1357767" cy="13577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600" dirty="0">
                <a:solidFill>
                  <a:srgbClr val="595959"/>
                </a:solidFill>
                <a:latin typeface="Calibri" panose="020F0502020204030204" pitchFamily="34" charset="0"/>
                <a:cs typeface="Calibri" panose="020F0502020204030204" pitchFamily="34" charset="0"/>
              </a:endParaRPr>
            </a:p>
          </p:txBody>
        </p:sp>
        <p:sp>
          <p:nvSpPr>
            <p:cNvPr id="66" name="Textfeld 5">
              <a:extLst>
                <a:ext uri="{FF2B5EF4-FFF2-40B4-BE49-F238E27FC236}">
                  <a16:creationId xmlns:a16="http://schemas.microsoft.com/office/drawing/2014/main" id="{7F6FFAD1-FEBC-FC39-B1C3-B70B9B8E2BAC}"/>
                </a:ext>
              </a:extLst>
            </p:cNvPr>
            <p:cNvSpPr txBox="1"/>
            <p:nvPr/>
          </p:nvSpPr>
          <p:spPr>
            <a:xfrm>
              <a:off x="6065150" y="2672846"/>
              <a:ext cx="473883" cy="279282"/>
            </a:xfrm>
            <a:prstGeom prst="rect">
              <a:avLst/>
            </a:prstGeom>
            <a:noFill/>
          </p:spPr>
          <p:txBody>
            <a:bodyPr wrap="none" rtlCol="0">
              <a:spAutoFit/>
            </a:bodyPr>
            <a:lstStyle/>
            <a:p>
              <a:pPr algn="ctr" rtl="0">
                <a:lnSpc>
                  <a:spcPts val="1520"/>
                </a:lnSpc>
              </a:pPr>
              <a:r>
                <a:rPr lang="en-GB" sz="1500" b="1" dirty="0">
                  <a:solidFill>
                    <a:schemeClr val="bg1"/>
                  </a:solidFill>
                  <a:latin typeface="Calibri" panose="020F0502020204030204" pitchFamily="34" charset="0"/>
                  <a:cs typeface="Calibri" panose="020F0502020204030204" pitchFamily="34" charset="0"/>
                </a:rPr>
                <a:t>RSE</a:t>
              </a:r>
            </a:p>
          </p:txBody>
        </p:sp>
        <p:sp>
          <p:nvSpPr>
            <p:cNvPr id="67" name="Textfeld 79">
              <a:extLst>
                <a:ext uri="{FF2B5EF4-FFF2-40B4-BE49-F238E27FC236}">
                  <a16:creationId xmlns:a16="http://schemas.microsoft.com/office/drawing/2014/main" id="{C17D724C-344B-C109-DEFD-8419C5F793E5}"/>
                </a:ext>
              </a:extLst>
            </p:cNvPr>
            <p:cNvSpPr txBox="1"/>
            <p:nvPr/>
          </p:nvSpPr>
          <p:spPr>
            <a:xfrm>
              <a:off x="6367198" y="2075690"/>
              <a:ext cx="978423" cy="466219"/>
            </a:xfrm>
            <a:prstGeom prst="rect">
              <a:avLst/>
            </a:prstGeom>
            <a:noFill/>
          </p:spPr>
          <p:txBody>
            <a:bodyPr wrap="none" rtlCol="0">
              <a:spAutoFit/>
            </a:bodyPr>
            <a:lstStyle/>
            <a:p>
              <a:pPr algn="ctr" rtl="0">
                <a:lnSpc>
                  <a:spcPts val="1520"/>
                </a:lnSpc>
              </a:pPr>
              <a:r>
                <a:rPr lang="en-GB" sz="1500" b="1" dirty="0">
                  <a:solidFill>
                    <a:schemeClr val="bg1"/>
                  </a:solidFill>
                  <a:latin typeface="Calibri" panose="020F0502020204030204" pitchFamily="34" charset="0"/>
                  <a:cs typeface="Calibri" panose="020F0502020204030204" pitchFamily="34" charset="0"/>
                </a:rPr>
                <a:t>Marketing</a:t>
              </a:r>
              <a:br>
                <a:rPr lang="en-GB" sz="1500" b="1" dirty="0">
                  <a:solidFill>
                    <a:schemeClr val="bg1"/>
                  </a:solidFill>
                  <a:latin typeface="Calibri" panose="020F0502020204030204" pitchFamily="34" charset="0"/>
                  <a:cs typeface="Calibri" panose="020F0502020204030204" pitchFamily="34" charset="0"/>
                </a:rPr>
              </a:br>
              <a:endParaRPr lang="en-GB" sz="1500" b="1" dirty="0">
                <a:solidFill>
                  <a:schemeClr val="bg1"/>
                </a:solidFill>
                <a:latin typeface="Calibri" panose="020F0502020204030204" pitchFamily="34" charset="0"/>
                <a:cs typeface="Calibri" panose="020F0502020204030204" pitchFamily="34" charset="0"/>
              </a:endParaRPr>
            </a:p>
          </p:txBody>
        </p:sp>
        <p:sp>
          <p:nvSpPr>
            <p:cNvPr id="68" name="Textfeld 80">
              <a:extLst>
                <a:ext uri="{FF2B5EF4-FFF2-40B4-BE49-F238E27FC236}">
                  <a16:creationId xmlns:a16="http://schemas.microsoft.com/office/drawing/2014/main" id="{EE1A9143-795B-4635-3676-6B65777BBF34}"/>
                </a:ext>
              </a:extLst>
            </p:cNvPr>
            <p:cNvSpPr txBox="1"/>
            <p:nvPr/>
          </p:nvSpPr>
          <p:spPr>
            <a:xfrm>
              <a:off x="7469843" y="1990109"/>
              <a:ext cx="599815" cy="653154"/>
            </a:xfrm>
            <a:prstGeom prst="rect">
              <a:avLst/>
            </a:prstGeom>
            <a:noFill/>
          </p:spPr>
          <p:txBody>
            <a:bodyPr wrap="none" rtlCol="0">
              <a:spAutoFit/>
            </a:bodyPr>
            <a:lstStyle/>
            <a:p>
              <a:pPr algn="ctr" rtl="0">
                <a:lnSpc>
                  <a:spcPts val="1520"/>
                </a:lnSpc>
              </a:pPr>
              <a:r>
                <a:rPr lang="en-GB" sz="1500" b="1" dirty="0">
                  <a:solidFill>
                    <a:schemeClr val="bg1"/>
                  </a:solidFill>
                  <a:latin typeface="Calibri" panose="020F0502020204030204" pitchFamily="34" charset="0"/>
                  <a:cs typeface="Calibri" panose="020F0502020204030204" pitchFamily="34" charset="0"/>
                </a:rPr>
                <a:t>Ventas</a:t>
              </a:r>
              <a:br>
                <a:rPr lang="en-GB" sz="1500" b="1" dirty="0">
                  <a:solidFill>
                    <a:schemeClr val="bg1"/>
                  </a:solidFill>
                  <a:latin typeface="Calibri" panose="020F0502020204030204" pitchFamily="34" charset="0"/>
                  <a:cs typeface="Calibri" panose="020F0502020204030204" pitchFamily="34" charset="0"/>
                </a:rPr>
              </a:br>
              <a:r>
                <a:rPr lang="en-GB" sz="1500" b="1" dirty="0">
                  <a:solidFill>
                    <a:schemeClr val="bg1"/>
                  </a:solidFill>
                  <a:latin typeface="Calibri" panose="020F0502020204030204" pitchFamily="34" charset="0"/>
                  <a:cs typeface="Calibri" panose="020F0502020204030204" pitchFamily="34" charset="0"/>
                </a:rPr>
                <a:t>Fuerza</a:t>
              </a:r>
              <a:br>
                <a:rPr lang="en-GB" sz="1500" b="1" dirty="0">
                  <a:solidFill>
                    <a:schemeClr val="bg1"/>
                  </a:solidFill>
                  <a:latin typeface="Calibri" panose="020F0502020204030204" pitchFamily="34" charset="0"/>
                  <a:cs typeface="Calibri" panose="020F0502020204030204" pitchFamily="34" charset="0"/>
                </a:rPr>
              </a:br>
              <a:endParaRPr lang="en-GB" sz="1500" b="1" dirty="0">
                <a:solidFill>
                  <a:schemeClr val="bg1"/>
                </a:solidFill>
                <a:latin typeface="Calibri" panose="020F0502020204030204" pitchFamily="34" charset="0"/>
                <a:cs typeface="Calibri" panose="020F0502020204030204" pitchFamily="34" charset="0"/>
              </a:endParaRPr>
            </a:p>
          </p:txBody>
        </p:sp>
        <p:sp>
          <p:nvSpPr>
            <p:cNvPr id="69" name="Textfeld 81">
              <a:extLst>
                <a:ext uri="{FF2B5EF4-FFF2-40B4-BE49-F238E27FC236}">
                  <a16:creationId xmlns:a16="http://schemas.microsoft.com/office/drawing/2014/main" id="{2D8E8A46-45BB-D239-2F10-E7211924BF59}"/>
                </a:ext>
              </a:extLst>
            </p:cNvPr>
            <p:cNvSpPr txBox="1"/>
            <p:nvPr/>
          </p:nvSpPr>
          <p:spPr>
            <a:xfrm>
              <a:off x="7863409" y="2716958"/>
              <a:ext cx="1021169" cy="279282"/>
            </a:xfrm>
            <a:prstGeom prst="rect">
              <a:avLst/>
            </a:prstGeom>
            <a:noFill/>
          </p:spPr>
          <p:txBody>
            <a:bodyPr wrap="none" rtlCol="0">
              <a:spAutoFit/>
            </a:bodyPr>
            <a:lstStyle/>
            <a:p>
              <a:pPr algn="ctr" rtl="0">
                <a:lnSpc>
                  <a:spcPts val="1520"/>
                </a:lnSpc>
              </a:pPr>
              <a:r>
                <a:rPr lang="en-GB" sz="1500" b="1" dirty="0">
                  <a:solidFill>
                    <a:schemeClr val="bg1"/>
                  </a:solidFill>
                  <a:latin typeface="Calibri" panose="020F0502020204030204" pitchFamily="34" charset="0"/>
                  <a:cs typeface="Calibri" panose="020F0502020204030204" pitchFamily="34" charset="0"/>
                </a:rPr>
                <a:t>Adquisitivo</a:t>
              </a:r>
            </a:p>
          </p:txBody>
        </p:sp>
        <p:sp>
          <p:nvSpPr>
            <p:cNvPr id="70" name="Textfeld 82">
              <a:extLst>
                <a:ext uri="{FF2B5EF4-FFF2-40B4-BE49-F238E27FC236}">
                  <a16:creationId xmlns:a16="http://schemas.microsoft.com/office/drawing/2014/main" id="{259FF5AD-3440-6B52-2B85-F7385200AD94}"/>
                </a:ext>
              </a:extLst>
            </p:cNvPr>
            <p:cNvSpPr txBox="1"/>
            <p:nvPr/>
          </p:nvSpPr>
          <p:spPr>
            <a:xfrm>
              <a:off x="8081211" y="3303780"/>
              <a:ext cx="897792" cy="466219"/>
            </a:xfrm>
            <a:prstGeom prst="rect">
              <a:avLst/>
            </a:prstGeom>
            <a:noFill/>
          </p:spPr>
          <p:txBody>
            <a:bodyPr wrap="none" rtlCol="0">
              <a:spAutoFit/>
            </a:bodyPr>
            <a:lstStyle/>
            <a:p>
              <a:pPr algn="ctr" rtl="0">
                <a:lnSpc>
                  <a:spcPts val="1520"/>
                </a:lnSpc>
              </a:pPr>
              <a:r>
                <a:rPr lang="en-GB" sz="1500" b="1" dirty="0">
                  <a:solidFill>
                    <a:schemeClr val="bg1"/>
                  </a:solidFill>
                  <a:latin typeface="Calibri" panose="020F0502020204030204" pitchFamily="34" charset="0"/>
                  <a:cs typeface="Calibri" panose="020F0502020204030204" pitchFamily="34" charset="0"/>
                </a:rPr>
                <a:t>Inversor</a:t>
              </a:r>
              <a:br>
                <a:rPr lang="en-GB" sz="1500" b="1" dirty="0">
                  <a:solidFill>
                    <a:schemeClr val="bg1"/>
                  </a:solidFill>
                  <a:latin typeface="Calibri" panose="020F0502020204030204" pitchFamily="34" charset="0"/>
                  <a:cs typeface="Calibri" panose="020F0502020204030204" pitchFamily="34" charset="0"/>
                </a:rPr>
              </a:br>
              <a:r>
                <a:rPr lang="en-GB" sz="1500" b="1" dirty="0">
                  <a:solidFill>
                    <a:schemeClr val="bg1"/>
                  </a:solidFill>
                  <a:latin typeface="Calibri" panose="020F0502020204030204" pitchFamily="34" charset="0"/>
                  <a:cs typeface="Calibri" panose="020F0502020204030204" pitchFamily="34" charset="0"/>
                </a:rPr>
                <a:t>Relaciones</a:t>
              </a:r>
            </a:p>
          </p:txBody>
        </p:sp>
        <p:sp>
          <p:nvSpPr>
            <p:cNvPr id="71" name="Textfeld 84">
              <a:extLst>
                <a:ext uri="{FF2B5EF4-FFF2-40B4-BE49-F238E27FC236}">
                  <a16:creationId xmlns:a16="http://schemas.microsoft.com/office/drawing/2014/main" id="{2FFAE31D-DCA2-A41D-E132-4EA79D4C967D}"/>
                </a:ext>
              </a:extLst>
            </p:cNvPr>
            <p:cNvSpPr txBox="1"/>
            <p:nvPr/>
          </p:nvSpPr>
          <p:spPr>
            <a:xfrm>
              <a:off x="7803138" y="4106102"/>
              <a:ext cx="536194" cy="279282"/>
            </a:xfrm>
            <a:prstGeom prst="rect">
              <a:avLst/>
            </a:prstGeom>
            <a:noFill/>
          </p:spPr>
          <p:txBody>
            <a:bodyPr wrap="none" rtlCol="0">
              <a:spAutoFit/>
            </a:bodyPr>
            <a:lstStyle/>
            <a:p>
              <a:pPr algn="ctr" rtl="0">
                <a:lnSpc>
                  <a:spcPts val="1520"/>
                </a:lnSpc>
              </a:pPr>
              <a:r>
                <a:rPr lang="en-GB" sz="1500" b="1" dirty="0">
                  <a:solidFill>
                    <a:schemeClr val="bg1"/>
                  </a:solidFill>
                  <a:latin typeface="Calibri" panose="020F0502020204030204" pitchFamily="34" charset="0"/>
                  <a:cs typeface="Calibri" panose="020F0502020204030204" pitchFamily="34" charset="0"/>
                </a:rPr>
                <a:t>I+D</a:t>
              </a:r>
            </a:p>
          </p:txBody>
        </p:sp>
        <p:sp>
          <p:nvSpPr>
            <p:cNvPr id="72" name="Textfeld 85">
              <a:extLst>
                <a:ext uri="{FF2B5EF4-FFF2-40B4-BE49-F238E27FC236}">
                  <a16:creationId xmlns:a16="http://schemas.microsoft.com/office/drawing/2014/main" id="{75246B01-E046-2599-2E40-F0B1F1774961}"/>
                </a:ext>
              </a:extLst>
            </p:cNvPr>
            <p:cNvSpPr txBox="1"/>
            <p:nvPr/>
          </p:nvSpPr>
          <p:spPr>
            <a:xfrm>
              <a:off x="7127082" y="4356014"/>
              <a:ext cx="403781" cy="279282"/>
            </a:xfrm>
            <a:prstGeom prst="rect">
              <a:avLst/>
            </a:prstGeom>
            <a:noFill/>
          </p:spPr>
          <p:txBody>
            <a:bodyPr wrap="none" rtlCol="0">
              <a:spAutoFit/>
            </a:bodyPr>
            <a:lstStyle/>
            <a:p>
              <a:pPr algn="ctr" rtl="0">
                <a:lnSpc>
                  <a:spcPts val="1520"/>
                </a:lnSpc>
              </a:pPr>
              <a:r>
                <a:rPr lang="en-GB" sz="1500" b="1" dirty="0">
                  <a:solidFill>
                    <a:schemeClr val="bg1"/>
                  </a:solidFill>
                  <a:latin typeface="Calibri" panose="020F0502020204030204" pitchFamily="34" charset="0"/>
                  <a:cs typeface="Calibri" panose="020F0502020204030204" pitchFamily="34" charset="0"/>
                </a:rPr>
                <a:t>HORA</a:t>
              </a:r>
            </a:p>
          </p:txBody>
        </p:sp>
        <p:sp>
          <p:nvSpPr>
            <p:cNvPr id="73" name="Textfeld 86">
              <a:extLst>
                <a:ext uri="{FF2B5EF4-FFF2-40B4-BE49-F238E27FC236}">
                  <a16:creationId xmlns:a16="http://schemas.microsoft.com/office/drawing/2014/main" id="{C23048EF-A7C3-E324-B3A2-DF3852DE6547}"/>
                </a:ext>
              </a:extLst>
            </p:cNvPr>
            <p:cNvSpPr txBox="1"/>
            <p:nvPr/>
          </p:nvSpPr>
          <p:spPr>
            <a:xfrm>
              <a:off x="6017167" y="4083688"/>
              <a:ext cx="957985" cy="466219"/>
            </a:xfrm>
            <a:prstGeom prst="rect">
              <a:avLst/>
            </a:prstGeom>
            <a:noFill/>
          </p:spPr>
          <p:txBody>
            <a:bodyPr wrap="none" rtlCol="0">
              <a:spAutoFit/>
            </a:bodyPr>
            <a:lstStyle/>
            <a:p>
              <a:pPr algn="ctr" rtl="0">
                <a:lnSpc>
                  <a:spcPts val="1520"/>
                </a:lnSpc>
              </a:pPr>
              <a:r>
                <a:rPr lang="en-GB" sz="1500" b="1" dirty="0">
                  <a:solidFill>
                    <a:schemeClr val="bg1"/>
                  </a:solidFill>
                  <a:latin typeface="Calibri" panose="020F0502020204030204" pitchFamily="34" charset="0"/>
                  <a:cs typeface="Calibri" panose="020F0502020204030204" pitchFamily="34" charset="0"/>
                </a:rPr>
                <a:t>Corporativo</a:t>
              </a:r>
              <a:br>
                <a:rPr lang="en-GB" sz="1500" b="1" dirty="0">
                  <a:solidFill>
                    <a:schemeClr val="bg1"/>
                  </a:solidFill>
                  <a:latin typeface="Calibri" panose="020F0502020204030204" pitchFamily="34" charset="0"/>
                  <a:cs typeface="Calibri" panose="020F0502020204030204" pitchFamily="34" charset="0"/>
                </a:rPr>
              </a:br>
              <a:r>
                <a:rPr lang="en-GB" sz="1500" b="1" dirty="0">
                  <a:solidFill>
                    <a:schemeClr val="bg1"/>
                  </a:solidFill>
                  <a:latin typeface="Calibri" panose="020F0502020204030204" pitchFamily="34" charset="0"/>
                  <a:cs typeface="Calibri" panose="020F0502020204030204" pitchFamily="34" charset="0"/>
                </a:rPr>
                <a:t>asuntos</a:t>
              </a:r>
            </a:p>
          </p:txBody>
        </p:sp>
        <p:sp>
          <p:nvSpPr>
            <p:cNvPr id="74" name="Textfeld 87">
              <a:extLst>
                <a:ext uri="{FF2B5EF4-FFF2-40B4-BE49-F238E27FC236}">
                  <a16:creationId xmlns:a16="http://schemas.microsoft.com/office/drawing/2014/main" id="{36E48ACD-F4A7-C672-68C1-3E92704BD780}"/>
                </a:ext>
              </a:extLst>
            </p:cNvPr>
            <p:cNvSpPr txBox="1"/>
            <p:nvPr/>
          </p:nvSpPr>
          <p:spPr>
            <a:xfrm>
              <a:off x="4143298" y="1613724"/>
              <a:ext cx="1293177" cy="752770"/>
            </a:xfrm>
            <a:prstGeom prst="rect">
              <a:avLst/>
            </a:prstGeom>
            <a:noFill/>
          </p:spPr>
          <p:txBody>
            <a:bodyPr wrap="square" rtlCol="0">
              <a:spAutoFit/>
            </a:bodyPr>
            <a:lstStyle/>
            <a:p>
              <a:pPr algn="ctr" rtl="0">
                <a:lnSpc>
                  <a:spcPts val="1720"/>
                </a:lnSpc>
              </a:pPr>
              <a:r>
                <a:rPr lang="en-GB" dirty="0">
                  <a:solidFill>
                    <a:srgbClr val="B41F7A"/>
                  </a:solidFill>
                  <a:latin typeface="Calibri" panose="020F0502020204030204" pitchFamily="34" charset="0"/>
                  <a:cs typeface="Calibri" panose="020F0502020204030204" pitchFamily="34" charset="0"/>
                </a:rPr>
                <a:t>Social</a:t>
              </a:r>
              <a:br>
                <a:rPr lang="en-GB" dirty="0">
                  <a:solidFill>
                    <a:srgbClr val="B41F7A"/>
                  </a:solidFill>
                  <a:latin typeface="Calibri" panose="020F0502020204030204" pitchFamily="34" charset="0"/>
                  <a:cs typeface="Calibri" panose="020F0502020204030204" pitchFamily="34" charset="0"/>
                </a:rPr>
              </a:br>
              <a:r>
                <a:rPr lang="en-GB" dirty="0">
                  <a:solidFill>
                    <a:srgbClr val="B41F7A"/>
                  </a:solidFill>
                  <a:latin typeface="Calibri" panose="020F0502020204030204" pitchFamily="34" charset="0"/>
                  <a:cs typeface="Calibri" panose="020F0502020204030204" pitchFamily="34" charset="0"/>
                </a:rPr>
                <a:t>Socios y ONG</a:t>
              </a:r>
            </a:p>
          </p:txBody>
        </p:sp>
        <p:sp>
          <p:nvSpPr>
            <p:cNvPr id="76" name="Textfeld 89">
              <a:extLst>
                <a:ext uri="{FF2B5EF4-FFF2-40B4-BE49-F238E27FC236}">
                  <a16:creationId xmlns:a16="http://schemas.microsoft.com/office/drawing/2014/main" id="{CC1A4006-C8BE-3453-1AD8-26A9B35281AE}"/>
                </a:ext>
              </a:extLst>
            </p:cNvPr>
            <p:cNvSpPr txBox="1"/>
            <p:nvPr/>
          </p:nvSpPr>
          <p:spPr>
            <a:xfrm>
              <a:off x="5619283" y="644871"/>
              <a:ext cx="1229054" cy="316753"/>
            </a:xfrm>
            <a:prstGeom prst="rect">
              <a:avLst/>
            </a:prstGeom>
            <a:noFill/>
          </p:spPr>
          <p:txBody>
            <a:bodyPr wrap="none" rtlCol="0">
              <a:spAutoFit/>
            </a:bodyPr>
            <a:lstStyle/>
            <a:p>
              <a:pPr algn="ctr" rtl="0">
                <a:lnSpc>
                  <a:spcPts val="1720"/>
                </a:lnSpc>
              </a:pPr>
              <a:r>
                <a:rPr lang="en-GB" dirty="0">
                  <a:solidFill>
                    <a:srgbClr val="EDA13E"/>
                  </a:solidFill>
                  <a:latin typeface="Calibri" panose="020F0502020204030204" pitchFamily="34" charset="0"/>
                  <a:cs typeface="Calibri" panose="020F0502020204030204" pitchFamily="34" charset="0"/>
                </a:rPr>
                <a:t>consumidores</a:t>
              </a:r>
            </a:p>
          </p:txBody>
        </p:sp>
        <p:sp>
          <p:nvSpPr>
            <p:cNvPr id="77" name="Textfeld 90">
              <a:extLst>
                <a:ext uri="{FF2B5EF4-FFF2-40B4-BE49-F238E27FC236}">
                  <a16:creationId xmlns:a16="http://schemas.microsoft.com/office/drawing/2014/main" id="{013532D8-D65B-0507-BF9C-109CC30CFC5A}"/>
                </a:ext>
              </a:extLst>
            </p:cNvPr>
            <p:cNvSpPr txBox="1"/>
            <p:nvPr/>
          </p:nvSpPr>
          <p:spPr>
            <a:xfrm>
              <a:off x="7730720" y="527426"/>
              <a:ext cx="1179362" cy="534762"/>
            </a:xfrm>
            <a:prstGeom prst="rect">
              <a:avLst/>
            </a:prstGeom>
            <a:noFill/>
          </p:spPr>
          <p:txBody>
            <a:bodyPr wrap="none" rtlCol="0">
              <a:spAutoFit/>
            </a:bodyPr>
            <a:lstStyle/>
            <a:p>
              <a:pPr algn="ctr" rtl="0">
                <a:lnSpc>
                  <a:spcPts val="1720"/>
                </a:lnSpc>
              </a:pPr>
              <a:r>
                <a:rPr lang="en-GB" dirty="0">
                  <a:solidFill>
                    <a:srgbClr val="7F1C58"/>
                  </a:solidFill>
                  <a:latin typeface="Calibri" panose="020F0502020204030204" pitchFamily="34" charset="0"/>
                  <a:cs typeface="Calibri" panose="020F0502020204030204" pitchFamily="34" charset="0"/>
                </a:rPr>
                <a:t>Negocio</a:t>
              </a:r>
              <a:br>
                <a:rPr lang="en-GB" dirty="0">
                  <a:solidFill>
                    <a:srgbClr val="7F1C58"/>
                  </a:solidFill>
                  <a:latin typeface="Calibri" panose="020F0502020204030204" pitchFamily="34" charset="0"/>
                  <a:cs typeface="Calibri" panose="020F0502020204030204" pitchFamily="34" charset="0"/>
                </a:rPr>
              </a:br>
              <a:r>
                <a:rPr lang="en-GB" dirty="0">
                  <a:solidFill>
                    <a:srgbClr val="7F1C58"/>
                  </a:solidFill>
                  <a:latin typeface="Calibri" panose="020F0502020204030204" pitchFamily="34" charset="0"/>
                  <a:cs typeface="Calibri" panose="020F0502020204030204" pitchFamily="34" charset="0"/>
                </a:rPr>
                <a:t>Clientes</a:t>
              </a:r>
            </a:p>
          </p:txBody>
        </p:sp>
        <p:sp>
          <p:nvSpPr>
            <p:cNvPr id="78" name="Textfeld 91">
              <a:extLst>
                <a:ext uri="{FF2B5EF4-FFF2-40B4-BE49-F238E27FC236}">
                  <a16:creationId xmlns:a16="http://schemas.microsoft.com/office/drawing/2014/main" id="{2EC485A6-A04F-4036-4A29-7E65C3DBD361}"/>
                </a:ext>
              </a:extLst>
            </p:cNvPr>
            <p:cNvSpPr txBox="1"/>
            <p:nvPr/>
          </p:nvSpPr>
          <p:spPr>
            <a:xfrm>
              <a:off x="9100037" y="1446220"/>
              <a:ext cx="1519163" cy="752770"/>
            </a:xfrm>
            <a:prstGeom prst="rect">
              <a:avLst/>
            </a:prstGeom>
            <a:noFill/>
          </p:spPr>
          <p:txBody>
            <a:bodyPr wrap="square" rtlCol="0">
              <a:spAutoFit/>
            </a:bodyPr>
            <a:lstStyle/>
            <a:p>
              <a:pPr algn="ctr" rtl="0">
                <a:lnSpc>
                  <a:spcPts val="1720"/>
                </a:lnSpc>
              </a:pPr>
              <a:r>
                <a:rPr lang="en-GB" dirty="0">
                  <a:solidFill>
                    <a:srgbClr val="F16924"/>
                  </a:solidFill>
                  <a:latin typeface="Calibri" panose="020F0502020204030204" pitchFamily="34" charset="0"/>
                  <a:cs typeface="Calibri" panose="020F0502020204030204" pitchFamily="34" charset="0"/>
                </a:rPr>
                <a:t>Socio comercial y proveedores</a:t>
              </a:r>
            </a:p>
          </p:txBody>
        </p:sp>
        <p:sp>
          <p:nvSpPr>
            <p:cNvPr id="80" name="Textfeld 93">
              <a:extLst>
                <a:ext uri="{FF2B5EF4-FFF2-40B4-BE49-F238E27FC236}">
                  <a16:creationId xmlns:a16="http://schemas.microsoft.com/office/drawing/2014/main" id="{705A798C-9BC7-1226-3DF7-52A952A563FA}"/>
                </a:ext>
              </a:extLst>
            </p:cNvPr>
            <p:cNvSpPr txBox="1"/>
            <p:nvPr/>
          </p:nvSpPr>
          <p:spPr>
            <a:xfrm>
              <a:off x="9677964" y="3560417"/>
              <a:ext cx="1111949" cy="534762"/>
            </a:xfrm>
            <a:prstGeom prst="rect">
              <a:avLst/>
            </a:prstGeom>
            <a:noFill/>
          </p:spPr>
          <p:txBody>
            <a:bodyPr wrap="square" rtlCol="0">
              <a:spAutoFit/>
            </a:bodyPr>
            <a:lstStyle/>
            <a:p>
              <a:pPr algn="ctr" rtl="0">
                <a:lnSpc>
                  <a:spcPts val="1720"/>
                </a:lnSpc>
              </a:pPr>
              <a:r>
                <a:rPr lang="en-GB" dirty="0">
                  <a:solidFill>
                    <a:srgbClr val="B41F7A"/>
                  </a:solidFill>
                  <a:latin typeface="Calibri" panose="020F0502020204030204" pitchFamily="34" charset="0"/>
                  <a:cs typeface="Calibri" panose="020F0502020204030204" pitchFamily="34" charset="0"/>
                </a:rPr>
                <a:t>Inversores y Bancos</a:t>
              </a:r>
            </a:p>
          </p:txBody>
        </p:sp>
        <p:sp>
          <p:nvSpPr>
            <p:cNvPr id="82" name="Textfeld 95">
              <a:extLst>
                <a:ext uri="{FF2B5EF4-FFF2-40B4-BE49-F238E27FC236}">
                  <a16:creationId xmlns:a16="http://schemas.microsoft.com/office/drawing/2014/main" id="{7254B743-8A66-8905-BBE9-EA8903C45245}"/>
                </a:ext>
              </a:extLst>
            </p:cNvPr>
            <p:cNvSpPr txBox="1"/>
            <p:nvPr/>
          </p:nvSpPr>
          <p:spPr>
            <a:xfrm>
              <a:off x="8648545" y="5276127"/>
              <a:ext cx="1401782" cy="534762"/>
            </a:xfrm>
            <a:prstGeom prst="rect">
              <a:avLst/>
            </a:prstGeom>
            <a:noFill/>
          </p:spPr>
          <p:txBody>
            <a:bodyPr wrap="square" rtlCol="0">
              <a:spAutoFit/>
            </a:bodyPr>
            <a:lstStyle/>
            <a:p>
              <a:pPr algn="ctr" rtl="0">
                <a:lnSpc>
                  <a:spcPts val="1720"/>
                </a:lnSpc>
              </a:pPr>
              <a:r>
                <a:rPr lang="en-GB" dirty="0">
                  <a:solidFill>
                    <a:srgbClr val="EDA13E"/>
                  </a:solidFill>
                  <a:latin typeface="Calibri" panose="020F0502020204030204" pitchFamily="34" charset="0"/>
                  <a:cs typeface="Calibri" panose="020F0502020204030204" pitchFamily="34" charset="0"/>
                </a:rPr>
                <a:t>Ciencia e Investigación</a:t>
              </a:r>
            </a:p>
          </p:txBody>
        </p:sp>
        <p:sp>
          <p:nvSpPr>
            <p:cNvPr id="83" name="Textfeld 96">
              <a:extLst>
                <a:ext uri="{FF2B5EF4-FFF2-40B4-BE49-F238E27FC236}">
                  <a16:creationId xmlns:a16="http://schemas.microsoft.com/office/drawing/2014/main" id="{1E9CD50A-BAE0-D36D-36B3-3AB6E42B5D1B}"/>
                </a:ext>
              </a:extLst>
            </p:cNvPr>
            <p:cNvSpPr txBox="1"/>
            <p:nvPr/>
          </p:nvSpPr>
          <p:spPr>
            <a:xfrm>
              <a:off x="6310649" y="6148918"/>
              <a:ext cx="2036648" cy="534762"/>
            </a:xfrm>
            <a:prstGeom prst="rect">
              <a:avLst/>
            </a:prstGeom>
            <a:noFill/>
          </p:spPr>
          <p:txBody>
            <a:bodyPr wrap="none" rtlCol="0">
              <a:spAutoFit/>
            </a:bodyPr>
            <a:lstStyle/>
            <a:p>
              <a:pPr algn="ctr" rtl="0">
                <a:lnSpc>
                  <a:spcPts val="1720"/>
                </a:lnSpc>
              </a:pPr>
              <a:r>
                <a:rPr lang="en-GB" dirty="0">
                  <a:solidFill>
                    <a:srgbClr val="7F1C58"/>
                  </a:solidFill>
                  <a:latin typeface="Calibri" panose="020F0502020204030204" pitchFamily="34" charset="0"/>
                  <a:cs typeface="Calibri" panose="020F0502020204030204" pitchFamily="34" charset="0"/>
                </a:rPr>
                <a:t>Jóvenes profesionales</a:t>
              </a:r>
              <a:br>
                <a:rPr lang="en-GB" dirty="0">
                  <a:solidFill>
                    <a:srgbClr val="7F1C58"/>
                  </a:solidFill>
                  <a:latin typeface="Calibri" panose="020F0502020204030204" pitchFamily="34" charset="0"/>
                  <a:cs typeface="Calibri" panose="020F0502020204030204" pitchFamily="34" charset="0"/>
                </a:rPr>
              </a:br>
              <a:r>
                <a:rPr lang="en-GB" dirty="0">
                  <a:solidFill>
                    <a:srgbClr val="7F1C58"/>
                  </a:solidFill>
                  <a:latin typeface="Calibri" panose="020F0502020204030204" pitchFamily="34" charset="0"/>
                  <a:cs typeface="Calibri" panose="020F0502020204030204" pitchFamily="34" charset="0"/>
                </a:rPr>
                <a:t>&amp; mejor desempeño</a:t>
              </a:r>
            </a:p>
          </p:txBody>
        </p:sp>
        <p:sp>
          <p:nvSpPr>
            <p:cNvPr id="84" name="Textfeld 97">
              <a:extLst>
                <a:ext uri="{FF2B5EF4-FFF2-40B4-BE49-F238E27FC236}">
                  <a16:creationId xmlns:a16="http://schemas.microsoft.com/office/drawing/2014/main" id="{25512AD8-C3BD-281B-8DEE-6E2D9DFEBDA0}"/>
                </a:ext>
              </a:extLst>
            </p:cNvPr>
            <p:cNvSpPr txBox="1"/>
            <p:nvPr/>
          </p:nvSpPr>
          <p:spPr>
            <a:xfrm>
              <a:off x="4756940" y="5248005"/>
              <a:ext cx="1293177" cy="534762"/>
            </a:xfrm>
            <a:prstGeom prst="rect">
              <a:avLst/>
            </a:prstGeom>
            <a:noFill/>
          </p:spPr>
          <p:txBody>
            <a:bodyPr wrap="square" rtlCol="0">
              <a:spAutoFit/>
            </a:bodyPr>
            <a:lstStyle/>
            <a:p>
              <a:pPr algn="ctr" rtl="0">
                <a:lnSpc>
                  <a:spcPts val="1720"/>
                </a:lnSpc>
              </a:pPr>
              <a:r>
                <a:rPr lang="en-GB" dirty="0">
                  <a:solidFill>
                    <a:srgbClr val="F16924"/>
                  </a:solidFill>
                  <a:latin typeface="Calibri" panose="020F0502020204030204" pitchFamily="34" charset="0"/>
                  <a:cs typeface="Calibri" panose="020F0502020204030204" pitchFamily="34" charset="0"/>
                </a:rPr>
                <a:t>Actores Políticos</a:t>
              </a:r>
            </a:p>
          </p:txBody>
        </p:sp>
        <p:sp>
          <p:nvSpPr>
            <p:cNvPr id="88" name="TextBox 87">
              <a:extLst>
                <a:ext uri="{FF2B5EF4-FFF2-40B4-BE49-F238E27FC236}">
                  <a16:creationId xmlns:a16="http://schemas.microsoft.com/office/drawing/2014/main" id="{28C2165F-2493-236A-8DBE-E58BE8D015A4}"/>
                </a:ext>
              </a:extLst>
            </p:cNvPr>
            <p:cNvSpPr txBox="1"/>
            <p:nvPr/>
          </p:nvSpPr>
          <p:spPr>
            <a:xfrm>
              <a:off x="6527382" y="3244334"/>
              <a:ext cx="1612553" cy="369332"/>
            </a:xfrm>
            <a:prstGeom prst="rect">
              <a:avLst/>
            </a:prstGeom>
            <a:noFill/>
          </p:spPr>
          <p:txBody>
            <a:bodyPr wrap="square">
              <a:spAutoFit/>
            </a:bodyPr>
            <a:lstStyle/>
            <a:p>
              <a:pPr algn="ctr" rtl="0"/>
              <a:r>
                <a:rPr lang="en-GB" sz="1800" dirty="0">
                  <a:solidFill>
                    <a:srgbClr val="595959"/>
                  </a:solidFill>
                  <a:latin typeface="Calibri" panose="020F0502020204030204" pitchFamily="34" charset="0"/>
                  <a:cs typeface="Calibri" panose="020F0502020204030204" pitchFamily="34" charset="0"/>
                </a:rPr>
                <a:t>administración</a:t>
              </a:r>
              <a:endParaRPr lang="en-US" dirty="0"/>
            </a:p>
          </p:txBody>
        </p:sp>
      </p:grpSp>
    </p:spTree>
    <p:extLst>
      <p:ext uri="{BB962C8B-B14F-4D97-AF65-F5344CB8AC3E}">
        <p14:creationId xmlns:p14="http://schemas.microsoft.com/office/powerpoint/2010/main" val="18533173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 name="Text Placeholder 2">
            <a:extLst>
              <a:ext uri="{FF2B5EF4-FFF2-40B4-BE49-F238E27FC236}">
                <a16:creationId xmlns:a16="http://schemas.microsoft.com/office/drawing/2014/main" id="{816DEE1E-7145-ABE3-709F-6073509D6351}"/>
              </a:ext>
            </a:extLst>
          </p:cNvPr>
          <p:cNvSpPr>
            <a:spLocks noGrp="1"/>
          </p:cNvSpPr>
          <p:nvPr>
            <p:ph type="body" sz="quarter" idx="18"/>
          </p:nvPr>
        </p:nvSpPr>
        <p:spPr>
          <a:xfrm>
            <a:off x="526270" y="2692399"/>
            <a:ext cx="3249234" cy="3846621"/>
          </a:xfrm>
        </p:spPr>
        <p:txBody>
          <a:bodyPr>
            <a:normAutofit/>
          </a:bodyPr>
          <a:lstStyle/>
          <a:p>
            <a:pPr marL="15875" indent="-15875" algn="l" rtl="0">
              <a:lnSpc>
                <a:spcPts val="2280"/>
              </a:lnSpc>
              <a:spcBef>
                <a:spcPts val="0"/>
              </a:spcBef>
            </a:pPr>
            <a:r>
              <a:rPr lang="en-US" sz="2200" dirty="0">
                <a:solidFill>
                  <a:schemeClr val="bg1"/>
                </a:solidFill>
              </a:rPr>
              <a:t>Las empresas trabajan con una amplia gama de personas y otros negocios, lo que los impulsa a comunicarse en una variedad de medios. Para que sea eficaz, se cuida el tono y la claridad del mensaje, independientemente del método de comunicación.</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3"/>
            <a:ext cx="3249234" cy="1875850"/>
          </a:xfrm>
        </p:spPr>
        <p:txBody>
          <a:bodyPr>
            <a:normAutofit/>
          </a:bodyPr>
          <a:lstStyle/>
          <a:p>
            <a:pPr algn="l" rtl="0"/>
            <a:r>
              <a:rPr lang="en-GB" dirty="0">
                <a:solidFill>
                  <a:schemeClr val="bg1"/>
                </a:solidFill>
              </a:rPr>
              <a:t>Comunicación efectiva</a:t>
            </a:r>
          </a:p>
        </p:txBody>
      </p:sp>
      <p:sp>
        <p:nvSpPr>
          <p:cNvPr id="8" name="Rectangle 7">
            <a:extLst>
              <a:ext uri="{FF2B5EF4-FFF2-40B4-BE49-F238E27FC236}">
                <a16:creationId xmlns:a16="http://schemas.microsoft.com/office/drawing/2014/main" id="{14F9744D-3107-97CB-5B61-61E5B24B2E44}"/>
              </a:ext>
            </a:extLst>
          </p:cNvPr>
          <p:cNvSpPr/>
          <p:nvPr/>
        </p:nvSpPr>
        <p:spPr>
          <a:xfrm>
            <a:off x="526269" y="1749044"/>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Calibri" panose="020F0502020204030204" pitchFamily="34" charset="0"/>
              <a:cs typeface="Calibri" panose="020F0502020204030204" pitchFamily="34" charset="0"/>
            </a:endParaRPr>
          </a:p>
        </p:txBody>
      </p:sp>
      <p:grpSp>
        <p:nvGrpSpPr>
          <p:cNvPr id="4" name="Group 3">
            <a:extLst>
              <a:ext uri="{FF2B5EF4-FFF2-40B4-BE49-F238E27FC236}">
                <a16:creationId xmlns:a16="http://schemas.microsoft.com/office/drawing/2014/main" id="{1AE79446-8151-C20F-BD53-127B86EAC5BC}"/>
              </a:ext>
            </a:extLst>
          </p:cNvPr>
          <p:cNvGrpSpPr/>
          <p:nvPr/>
        </p:nvGrpSpPr>
        <p:grpSpPr>
          <a:xfrm>
            <a:off x="4477467" y="1512164"/>
            <a:ext cx="7415685" cy="4080196"/>
            <a:chOff x="4725474" y="1129613"/>
            <a:chExt cx="6458284" cy="3553423"/>
          </a:xfrm>
        </p:grpSpPr>
        <p:sp>
          <p:nvSpPr>
            <p:cNvPr id="9" name="Freeform 5">
              <a:extLst>
                <a:ext uri="{FF2B5EF4-FFF2-40B4-BE49-F238E27FC236}">
                  <a16:creationId xmlns:a16="http://schemas.microsoft.com/office/drawing/2014/main" id="{BED09C8A-9EE1-9928-DC36-E963B59303FB}"/>
                </a:ext>
              </a:extLst>
            </p:cNvPr>
            <p:cNvSpPr>
              <a:spLocks/>
            </p:cNvSpPr>
            <p:nvPr/>
          </p:nvSpPr>
          <p:spPr bwMode="auto">
            <a:xfrm>
              <a:off x="6558115" y="2397916"/>
              <a:ext cx="3320033" cy="1801133"/>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pPr algn="l" rtl="0"/>
              <a:endParaRPr lang="en-GB" sz="2700" dirty="0">
                <a:solidFill>
                  <a:srgbClr val="595959"/>
                </a:solidFill>
              </a:endParaRPr>
            </a:p>
          </p:txBody>
        </p:sp>
        <p:sp>
          <p:nvSpPr>
            <p:cNvPr id="10" name="Freeform 6">
              <a:extLst>
                <a:ext uri="{FF2B5EF4-FFF2-40B4-BE49-F238E27FC236}">
                  <a16:creationId xmlns:a16="http://schemas.microsoft.com/office/drawing/2014/main" id="{3F4A83B7-E3F8-94F8-2530-99046C78A6C1}"/>
                </a:ext>
              </a:extLst>
            </p:cNvPr>
            <p:cNvSpPr>
              <a:spLocks/>
            </p:cNvSpPr>
            <p:nvPr/>
          </p:nvSpPr>
          <p:spPr bwMode="auto">
            <a:xfrm>
              <a:off x="8218131" y="3299830"/>
              <a:ext cx="1660018" cy="1383206"/>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pPr algn="l" rtl="0"/>
              <a:endParaRPr lang="en-GB" sz="2700" dirty="0">
                <a:solidFill>
                  <a:srgbClr val="595959"/>
                </a:solidFill>
              </a:endParaRPr>
            </a:p>
          </p:txBody>
        </p:sp>
        <p:sp>
          <p:nvSpPr>
            <p:cNvPr id="11" name="Freeform 7">
              <a:extLst>
                <a:ext uri="{FF2B5EF4-FFF2-40B4-BE49-F238E27FC236}">
                  <a16:creationId xmlns:a16="http://schemas.microsoft.com/office/drawing/2014/main" id="{68A75D00-0708-B4C5-BE82-D8BD0D2523DA}"/>
                </a:ext>
              </a:extLst>
            </p:cNvPr>
            <p:cNvSpPr>
              <a:spLocks/>
            </p:cNvSpPr>
            <p:nvPr/>
          </p:nvSpPr>
          <p:spPr bwMode="auto">
            <a:xfrm>
              <a:off x="6558114" y="3299830"/>
              <a:ext cx="1660018" cy="1383206"/>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pPr algn="l" rtl="0"/>
              <a:endParaRPr lang="en-GB" sz="2700" dirty="0">
                <a:solidFill>
                  <a:srgbClr val="595959"/>
                </a:solidFill>
              </a:endParaRPr>
            </a:p>
          </p:txBody>
        </p:sp>
        <p:sp>
          <p:nvSpPr>
            <p:cNvPr id="12" name="Freeform 5">
              <a:extLst>
                <a:ext uri="{FF2B5EF4-FFF2-40B4-BE49-F238E27FC236}">
                  <a16:creationId xmlns:a16="http://schemas.microsoft.com/office/drawing/2014/main" id="{7CCB9774-7386-6999-24E8-C9908A0334D2}"/>
                </a:ext>
              </a:extLst>
            </p:cNvPr>
            <p:cNvSpPr>
              <a:spLocks/>
            </p:cNvSpPr>
            <p:nvPr/>
          </p:nvSpPr>
          <p:spPr bwMode="auto">
            <a:xfrm>
              <a:off x="6838425" y="2144565"/>
              <a:ext cx="2759413" cy="1496994"/>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pPr algn="l" rtl="0"/>
              <a:endParaRPr lang="en-GB" sz="2700" dirty="0">
                <a:solidFill>
                  <a:srgbClr val="595959"/>
                </a:solidFill>
              </a:endParaRPr>
            </a:p>
          </p:txBody>
        </p:sp>
        <p:sp>
          <p:nvSpPr>
            <p:cNvPr id="13" name="Freeform 6">
              <a:extLst>
                <a:ext uri="{FF2B5EF4-FFF2-40B4-BE49-F238E27FC236}">
                  <a16:creationId xmlns:a16="http://schemas.microsoft.com/office/drawing/2014/main" id="{9A556777-3C40-0847-7276-470BAA5FAB20}"/>
                </a:ext>
              </a:extLst>
            </p:cNvPr>
            <p:cNvSpPr>
              <a:spLocks/>
            </p:cNvSpPr>
            <p:nvPr/>
          </p:nvSpPr>
          <p:spPr bwMode="auto">
            <a:xfrm>
              <a:off x="8218132" y="2894183"/>
              <a:ext cx="1379707" cy="1149638"/>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pPr algn="l" rtl="0"/>
              <a:endParaRPr lang="en-GB" sz="2700" dirty="0">
                <a:solidFill>
                  <a:srgbClr val="595959"/>
                </a:solidFill>
              </a:endParaRPr>
            </a:p>
          </p:txBody>
        </p:sp>
        <p:sp>
          <p:nvSpPr>
            <p:cNvPr id="14" name="Freeform 7">
              <a:extLst>
                <a:ext uri="{FF2B5EF4-FFF2-40B4-BE49-F238E27FC236}">
                  <a16:creationId xmlns:a16="http://schemas.microsoft.com/office/drawing/2014/main" id="{F929CD0C-BF18-0BEB-AFEF-DD67A08E1A03}"/>
                </a:ext>
              </a:extLst>
            </p:cNvPr>
            <p:cNvSpPr>
              <a:spLocks/>
            </p:cNvSpPr>
            <p:nvPr/>
          </p:nvSpPr>
          <p:spPr bwMode="auto">
            <a:xfrm>
              <a:off x="6838425" y="2894183"/>
              <a:ext cx="1379707" cy="1149638"/>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pPr algn="l" rtl="0"/>
              <a:endParaRPr lang="en-GB" sz="2700" dirty="0">
                <a:solidFill>
                  <a:srgbClr val="595959"/>
                </a:solidFill>
              </a:endParaRPr>
            </a:p>
          </p:txBody>
        </p:sp>
        <p:sp>
          <p:nvSpPr>
            <p:cNvPr id="15" name="Freeform 19">
              <a:extLst>
                <a:ext uri="{FF2B5EF4-FFF2-40B4-BE49-F238E27FC236}">
                  <a16:creationId xmlns:a16="http://schemas.microsoft.com/office/drawing/2014/main" id="{930D777A-B340-1A8D-7C89-671C8FD0F052}"/>
                </a:ext>
              </a:extLst>
            </p:cNvPr>
            <p:cNvSpPr>
              <a:spLocks/>
            </p:cNvSpPr>
            <p:nvPr/>
          </p:nvSpPr>
          <p:spPr bwMode="auto">
            <a:xfrm>
              <a:off x="7103830" y="1928309"/>
              <a:ext cx="2228605" cy="1210145"/>
            </a:xfrm>
            <a:custGeom>
              <a:avLst/>
              <a:gdLst>
                <a:gd name="T0" fmla="*/ 1130 w 2263"/>
                <a:gd name="T1" fmla="*/ 0 h 1080"/>
                <a:gd name="T2" fmla="*/ 2263 w 2263"/>
                <a:gd name="T3" fmla="*/ 540 h 1080"/>
                <a:gd name="T4" fmla="*/ 1130 w 2263"/>
                <a:gd name="T5" fmla="*/ 1080 h 1080"/>
                <a:gd name="T6" fmla="*/ 0 w 2263"/>
                <a:gd name="T7" fmla="*/ 540 h 1080"/>
                <a:gd name="T8" fmla="*/ 1130 w 2263"/>
                <a:gd name="T9" fmla="*/ 0 h 1080"/>
              </a:gdLst>
              <a:ahLst/>
              <a:cxnLst>
                <a:cxn ang="0">
                  <a:pos x="T0" y="T1"/>
                </a:cxn>
                <a:cxn ang="0">
                  <a:pos x="T2" y="T3"/>
                </a:cxn>
                <a:cxn ang="0">
                  <a:pos x="T4" y="T5"/>
                </a:cxn>
                <a:cxn ang="0">
                  <a:pos x="T6" y="T7"/>
                </a:cxn>
                <a:cxn ang="0">
                  <a:pos x="T8" y="T9"/>
                </a:cxn>
              </a:cxnLst>
              <a:rect l="0" t="0" r="r" b="b"/>
              <a:pathLst>
                <a:path w="2263" h="1080">
                  <a:moveTo>
                    <a:pt x="1130" y="0"/>
                  </a:moveTo>
                  <a:lnTo>
                    <a:pt x="2263" y="540"/>
                  </a:lnTo>
                  <a:lnTo>
                    <a:pt x="1130" y="1080"/>
                  </a:lnTo>
                  <a:lnTo>
                    <a:pt x="0" y="540"/>
                  </a:lnTo>
                  <a:lnTo>
                    <a:pt x="1130"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pPr algn="l" rtl="0"/>
              <a:endParaRPr lang="en-GB" sz="2700" dirty="0">
                <a:solidFill>
                  <a:srgbClr val="595959"/>
                </a:solidFill>
              </a:endParaRPr>
            </a:p>
          </p:txBody>
        </p:sp>
        <p:sp>
          <p:nvSpPr>
            <p:cNvPr id="16" name="Freeform 20">
              <a:extLst>
                <a:ext uri="{FF2B5EF4-FFF2-40B4-BE49-F238E27FC236}">
                  <a16:creationId xmlns:a16="http://schemas.microsoft.com/office/drawing/2014/main" id="{13BEE89F-0DBE-7CE3-01ED-445DEB8DAA2A}"/>
                </a:ext>
              </a:extLst>
            </p:cNvPr>
            <p:cNvSpPr>
              <a:spLocks/>
            </p:cNvSpPr>
            <p:nvPr/>
          </p:nvSpPr>
          <p:spPr bwMode="auto">
            <a:xfrm>
              <a:off x="8216655" y="2533381"/>
              <a:ext cx="1115780" cy="1003973"/>
            </a:xfrm>
            <a:custGeom>
              <a:avLst/>
              <a:gdLst>
                <a:gd name="T0" fmla="*/ 0 w 1133"/>
                <a:gd name="T1" fmla="*/ 896 h 896"/>
                <a:gd name="T2" fmla="*/ 1133 w 1133"/>
                <a:gd name="T3" fmla="*/ 357 h 896"/>
                <a:gd name="T4" fmla="*/ 1133 w 1133"/>
                <a:gd name="T5" fmla="*/ 0 h 896"/>
                <a:gd name="T6" fmla="*/ 0 w 1133"/>
                <a:gd name="T7" fmla="*/ 542 h 896"/>
                <a:gd name="T8" fmla="*/ 0 w 1133"/>
                <a:gd name="T9" fmla="*/ 896 h 896"/>
              </a:gdLst>
              <a:ahLst/>
              <a:cxnLst>
                <a:cxn ang="0">
                  <a:pos x="T0" y="T1"/>
                </a:cxn>
                <a:cxn ang="0">
                  <a:pos x="T2" y="T3"/>
                </a:cxn>
                <a:cxn ang="0">
                  <a:pos x="T4" y="T5"/>
                </a:cxn>
                <a:cxn ang="0">
                  <a:pos x="T6" y="T7"/>
                </a:cxn>
                <a:cxn ang="0">
                  <a:pos x="T8" y="T9"/>
                </a:cxn>
              </a:cxnLst>
              <a:rect l="0" t="0" r="r" b="b"/>
              <a:pathLst>
                <a:path w="1133" h="896">
                  <a:moveTo>
                    <a:pt x="0" y="896"/>
                  </a:moveTo>
                  <a:lnTo>
                    <a:pt x="1133" y="357"/>
                  </a:lnTo>
                  <a:lnTo>
                    <a:pt x="1133" y="0"/>
                  </a:lnTo>
                  <a:lnTo>
                    <a:pt x="0" y="542"/>
                  </a:lnTo>
                  <a:lnTo>
                    <a:pt x="0" y="89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pPr algn="l" rtl="0"/>
              <a:endParaRPr lang="en-GB" sz="2700" dirty="0">
                <a:solidFill>
                  <a:srgbClr val="595959"/>
                </a:solidFill>
              </a:endParaRPr>
            </a:p>
          </p:txBody>
        </p:sp>
        <p:sp>
          <p:nvSpPr>
            <p:cNvPr id="17" name="Freeform 21">
              <a:extLst>
                <a:ext uri="{FF2B5EF4-FFF2-40B4-BE49-F238E27FC236}">
                  <a16:creationId xmlns:a16="http://schemas.microsoft.com/office/drawing/2014/main" id="{6EFAE75E-B025-B8D7-2584-217DA048B5E3}"/>
                </a:ext>
              </a:extLst>
            </p:cNvPr>
            <p:cNvSpPr>
              <a:spLocks/>
            </p:cNvSpPr>
            <p:nvPr/>
          </p:nvSpPr>
          <p:spPr bwMode="auto">
            <a:xfrm>
              <a:off x="7103830" y="2533381"/>
              <a:ext cx="1112825" cy="1003973"/>
            </a:xfrm>
            <a:custGeom>
              <a:avLst/>
              <a:gdLst>
                <a:gd name="T0" fmla="*/ 1130 w 1130"/>
                <a:gd name="T1" fmla="*/ 896 h 896"/>
                <a:gd name="T2" fmla="*/ 0 w 1130"/>
                <a:gd name="T3" fmla="*/ 357 h 896"/>
                <a:gd name="T4" fmla="*/ 0 w 1130"/>
                <a:gd name="T5" fmla="*/ 0 h 896"/>
                <a:gd name="T6" fmla="*/ 1130 w 1130"/>
                <a:gd name="T7" fmla="*/ 542 h 896"/>
                <a:gd name="T8" fmla="*/ 1130 w 1130"/>
                <a:gd name="T9" fmla="*/ 896 h 896"/>
              </a:gdLst>
              <a:ahLst/>
              <a:cxnLst>
                <a:cxn ang="0">
                  <a:pos x="T0" y="T1"/>
                </a:cxn>
                <a:cxn ang="0">
                  <a:pos x="T2" y="T3"/>
                </a:cxn>
                <a:cxn ang="0">
                  <a:pos x="T4" y="T5"/>
                </a:cxn>
                <a:cxn ang="0">
                  <a:pos x="T6" y="T7"/>
                </a:cxn>
                <a:cxn ang="0">
                  <a:pos x="T8" y="T9"/>
                </a:cxn>
              </a:cxnLst>
              <a:rect l="0" t="0" r="r" b="b"/>
              <a:pathLst>
                <a:path w="1130" h="896">
                  <a:moveTo>
                    <a:pt x="1130" y="896"/>
                  </a:moveTo>
                  <a:lnTo>
                    <a:pt x="0" y="357"/>
                  </a:lnTo>
                  <a:lnTo>
                    <a:pt x="0" y="0"/>
                  </a:lnTo>
                  <a:lnTo>
                    <a:pt x="1130" y="542"/>
                  </a:lnTo>
                  <a:lnTo>
                    <a:pt x="1130" y="89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pPr algn="l" rtl="0"/>
              <a:endParaRPr lang="en-GB" sz="2700" dirty="0">
                <a:solidFill>
                  <a:srgbClr val="595959"/>
                </a:solidFill>
              </a:endParaRPr>
            </a:p>
          </p:txBody>
        </p:sp>
        <p:sp>
          <p:nvSpPr>
            <p:cNvPr id="18" name="Freeform 11">
              <a:extLst>
                <a:ext uri="{FF2B5EF4-FFF2-40B4-BE49-F238E27FC236}">
                  <a16:creationId xmlns:a16="http://schemas.microsoft.com/office/drawing/2014/main" id="{65B367D7-63F0-D2EE-CBE7-3E5B61DD5320}"/>
                </a:ext>
              </a:extLst>
            </p:cNvPr>
            <p:cNvSpPr>
              <a:spLocks/>
            </p:cNvSpPr>
            <p:nvPr/>
          </p:nvSpPr>
          <p:spPr bwMode="auto">
            <a:xfrm>
              <a:off x="7430290" y="1833065"/>
              <a:ext cx="1575682" cy="856066"/>
            </a:xfrm>
            <a:custGeom>
              <a:avLst/>
              <a:gdLst>
                <a:gd name="T0" fmla="*/ 799 w 1600"/>
                <a:gd name="T1" fmla="*/ 0 h 764"/>
                <a:gd name="T2" fmla="*/ 1600 w 1600"/>
                <a:gd name="T3" fmla="*/ 382 h 764"/>
                <a:gd name="T4" fmla="*/ 799 w 1600"/>
                <a:gd name="T5" fmla="*/ 764 h 764"/>
                <a:gd name="T6" fmla="*/ 0 w 1600"/>
                <a:gd name="T7" fmla="*/ 382 h 764"/>
                <a:gd name="T8" fmla="*/ 799 w 1600"/>
                <a:gd name="T9" fmla="*/ 0 h 764"/>
              </a:gdLst>
              <a:ahLst/>
              <a:cxnLst>
                <a:cxn ang="0">
                  <a:pos x="T0" y="T1"/>
                </a:cxn>
                <a:cxn ang="0">
                  <a:pos x="T2" y="T3"/>
                </a:cxn>
                <a:cxn ang="0">
                  <a:pos x="T4" y="T5"/>
                </a:cxn>
                <a:cxn ang="0">
                  <a:pos x="T6" y="T7"/>
                </a:cxn>
                <a:cxn ang="0">
                  <a:pos x="T8" y="T9"/>
                </a:cxn>
              </a:cxnLst>
              <a:rect l="0" t="0" r="r" b="b"/>
              <a:pathLst>
                <a:path w="1600" h="764">
                  <a:moveTo>
                    <a:pt x="799" y="0"/>
                  </a:moveTo>
                  <a:lnTo>
                    <a:pt x="1600" y="382"/>
                  </a:lnTo>
                  <a:lnTo>
                    <a:pt x="799" y="764"/>
                  </a:lnTo>
                  <a:lnTo>
                    <a:pt x="0" y="382"/>
                  </a:lnTo>
                  <a:lnTo>
                    <a:pt x="799"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pPr algn="l" rtl="0"/>
              <a:endParaRPr lang="en-GB" sz="2700" dirty="0">
                <a:solidFill>
                  <a:srgbClr val="595959"/>
                </a:solidFill>
              </a:endParaRPr>
            </a:p>
          </p:txBody>
        </p:sp>
        <p:sp>
          <p:nvSpPr>
            <p:cNvPr id="19" name="Freeform 12">
              <a:extLst>
                <a:ext uri="{FF2B5EF4-FFF2-40B4-BE49-F238E27FC236}">
                  <a16:creationId xmlns:a16="http://schemas.microsoft.com/office/drawing/2014/main" id="{D948E1AB-1C0A-F5CC-B51F-86431C2FA42C}"/>
                </a:ext>
              </a:extLst>
            </p:cNvPr>
            <p:cNvSpPr>
              <a:spLocks/>
            </p:cNvSpPr>
            <p:nvPr/>
          </p:nvSpPr>
          <p:spPr bwMode="auto">
            <a:xfrm>
              <a:off x="8217147" y="2261098"/>
              <a:ext cx="788826" cy="773149"/>
            </a:xfrm>
            <a:custGeom>
              <a:avLst/>
              <a:gdLst>
                <a:gd name="T0" fmla="*/ 0 w 801"/>
                <a:gd name="T1" fmla="*/ 690 h 690"/>
                <a:gd name="T2" fmla="*/ 801 w 801"/>
                <a:gd name="T3" fmla="*/ 308 h 690"/>
                <a:gd name="T4" fmla="*/ 801 w 801"/>
                <a:gd name="T5" fmla="*/ 0 h 690"/>
                <a:gd name="T6" fmla="*/ 0 w 801"/>
                <a:gd name="T7" fmla="*/ 382 h 690"/>
                <a:gd name="T8" fmla="*/ 0 w 801"/>
                <a:gd name="T9" fmla="*/ 690 h 690"/>
              </a:gdLst>
              <a:ahLst/>
              <a:cxnLst>
                <a:cxn ang="0">
                  <a:pos x="T0" y="T1"/>
                </a:cxn>
                <a:cxn ang="0">
                  <a:pos x="T2" y="T3"/>
                </a:cxn>
                <a:cxn ang="0">
                  <a:pos x="T4" y="T5"/>
                </a:cxn>
                <a:cxn ang="0">
                  <a:pos x="T6" y="T7"/>
                </a:cxn>
                <a:cxn ang="0">
                  <a:pos x="T8" y="T9"/>
                </a:cxn>
              </a:cxnLst>
              <a:rect l="0" t="0" r="r" b="b"/>
              <a:pathLst>
                <a:path w="801" h="690">
                  <a:moveTo>
                    <a:pt x="0" y="690"/>
                  </a:moveTo>
                  <a:lnTo>
                    <a:pt x="801" y="308"/>
                  </a:lnTo>
                  <a:lnTo>
                    <a:pt x="801" y="0"/>
                  </a:lnTo>
                  <a:lnTo>
                    <a:pt x="0" y="382"/>
                  </a:lnTo>
                  <a:lnTo>
                    <a:pt x="0" y="690"/>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pPr algn="l" rtl="0"/>
              <a:endParaRPr lang="en-GB" sz="2700" dirty="0">
                <a:solidFill>
                  <a:srgbClr val="595959"/>
                </a:solidFill>
              </a:endParaRPr>
            </a:p>
          </p:txBody>
        </p:sp>
        <p:sp>
          <p:nvSpPr>
            <p:cNvPr id="20" name="Freeform 13">
              <a:extLst>
                <a:ext uri="{FF2B5EF4-FFF2-40B4-BE49-F238E27FC236}">
                  <a16:creationId xmlns:a16="http://schemas.microsoft.com/office/drawing/2014/main" id="{EFB72ED1-12DA-07DB-7716-F6B6E3ECD864}"/>
                </a:ext>
              </a:extLst>
            </p:cNvPr>
            <p:cNvSpPr>
              <a:spLocks/>
            </p:cNvSpPr>
            <p:nvPr/>
          </p:nvSpPr>
          <p:spPr bwMode="auto">
            <a:xfrm>
              <a:off x="7430291" y="2261098"/>
              <a:ext cx="786857" cy="773149"/>
            </a:xfrm>
            <a:custGeom>
              <a:avLst/>
              <a:gdLst>
                <a:gd name="T0" fmla="*/ 799 w 799"/>
                <a:gd name="T1" fmla="*/ 690 h 690"/>
                <a:gd name="T2" fmla="*/ 0 w 799"/>
                <a:gd name="T3" fmla="*/ 308 h 690"/>
                <a:gd name="T4" fmla="*/ 0 w 799"/>
                <a:gd name="T5" fmla="*/ 0 h 690"/>
                <a:gd name="T6" fmla="*/ 799 w 799"/>
                <a:gd name="T7" fmla="*/ 382 h 690"/>
                <a:gd name="T8" fmla="*/ 799 w 799"/>
                <a:gd name="T9" fmla="*/ 690 h 690"/>
              </a:gdLst>
              <a:ahLst/>
              <a:cxnLst>
                <a:cxn ang="0">
                  <a:pos x="T0" y="T1"/>
                </a:cxn>
                <a:cxn ang="0">
                  <a:pos x="T2" y="T3"/>
                </a:cxn>
                <a:cxn ang="0">
                  <a:pos x="T4" y="T5"/>
                </a:cxn>
                <a:cxn ang="0">
                  <a:pos x="T6" y="T7"/>
                </a:cxn>
                <a:cxn ang="0">
                  <a:pos x="T8" y="T9"/>
                </a:cxn>
              </a:cxnLst>
              <a:rect l="0" t="0" r="r" b="b"/>
              <a:pathLst>
                <a:path w="799" h="690">
                  <a:moveTo>
                    <a:pt x="799" y="690"/>
                  </a:moveTo>
                  <a:lnTo>
                    <a:pt x="0" y="308"/>
                  </a:lnTo>
                  <a:lnTo>
                    <a:pt x="0" y="0"/>
                  </a:lnTo>
                  <a:lnTo>
                    <a:pt x="799" y="382"/>
                  </a:lnTo>
                  <a:lnTo>
                    <a:pt x="799" y="690"/>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pPr algn="l" rtl="0"/>
              <a:endParaRPr lang="en-GB" sz="2700" dirty="0">
                <a:solidFill>
                  <a:srgbClr val="595959"/>
                </a:solidFill>
              </a:endParaRPr>
            </a:p>
          </p:txBody>
        </p:sp>
        <p:sp>
          <p:nvSpPr>
            <p:cNvPr id="21" name="Freeform 14">
              <a:extLst>
                <a:ext uri="{FF2B5EF4-FFF2-40B4-BE49-F238E27FC236}">
                  <a16:creationId xmlns:a16="http://schemas.microsoft.com/office/drawing/2014/main" id="{E9486804-32AE-0D46-E47C-9911D7C5DAE8}"/>
                </a:ext>
              </a:extLst>
            </p:cNvPr>
            <p:cNvSpPr>
              <a:spLocks/>
            </p:cNvSpPr>
            <p:nvPr/>
          </p:nvSpPr>
          <p:spPr bwMode="auto">
            <a:xfrm>
              <a:off x="7661719" y="1635856"/>
              <a:ext cx="1112825" cy="603952"/>
            </a:xfrm>
            <a:custGeom>
              <a:avLst/>
              <a:gdLst>
                <a:gd name="T0" fmla="*/ 565 w 1130"/>
                <a:gd name="T1" fmla="*/ 0 h 539"/>
                <a:gd name="T2" fmla="*/ 1130 w 1130"/>
                <a:gd name="T3" fmla="*/ 271 h 539"/>
                <a:gd name="T4" fmla="*/ 565 w 1130"/>
                <a:gd name="T5" fmla="*/ 539 h 539"/>
                <a:gd name="T6" fmla="*/ 0 w 1130"/>
                <a:gd name="T7" fmla="*/ 271 h 539"/>
                <a:gd name="T8" fmla="*/ 565 w 1130"/>
                <a:gd name="T9" fmla="*/ 0 h 539"/>
              </a:gdLst>
              <a:ahLst/>
              <a:cxnLst>
                <a:cxn ang="0">
                  <a:pos x="T0" y="T1"/>
                </a:cxn>
                <a:cxn ang="0">
                  <a:pos x="T2" y="T3"/>
                </a:cxn>
                <a:cxn ang="0">
                  <a:pos x="T4" y="T5"/>
                </a:cxn>
                <a:cxn ang="0">
                  <a:pos x="T6" y="T7"/>
                </a:cxn>
                <a:cxn ang="0">
                  <a:pos x="T8" y="T9"/>
                </a:cxn>
              </a:cxnLst>
              <a:rect l="0" t="0" r="r" b="b"/>
              <a:pathLst>
                <a:path w="1130" h="539">
                  <a:moveTo>
                    <a:pt x="565" y="0"/>
                  </a:moveTo>
                  <a:lnTo>
                    <a:pt x="1130" y="271"/>
                  </a:lnTo>
                  <a:lnTo>
                    <a:pt x="565" y="539"/>
                  </a:lnTo>
                  <a:lnTo>
                    <a:pt x="0" y="271"/>
                  </a:lnTo>
                  <a:lnTo>
                    <a:pt x="565"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pPr algn="l" rtl="0"/>
              <a:endParaRPr lang="en-GB" sz="2700" dirty="0">
                <a:solidFill>
                  <a:srgbClr val="595959"/>
                </a:solidFill>
              </a:endParaRPr>
            </a:p>
          </p:txBody>
        </p:sp>
        <p:sp>
          <p:nvSpPr>
            <p:cNvPr id="22" name="Freeform 15">
              <a:extLst>
                <a:ext uri="{FF2B5EF4-FFF2-40B4-BE49-F238E27FC236}">
                  <a16:creationId xmlns:a16="http://schemas.microsoft.com/office/drawing/2014/main" id="{115742C0-42FF-D770-0766-E6F677F03C97}"/>
                </a:ext>
              </a:extLst>
            </p:cNvPr>
            <p:cNvSpPr>
              <a:spLocks/>
            </p:cNvSpPr>
            <p:nvPr/>
          </p:nvSpPr>
          <p:spPr bwMode="auto">
            <a:xfrm>
              <a:off x="8218133" y="1939513"/>
              <a:ext cx="556413" cy="629724"/>
            </a:xfrm>
            <a:custGeom>
              <a:avLst/>
              <a:gdLst>
                <a:gd name="T0" fmla="*/ 0 w 565"/>
                <a:gd name="T1" fmla="*/ 562 h 562"/>
                <a:gd name="T2" fmla="*/ 565 w 565"/>
                <a:gd name="T3" fmla="*/ 294 h 562"/>
                <a:gd name="T4" fmla="*/ 565 w 565"/>
                <a:gd name="T5" fmla="*/ 0 h 562"/>
                <a:gd name="T6" fmla="*/ 0 w 565"/>
                <a:gd name="T7" fmla="*/ 268 h 562"/>
                <a:gd name="T8" fmla="*/ 0 w 565"/>
                <a:gd name="T9" fmla="*/ 562 h 562"/>
              </a:gdLst>
              <a:ahLst/>
              <a:cxnLst>
                <a:cxn ang="0">
                  <a:pos x="T0" y="T1"/>
                </a:cxn>
                <a:cxn ang="0">
                  <a:pos x="T2" y="T3"/>
                </a:cxn>
                <a:cxn ang="0">
                  <a:pos x="T4" y="T5"/>
                </a:cxn>
                <a:cxn ang="0">
                  <a:pos x="T6" y="T7"/>
                </a:cxn>
                <a:cxn ang="0">
                  <a:pos x="T8" y="T9"/>
                </a:cxn>
              </a:cxnLst>
              <a:rect l="0" t="0" r="r" b="b"/>
              <a:pathLst>
                <a:path w="565" h="562">
                  <a:moveTo>
                    <a:pt x="0" y="562"/>
                  </a:moveTo>
                  <a:lnTo>
                    <a:pt x="565" y="294"/>
                  </a:lnTo>
                  <a:lnTo>
                    <a:pt x="565" y="0"/>
                  </a:lnTo>
                  <a:lnTo>
                    <a:pt x="0" y="268"/>
                  </a:lnTo>
                  <a:lnTo>
                    <a:pt x="0" y="562"/>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pPr algn="l" rtl="0"/>
              <a:endParaRPr lang="en-GB" sz="2700" dirty="0">
                <a:solidFill>
                  <a:srgbClr val="595959"/>
                </a:solidFill>
              </a:endParaRPr>
            </a:p>
          </p:txBody>
        </p:sp>
        <p:sp>
          <p:nvSpPr>
            <p:cNvPr id="23" name="Freeform 16">
              <a:extLst>
                <a:ext uri="{FF2B5EF4-FFF2-40B4-BE49-F238E27FC236}">
                  <a16:creationId xmlns:a16="http://schemas.microsoft.com/office/drawing/2014/main" id="{B738299C-E8F7-09C9-3F38-9EE5F168C7DD}"/>
                </a:ext>
              </a:extLst>
            </p:cNvPr>
            <p:cNvSpPr>
              <a:spLocks/>
            </p:cNvSpPr>
            <p:nvPr/>
          </p:nvSpPr>
          <p:spPr bwMode="auto">
            <a:xfrm>
              <a:off x="7661719" y="1939513"/>
              <a:ext cx="556413" cy="629724"/>
            </a:xfrm>
            <a:custGeom>
              <a:avLst/>
              <a:gdLst>
                <a:gd name="T0" fmla="*/ 565 w 565"/>
                <a:gd name="T1" fmla="*/ 562 h 562"/>
                <a:gd name="T2" fmla="*/ 0 w 565"/>
                <a:gd name="T3" fmla="*/ 294 h 562"/>
                <a:gd name="T4" fmla="*/ 0 w 565"/>
                <a:gd name="T5" fmla="*/ 0 h 562"/>
                <a:gd name="T6" fmla="*/ 565 w 565"/>
                <a:gd name="T7" fmla="*/ 268 h 562"/>
                <a:gd name="T8" fmla="*/ 565 w 565"/>
                <a:gd name="T9" fmla="*/ 562 h 562"/>
              </a:gdLst>
              <a:ahLst/>
              <a:cxnLst>
                <a:cxn ang="0">
                  <a:pos x="T0" y="T1"/>
                </a:cxn>
                <a:cxn ang="0">
                  <a:pos x="T2" y="T3"/>
                </a:cxn>
                <a:cxn ang="0">
                  <a:pos x="T4" y="T5"/>
                </a:cxn>
                <a:cxn ang="0">
                  <a:pos x="T6" y="T7"/>
                </a:cxn>
                <a:cxn ang="0">
                  <a:pos x="T8" y="T9"/>
                </a:cxn>
              </a:cxnLst>
              <a:rect l="0" t="0" r="r" b="b"/>
              <a:pathLst>
                <a:path w="565" h="562">
                  <a:moveTo>
                    <a:pt x="565" y="562"/>
                  </a:moveTo>
                  <a:lnTo>
                    <a:pt x="0" y="294"/>
                  </a:lnTo>
                  <a:lnTo>
                    <a:pt x="0" y="0"/>
                  </a:lnTo>
                  <a:lnTo>
                    <a:pt x="565" y="268"/>
                  </a:lnTo>
                  <a:lnTo>
                    <a:pt x="565" y="562"/>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pPr algn="l" rtl="0"/>
              <a:endParaRPr lang="en-GB" sz="2700" dirty="0">
                <a:solidFill>
                  <a:srgbClr val="595959"/>
                </a:solidFill>
              </a:endParaRPr>
            </a:p>
          </p:txBody>
        </p:sp>
        <p:sp>
          <p:nvSpPr>
            <p:cNvPr id="24" name="Freeform 17">
              <a:extLst>
                <a:ext uri="{FF2B5EF4-FFF2-40B4-BE49-F238E27FC236}">
                  <a16:creationId xmlns:a16="http://schemas.microsoft.com/office/drawing/2014/main" id="{2648C2D7-1B5D-3DDE-906B-D2391E285E11}"/>
                </a:ext>
              </a:extLst>
            </p:cNvPr>
            <p:cNvSpPr>
              <a:spLocks/>
            </p:cNvSpPr>
            <p:nvPr/>
          </p:nvSpPr>
          <p:spPr bwMode="auto">
            <a:xfrm>
              <a:off x="7770047" y="1445371"/>
              <a:ext cx="896170" cy="705917"/>
            </a:xfrm>
            <a:custGeom>
              <a:avLst/>
              <a:gdLst>
                <a:gd name="T0" fmla="*/ 454 w 910"/>
                <a:gd name="T1" fmla="*/ 0 h 630"/>
                <a:gd name="T2" fmla="*/ 910 w 910"/>
                <a:gd name="T3" fmla="*/ 413 h 630"/>
                <a:gd name="T4" fmla="*/ 454 w 910"/>
                <a:gd name="T5" fmla="*/ 630 h 630"/>
                <a:gd name="T6" fmla="*/ 0 w 910"/>
                <a:gd name="T7" fmla="*/ 413 h 630"/>
                <a:gd name="T8" fmla="*/ 454 w 910"/>
                <a:gd name="T9" fmla="*/ 0 h 630"/>
              </a:gdLst>
              <a:ahLst/>
              <a:cxnLst>
                <a:cxn ang="0">
                  <a:pos x="T0" y="T1"/>
                </a:cxn>
                <a:cxn ang="0">
                  <a:pos x="T2" y="T3"/>
                </a:cxn>
                <a:cxn ang="0">
                  <a:pos x="T4" y="T5"/>
                </a:cxn>
                <a:cxn ang="0">
                  <a:pos x="T6" y="T7"/>
                </a:cxn>
                <a:cxn ang="0">
                  <a:pos x="T8" y="T9"/>
                </a:cxn>
              </a:cxnLst>
              <a:rect l="0" t="0" r="r" b="b"/>
              <a:pathLst>
                <a:path w="910" h="630">
                  <a:moveTo>
                    <a:pt x="454" y="0"/>
                  </a:moveTo>
                  <a:lnTo>
                    <a:pt x="910" y="413"/>
                  </a:lnTo>
                  <a:lnTo>
                    <a:pt x="454" y="630"/>
                  </a:lnTo>
                  <a:lnTo>
                    <a:pt x="0" y="413"/>
                  </a:lnTo>
                  <a:lnTo>
                    <a:pt x="454" y="0"/>
                  </a:lnTo>
                  <a:close/>
                </a:path>
              </a:pathLst>
            </a:custGeom>
            <a:solidFill>
              <a:srgbClr val="F16924"/>
            </a:solidFill>
            <a:ln>
              <a:noFill/>
            </a:ln>
          </p:spPr>
          <p:txBody>
            <a:bodyPr vert="horz" wrap="square" lIns="68580" tIns="34290" rIns="68580" bIns="34290" numCol="1" anchor="t" anchorCtr="0" compatLnSpc="1">
              <a:prstTxWarp prst="textNoShape">
                <a:avLst/>
              </a:prstTxWarp>
            </a:bodyPr>
            <a:lstStyle/>
            <a:p>
              <a:pPr algn="l" rtl="0"/>
              <a:endParaRPr lang="en-GB" sz="2700" dirty="0">
                <a:solidFill>
                  <a:srgbClr val="595959"/>
                </a:solidFill>
              </a:endParaRPr>
            </a:p>
          </p:txBody>
        </p:sp>
        <p:sp>
          <p:nvSpPr>
            <p:cNvPr id="25" name="Freeform 18">
              <a:extLst>
                <a:ext uri="{FF2B5EF4-FFF2-40B4-BE49-F238E27FC236}">
                  <a16:creationId xmlns:a16="http://schemas.microsoft.com/office/drawing/2014/main" id="{40FA98B8-FF28-C148-06FF-380D9EBD464D}"/>
                </a:ext>
              </a:extLst>
            </p:cNvPr>
            <p:cNvSpPr>
              <a:spLocks/>
            </p:cNvSpPr>
            <p:nvPr/>
          </p:nvSpPr>
          <p:spPr bwMode="auto">
            <a:xfrm>
              <a:off x="7770047" y="1445371"/>
              <a:ext cx="447100" cy="705917"/>
            </a:xfrm>
            <a:custGeom>
              <a:avLst/>
              <a:gdLst>
                <a:gd name="T0" fmla="*/ 454 w 454"/>
                <a:gd name="T1" fmla="*/ 0 h 630"/>
                <a:gd name="T2" fmla="*/ 454 w 454"/>
                <a:gd name="T3" fmla="*/ 630 h 630"/>
                <a:gd name="T4" fmla="*/ 0 w 454"/>
                <a:gd name="T5" fmla="*/ 413 h 630"/>
                <a:gd name="T6" fmla="*/ 454 w 454"/>
                <a:gd name="T7" fmla="*/ 0 h 630"/>
              </a:gdLst>
              <a:ahLst/>
              <a:cxnLst>
                <a:cxn ang="0">
                  <a:pos x="T0" y="T1"/>
                </a:cxn>
                <a:cxn ang="0">
                  <a:pos x="T2" y="T3"/>
                </a:cxn>
                <a:cxn ang="0">
                  <a:pos x="T4" y="T5"/>
                </a:cxn>
                <a:cxn ang="0">
                  <a:pos x="T6" y="T7"/>
                </a:cxn>
              </a:cxnLst>
              <a:rect l="0" t="0" r="r" b="b"/>
              <a:pathLst>
                <a:path w="454" h="630">
                  <a:moveTo>
                    <a:pt x="454" y="0"/>
                  </a:moveTo>
                  <a:lnTo>
                    <a:pt x="454" y="630"/>
                  </a:lnTo>
                  <a:lnTo>
                    <a:pt x="0" y="413"/>
                  </a:lnTo>
                  <a:lnTo>
                    <a:pt x="454" y="0"/>
                  </a:lnTo>
                  <a:close/>
                </a:path>
              </a:pathLst>
            </a:custGeom>
            <a:solidFill>
              <a:srgbClr val="EDA13E"/>
            </a:solidFill>
            <a:ln>
              <a:noFill/>
            </a:ln>
          </p:spPr>
          <p:txBody>
            <a:bodyPr vert="horz" wrap="square" lIns="68580" tIns="34290" rIns="68580" bIns="34290" numCol="1" anchor="t" anchorCtr="0" compatLnSpc="1">
              <a:prstTxWarp prst="textNoShape">
                <a:avLst/>
              </a:prstTxWarp>
            </a:bodyPr>
            <a:lstStyle/>
            <a:p>
              <a:pPr algn="l" rtl="0"/>
              <a:endParaRPr lang="en-GB" sz="2700" dirty="0">
                <a:solidFill>
                  <a:srgbClr val="595959"/>
                </a:solidFill>
              </a:endParaRPr>
            </a:p>
          </p:txBody>
        </p:sp>
        <p:cxnSp>
          <p:nvCxnSpPr>
            <p:cNvPr id="26" name="Straight Arrow Connector 28">
              <a:extLst>
                <a:ext uri="{FF2B5EF4-FFF2-40B4-BE49-F238E27FC236}">
                  <a16:creationId xmlns:a16="http://schemas.microsoft.com/office/drawing/2014/main" id="{1BC39691-F58D-6CD2-89C9-2C16A6CFED01}"/>
                </a:ext>
              </a:extLst>
            </p:cNvPr>
            <p:cNvCxnSpPr>
              <a:cxnSpLocks/>
            </p:cNvCxnSpPr>
            <p:nvPr/>
          </p:nvCxnSpPr>
          <p:spPr>
            <a:xfrm>
              <a:off x="8219101" y="1446205"/>
              <a:ext cx="857473" cy="0"/>
            </a:xfrm>
            <a:prstGeom prst="straightConnector1">
              <a:avLst/>
            </a:prstGeom>
            <a:ln w="38100">
              <a:solidFill>
                <a:srgbClr val="F16924"/>
              </a:solidFill>
              <a:tailEnd type="oval"/>
            </a:ln>
          </p:spPr>
          <p:style>
            <a:lnRef idx="1">
              <a:schemeClr val="accent1"/>
            </a:lnRef>
            <a:fillRef idx="0">
              <a:schemeClr val="accent1"/>
            </a:fillRef>
            <a:effectRef idx="0">
              <a:schemeClr val="accent1"/>
            </a:effectRef>
            <a:fontRef idx="minor">
              <a:schemeClr val="tx1"/>
            </a:fontRef>
          </p:style>
        </p:cxnSp>
        <p:cxnSp>
          <p:nvCxnSpPr>
            <p:cNvPr id="27" name="Straight Arrow Connector 32">
              <a:extLst>
                <a:ext uri="{FF2B5EF4-FFF2-40B4-BE49-F238E27FC236}">
                  <a16:creationId xmlns:a16="http://schemas.microsoft.com/office/drawing/2014/main" id="{565B21F9-977B-697B-FB93-FE34DBB2FB4F}"/>
                </a:ext>
              </a:extLst>
            </p:cNvPr>
            <p:cNvCxnSpPr>
              <a:cxnSpLocks/>
            </p:cNvCxnSpPr>
            <p:nvPr/>
          </p:nvCxnSpPr>
          <p:spPr>
            <a:xfrm rot="10800000">
              <a:off x="6253993" y="2537476"/>
              <a:ext cx="857473" cy="0"/>
            </a:xfrm>
            <a:prstGeom prst="straightConnector1">
              <a:avLst/>
            </a:prstGeom>
            <a:ln w="38100">
              <a:solidFill>
                <a:srgbClr val="B41F7A"/>
              </a:solidFill>
              <a:tailEnd type="oval"/>
            </a:ln>
          </p:spPr>
          <p:style>
            <a:lnRef idx="1">
              <a:schemeClr val="accent1"/>
            </a:lnRef>
            <a:fillRef idx="0">
              <a:schemeClr val="accent1"/>
            </a:fillRef>
            <a:effectRef idx="0">
              <a:schemeClr val="accent1"/>
            </a:effectRef>
            <a:fontRef idx="minor">
              <a:schemeClr val="tx1"/>
            </a:fontRef>
          </p:style>
        </p:cxnSp>
        <p:sp>
          <p:nvSpPr>
            <p:cNvPr id="28" name="TextBox 47">
              <a:extLst>
                <a:ext uri="{FF2B5EF4-FFF2-40B4-BE49-F238E27FC236}">
                  <a16:creationId xmlns:a16="http://schemas.microsoft.com/office/drawing/2014/main" id="{730F841E-FCE6-78E6-F49D-B3D704355771}"/>
                </a:ext>
              </a:extLst>
            </p:cNvPr>
            <p:cNvSpPr txBox="1"/>
            <p:nvPr/>
          </p:nvSpPr>
          <p:spPr>
            <a:xfrm>
              <a:off x="9170643" y="1129613"/>
              <a:ext cx="2013115" cy="461665"/>
            </a:xfrm>
            <a:prstGeom prst="rect">
              <a:avLst/>
            </a:prstGeom>
            <a:noFill/>
          </p:spPr>
          <p:txBody>
            <a:bodyPr wrap="none" rtlCol="0" anchor="ctr" anchorCtr="0">
              <a:spAutoFit/>
            </a:bodyPr>
            <a:lstStyle/>
            <a:p>
              <a:pPr algn="l" rtl="0"/>
              <a:r>
                <a:rPr lang="en-GB" sz="2800" dirty="0">
                  <a:solidFill>
                    <a:srgbClr val="F16924"/>
                  </a:solidFill>
                  <a:ea typeface="League Spartan" charset="0"/>
                  <a:cs typeface="Poppins" pitchFamily="2" charset="77"/>
                </a:rPr>
                <a:t>¡Que dices!</a:t>
              </a:r>
            </a:p>
          </p:txBody>
        </p:sp>
        <p:sp>
          <p:nvSpPr>
            <p:cNvPr id="29" name="Subtitle 2">
              <a:extLst>
                <a:ext uri="{FF2B5EF4-FFF2-40B4-BE49-F238E27FC236}">
                  <a16:creationId xmlns:a16="http://schemas.microsoft.com/office/drawing/2014/main" id="{4B90D1A1-14E0-C37F-F21A-35BC010CA02C}"/>
                </a:ext>
              </a:extLst>
            </p:cNvPr>
            <p:cNvSpPr txBox="1">
              <a:spLocks/>
            </p:cNvSpPr>
            <p:nvPr/>
          </p:nvSpPr>
          <p:spPr>
            <a:xfrm>
              <a:off x="4884758" y="1778161"/>
              <a:ext cx="1833109" cy="34283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313"/>
                </a:lnSpc>
              </a:pPr>
              <a:r>
                <a:rPr lang="en-GB" sz="4000" b="1" dirty="0">
                  <a:solidFill>
                    <a:srgbClr val="B41F7A"/>
                  </a:solidFill>
                  <a:latin typeface="+mn-lt"/>
                  <a:ea typeface="Open Sans Light" panose="020B0306030504020204" pitchFamily="34" charset="0"/>
                  <a:cs typeface="Open Sans Light" panose="020B0306030504020204" pitchFamily="34" charset="0"/>
                </a:rPr>
                <a:t>93%</a:t>
              </a:r>
            </a:p>
          </p:txBody>
        </p:sp>
        <p:sp>
          <p:nvSpPr>
            <p:cNvPr id="30" name="TextBox 55">
              <a:extLst>
                <a:ext uri="{FF2B5EF4-FFF2-40B4-BE49-F238E27FC236}">
                  <a16:creationId xmlns:a16="http://schemas.microsoft.com/office/drawing/2014/main" id="{53BF4FA9-FD72-B5C9-F1C5-0B5822EB6D61}"/>
                </a:ext>
              </a:extLst>
            </p:cNvPr>
            <p:cNvSpPr txBox="1"/>
            <p:nvPr/>
          </p:nvSpPr>
          <p:spPr>
            <a:xfrm>
              <a:off x="4725474" y="2030265"/>
              <a:ext cx="2151679" cy="461665"/>
            </a:xfrm>
            <a:prstGeom prst="rect">
              <a:avLst/>
            </a:prstGeom>
            <a:noFill/>
          </p:spPr>
          <p:txBody>
            <a:bodyPr wrap="none" rtlCol="0" anchor="ctr" anchorCtr="0">
              <a:spAutoFit/>
            </a:bodyPr>
            <a:lstStyle/>
            <a:p>
              <a:pPr algn="l" rtl="0"/>
              <a:r>
                <a:rPr lang="en-GB" sz="2800" dirty="0">
                  <a:solidFill>
                    <a:srgbClr val="B41F7A"/>
                  </a:solidFill>
                  <a:ea typeface="League Spartan" charset="0"/>
                  <a:cs typeface="Poppins" pitchFamily="2" charset="77"/>
                </a:rPr>
                <a:t>¡Cómo lo dices!</a:t>
              </a:r>
            </a:p>
          </p:txBody>
        </p:sp>
      </p:grpSp>
      <p:sp>
        <p:nvSpPr>
          <p:cNvPr id="31" name="TextBox 30">
            <a:extLst>
              <a:ext uri="{FF2B5EF4-FFF2-40B4-BE49-F238E27FC236}">
                <a16:creationId xmlns:a16="http://schemas.microsoft.com/office/drawing/2014/main" id="{66BA4FDF-94A6-5639-F2E9-B3BB8C0E4F42}"/>
              </a:ext>
            </a:extLst>
          </p:cNvPr>
          <p:cNvSpPr txBox="1"/>
          <p:nvPr/>
        </p:nvSpPr>
        <p:spPr>
          <a:xfrm>
            <a:off x="4381821" y="5599824"/>
            <a:ext cx="7606979" cy="523220"/>
          </a:xfrm>
          <a:prstGeom prst="rect">
            <a:avLst/>
          </a:prstGeom>
          <a:noFill/>
        </p:spPr>
        <p:txBody>
          <a:bodyPr wrap="square" rtlCol="0">
            <a:spAutoFit/>
          </a:bodyPr>
          <a:lstStyle/>
          <a:p>
            <a:pPr algn="l" rtl="0"/>
            <a:r>
              <a:rPr lang="en-US" sz="1400" b="1" dirty="0">
                <a:solidFill>
                  <a:srgbClr val="B41F7A"/>
                </a:solidFill>
              </a:rPr>
              <a:t>Fuente: Efectivamente, 2022:</a:t>
            </a:r>
          </a:p>
          <a:p>
            <a:pPr algn="l" rtl="0"/>
            <a:r>
              <a:rPr lang="en-US" sz="1400" dirty="0">
                <a:solidFill>
                  <a:srgbClr val="B41F7A"/>
                </a:solidFill>
              </a:rPr>
              <a:t>https://www.indeed.com/career-advice/career-development/importance-of-business-communication</a:t>
            </a:r>
          </a:p>
        </p:txBody>
      </p:sp>
    </p:spTree>
    <p:extLst>
      <p:ext uri="{BB962C8B-B14F-4D97-AF65-F5344CB8AC3E}">
        <p14:creationId xmlns:p14="http://schemas.microsoft.com/office/powerpoint/2010/main" val="29189366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Freeform 33">
            <a:extLst>
              <a:ext uri="{FF2B5EF4-FFF2-40B4-BE49-F238E27FC236}">
                <a16:creationId xmlns:a16="http://schemas.microsoft.com/office/drawing/2014/main" id="{BAE7D363-F4C4-37A2-8C66-8AC26CA755A5}"/>
              </a:ext>
            </a:extLst>
          </p:cNvPr>
          <p:cNvSpPr/>
          <p:nvPr/>
        </p:nvSpPr>
        <p:spPr>
          <a:xfrm>
            <a:off x="3522969" y="4535177"/>
            <a:ext cx="1530922" cy="815465"/>
          </a:xfrm>
          <a:custGeom>
            <a:avLst/>
            <a:gdLst>
              <a:gd name="connsiteX0" fmla="*/ 0 w 1530922"/>
              <a:gd name="connsiteY0" fmla="*/ 740505 h 815465"/>
              <a:gd name="connsiteX1" fmla="*/ 74989 w 1530922"/>
              <a:gd name="connsiteY1" fmla="*/ 665545 h 815465"/>
              <a:gd name="connsiteX2" fmla="*/ 74989 w 1530922"/>
              <a:gd name="connsiteY2" fmla="*/ 665545 h 815465"/>
              <a:gd name="connsiteX3" fmla="*/ 1397247 w 1530922"/>
              <a:gd name="connsiteY3" fmla="*/ 28172 h 815465"/>
              <a:gd name="connsiteX4" fmla="*/ 1397247 w 1530922"/>
              <a:gd name="connsiteY4" fmla="*/ 28172 h 815465"/>
              <a:gd name="connsiteX5" fmla="*/ 1502740 w 1530922"/>
              <a:gd name="connsiteY5" fmla="*/ 16314 h 815465"/>
              <a:gd name="connsiteX6" fmla="*/ 1502740 w 1530922"/>
              <a:gd name="connsiteY6" fmla="*/ 16314 h 815465"/>
              <a:gd name="connsiteX7" fmla="*/ 1514603 w 1530922"/>
              <a:gd name="connsiteY7" fmla="*/ 121766 h 815465"/>
              <a:gd name="connsiteX8" fmla="*/ 1514603 w 1530922"/>
              <a:gd name="connsiteY8" fmla="*/ 121766 h 815465"/>
              <a:gd name="connsiteX9" fmla="*/ 74989 w 1530922"/>
              <a:gd name="connsiteY9" fmla="*/ 815465 h 815465"/>
              <a:gd name="connsiteX10" fmla="*/ 74989 w 1530922"/>
              <a:gd name="connsiteY10" fmla="*/ 815465 h 815465"/>
              <a:gd name="connsiteX11" fmla="*/ 0 w 1530922"/>
              <a:gd name="connsiteY11" fmla="*/ 740505 h 815465"/>
              <a:gd name="connsiteX12" fmla="*/ 0 w 1530922"/>
              <a:gd name="connsiteY12" fmla="*/ 740505 h 8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0922" h="815465">
                <a:moveTo>
                  <a:pt x="0" y="740505"/>
                </a:moveTo>
                <a:cubicBezTo>
                  <a:pt x="0" y="699002"/>
                  <a:pt x="33470" y="665545"/>
                  <a:pt x="74989" y="665545"/>
                </a:cubicBezTo>
                <a:lnTo>
                  <a:pt x="74989" y="665545"/>
                </a:lnTo>
                <a:cubicBezTo>
                  <a:pt x="610502" y="665545"/>
                  <a:pt x="1087548" y="416948"/>
                  <a:pt x="1397247" y="28172"/>
                </a:cubicBezTo>
                <a:lnTo>
                  <a:pt x="1397247" y="28172"/>
                </a:lnTo>
                <a:cubicBezTo>
                  <a:pt x="1423091" y="-4014"/>
                  <a:pt x="1470118" y="-9520"/>
                  <a:pt x="1502740" y="16314"/>
                </a:cubicBezTo>
                <a:lnTo>
                  <a:pt x="1502740" y="16314"/>
                </a:lnTo>
                <a:cubicBezTo>
                  <a:pt x="1534939" y="42148"/>
                  <a:pt x="1540446" y="89156"/>
                  <a:pt x="1514603" y="121766"/>
                </a:cubicBezTo>
                <a:lnTo>
                  <a:pt x="1514603" y="121766"/>
                </a:lnTo>
                <a:cubicBezTo>
                  <a:pt x="1177789" y="544423"/>
                  <a:pt x="657528" y="815465"/>
                  <a:pt x="74989" y="815465"/>
                </a:cubicBezTo>
                <a:lnTo>
                  <a:pt x="74989" y="815465"/>
                </a:lnTo>
                <a:cubicBezTo>
                  <a:pt x="33470" y="815465"/>
                  <a:pt x="0" y="781585"/>
                  <a:pt x="0" y="740505"/>
                </a:cubicBezTo>
                <a:lnTo>
                  <a:pt x="0" y="740505"/>
                </a:lnTo>
                <a:close/>
              </a:path>
            </a:pathLst>
          </a:custGeom>
          <a:solidFill>
            <a:srgbClr val="B41F7A"/>
          </a:solidFill>
          <a:ln w="4233" cap="flat">
            <a:noFill/>
            <a:prstDash val="solid"/>
            <a:miter/>
          </a:ln>
        </p:spPr>
        <p:txBody>
          <a:bodyPr rtlCol="0" anchor="ctr"/>
          <a:lstStyle/>
          <a:p>
            <a:pPr algn="l" rtl="0"/>
            <a:endParaRPr lang="en-US"/>
          </a:p>
        </p:txBody>
      </p:sp>
      <p:sp>
        <p:nvSpPr>
          <p:cNvPr id="35" name="Freeform 34">
            <a:extLst>
              <a:ext uri="{FF2B5EF4-FFF2-40B4-BE49-F238E27FC236}">
                <a16:creationId xmlns:a16="http://schemas.microsoft.com/office/drawing/2014/main" id="{5E2A9343-463C-D8FF-A890-DF344544AA0E}"/>
              </a:ext>
            </a:extLst>
          </p:cNvPr>
          <p:cNvSpPr/>
          <p:nvPr/>
        </p:nvSpPr>
        <p:spPr>
          <a:xfrm>
            <a:off x="4903897" y="2337616"/>
            <a:ext cx="534038" cy="2347701"/>
          </a:xfrm>
          <a:custGeom>
            <a:avLst/>
            <a:gdLst>
              <a:gd name="connsiteX0" fmla="*/ 534039 w 534038"/>
              <a:gd name="connsiteY0" fmla="*/ 1173749 h 2347701"/>
              <a:gd name="connsiteX1" fmla="*/ 534039 w 534038"/>
              <a:gd name="connsiteY1" fmla="*/ 1173749 h 2347701"/>
              <a:gd name="connsiteX2" fmla="*/ 133675 w 534038"/>
              <a:gd name="connsiteY2" fmla="*/ 28172 h 2347701"/>
              <a:gd name="connsiteX3" fmla="*/ 28183 w 534038"/>
              <a:gd name="connsiteY3" fmla="*/ 16314 h 2347701"/>
              <a:gd name="connsiteX4" fmla="*/ 16320 w 534038"/>
              <a:gd name="connsiteY4" fmla="*/ 121766 h 2347701"/>
              <a:gd name="connsiteX5" fmla="*/ 384061 w 534038"/>
              <a:gd name="connsiteY5" fmla="*/ 1173749 h 2347701"/>
              <a:gd name="connsiteX6" fmla="*/ 384061 w 534038"/>
              <a:gd name="connsiteY6" fmla="*/ 1174173 h 2347701"/>
              <a:gd name="connsiteX7" fmla="*/ 16320 w 534038"/>
              <a:gd name="connsiteY7" fmla="*/ 2225732 h 2347701"/>
              <a:gd name="connsiteX8" fmla="*/ 28183 w 534038"/>
              <a:gd name="connsiteY8" fmla="*/ 2331185 h 2347701"/>
              <a:gd name="connsiteX9" fmla="*/ 74786 w 534038"/>
              <a:gd name="connsiteY9" fmla="*/ 2347702 h 2347701"/>
              <a:gd name="connsiteX10" fmla="*/ 133675 w 534038"/>
              <a:gd name="connsiteY10" fmla="*/ 2319327 h 2347701"/>
              <a:gd name="connsiteX11" fmla="*/ 133675 w 534038"/>
              <a:gd name="connsiteY11" fmla="*/ 2319327 h 2347701"/>
              <a:gd name="connsiteX12" fmla="*/ 534039 w 534038"/>
              <a:gd name="connsiteY12" fmla="*/ 1173749 h 23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038" h="2347701">
                <a:moveTo>
                  <a:pt x="534039" y="1173749"/>
                </a:moveTo>
                <a:cubicBezTo>
                  <a:pt x="534039" y="1173749"/>
                  <a:pt x="534039" y="1173326"/>
                  <a:pt x="534039" y="1173749"/>
                </a:cubicBezTo>
                <a:cubicBezTo>
                  <a:pt x="534039" y="740505"/>
                  <a:pt x="384061" y="342411"/>
                  <a:pt x="133675" y="28172"/>
                </a:cubicBezTo>
                <a:cubicBezTo>
                  <a:pt x="107832" y="-4014"/>
                  <a:pt x="60805" y="-9520"/>
                  <a:pt x="28183" y="16314"/>
                </a:cubicBezTo>
                <a:cubicBezTo>
                  <a:pt x="-4016" y="42148"/>
                  <a:pt x="-9524" y="89156"/>
                  <a:pt x="16320" y="121766"/>
                </a:cubicBezTo>
                <a:cubicBezTo>
                  <a:pt x="246370" y="410596"/>
                  <a:pt x="384061" y="775656"/>
                  <a:pt x="384061" y="1173749"/>
                </a:cubicBezTo>
                <a:cubicBezTo>
                  <a:pt x="384061" y="1173749"/>
                  <a:pt x="384061" y="1174173"/>
                  <a:pt x="384061" y="1174173"/>
                </a:cubicBezTo>
                <a:cubicBezTo>
                  <a:pt x="384061" y="1572266"/>
                  <a:pt x="246370" y="1936903"/>
                  <a:pt x="16320" y="2225732"/>
                </a:cubicBezTo>
                <a:cubicBezTo>
                  <a:pt x="-9524" y="2257919"/>
                  <a:pt x="-4016" y="2305351"/>
                  <a:pt x="28183" y="2331185"/>
                </a:cubicBezTo>
                <a:cubicBezTo>
                  <a:pt x="42164" y="2342196"/>
                  <a:pt x="58686" y="2347702"/>
                  <a:pt x="74786" y="2347702"/>
                </a:cubicBezTo>
                <a:cubicBezTo>
                  <a:pt x="96816" y="2347702"/>
                  <a:pt x="118847" y="2337961"/>
                  <a:pt x="133675" y="2319327"/>
                </a:cubicBezTo>
                <a:lnTo>
                  <a:pt x="133675" y="2319327"/>
                </a:lnTo>
                <a:cubicBezTo>
                  <a:pt x="384061" y="2005087"/>
                  <a:pt x="534039" y="1606570"/>
                  <a:pt x="534039" y="1173749"/>
                </a:cubicBezTo>
                <a:close/>
              </a:path>
            </a:pathLst>
          </a:custGeom>
          <a:solidFill>
            <a:srgbClr val="F16924"/>
          </a:solidFill>
          <a:ln w="4233" cap="flat">
            <a:noFill/>
            <a:prstDash val="solid"/>
            <a:miter/>
          </a:ln>
        </p:spPr>
        <p:txBody>
          <a:bodyPr rtlCol="0" anchor="ctr"/>
          <a:lstStyle/>
          <a:p>
            <a:pPr algn="l" rtl="0"/>
            <a:endParaRPr lang="en-US"/>
          </a:p>
        </p:txBody>
      </p:sp>
      <p:sp>
        <p:nvSpPr>
          <p:cNvPr id="36" name="Freeform 35">
            <a:extLst>
              <a:ext uri="{FF2B5EF4-FFF2-40B4-BE49-F238E27FC236}">
                <a16:creationId xmlns:a16="http://schemas.microsoft.com/office/drawing/2014/main" id="{AC12AB2A-3AA2-F7F1-76BC-0FA416FAAD7F}"/>
              </a:ext>
            </a:extLst>
          </p:cNvPr>
          <p:cNvSpPr/>
          <p:nvPr/>
        </p:nvSpPr>
        <p:spPr>
          <a:xfrm>
            <a:off x="3522969" y="1672089"/>
            <a:ext cx="1530922" cy="815668"/>
          </a:xfrm>
          <a:custGeom>
            <a:avLst/>
            <a:gdLst>
              <a:gd name="connsiteX0" fmla="*/ 1397247 w 1530922"/>
              <a:gd name="connsiteY0" fmla="*/ 787293 h 815668"/>
              <a:gd name="connsiteX1" fmla="*/ 74989 w 1530922"/>
              <a:gd name="connsiteY1" fmla="*/ 149920 h 815668"/>
              <a:gd name="connsiteX2" fmla="*/ 74989 w 1530922"/>
              <a:gd name="connsiteY2" fmla="*/ 149920 h 815668"/>
              <a:gd name="connsiteX3" fmla="*/ 0 w 1530922"/>
              <a:gd name="connsiteY3" fmla="*/ 74960 h 815668"/>
              <a:gd name="connsiteX4" fmla="*/ 0 w 1530922"/>
              <a:gd name="connsiteY4" fmla="*/ 74960 h 815668"/>
              <a:gd name="connsiteX5" fmla="*/ 74989 w 1530922"/>
              <a:gd name="connsiteY5" fmla="*/ 0 h 815668"/>
              <a:gd name="connsiteX6" fmla="*/ 74989 w 1530922"/>
              <a:gd name="connsiteY6" fmla="*/ 0 h 815668"/>
              <a:gd name="connsiteX7" fmla="*/ 1514603 w 1530922"/>
              <a:gd name="connsiteY7" fmla="*/ 693699 h 815668"/>
              <a:gd name="connsiteX8" fmla="*/ 1514603 w 1530922"/>
              <a:gd name="connsiteY8" fmla="*/ 693699 h 815668"/>
              <a:gd name="connsiteX9" fmla="*/ 1502740 w 1530922"/>
              <a:gd name="connsiteY9" fmla="*/ 799151 h 815668"/>
              <a:gd name="connsiteX10" fmla="*/ 1502740 w 1530922"/>
              <a:gd name="connsiteY10" fmla="*/ 799151 h 815668"/>
              <a:gd name="connsiteX11" fmla="*/ 1456137 w 1530922"/>
              <a:gd name="connsiteY11" fmla="*/ 815668 h 815668"/>
              <a:gd name="connsiteX12" fmla="*/ 1456137 w 1530922"/>
              <a:gd name="connsiteY12" fmla="*/ 815668 h 815668"/>
              <a:gd name="connsiteX13" fmla="*/ 1397247 w 1530922"/>
              <a:gd name="connsiteY13" fmla="*/ 787293 h 815668"/>
              <a:gd name="connsiteX14" fmla="*/ 1397247 w 1530922"/>
              <a:gd name="connsiteY14" fmla="*/ 787293 h 8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922" h="815668">
                <a:moveTo>
                  <a:pt x="1397247" y="787293"/>
                </a:moveTo>
                <a:cubicBezTo>
                  <a:pt x="1087125" y="398517"/>
                  <a:pt x="610502" y="149920"/>
                  <a:pt x="74989" y="149920"/>
                </a:cubicBezTo>
                <a:lnTo>
                  <a:pt x="74989" y="149920"/>
                </a:lnTo>
                <a:cubicBezTo>
                  <a:pt x="33470" y="149920"/>
                  <a:pt x="0" y="116464"/>
                  <a:pt x="0" y="74960"/>
                </a:cubicBezTo>
                <a:lnTo>
                  <a:pt x="0" y="74960"/>
                </a:lnTo>
                <a:cubicBezTo>
                  <a:pt x="0" y="33457"/>
                  <a:pt x="33470" y="0"/>
                  <a:pt x="74989" y="0"/>
                </a:cubicBezTo>
                <a:lnTo>
                  <a:pt x="74989" y="0"/>
                </a:lnTo>
                <a:cubicBezTo>
                  <a:pt x="657528" y="0"/>
                  <a:pt x="1177789" y="271042"/>
                  <a:pt x="1514603" y="693699"/>
                </a:cubicBezTo>
                <a:lnTo>
                  <a:pt x="1514603" y="693699"/>
                </a:lnTo>
                <a:cubicBezTo>
                  <a:pt x="1540446" y="725885"/>
                  <a:pt x="1534939" y="773318"/>
                  <a:pt x="1502740" y="799151"/>
                </a:cubicBezTo>
                <a:lnTo>
                  <a:pt x="1502740" y="799151"/>
                </a:lnTo>
                <a:cubicBezTo>
                  <a:pt x="1488759" y="810162"/>
                  <a:pt x="1472236" y="815668"/>
                  <a:pt x="1456137" y="815668"/>
                </a:cubicBezTo>
                <a:lnTo>
                  <a:pt x="1456137" y="815668"/>
                </a:lnTo>
                <a:cubicBezTo>
                  <a:pt x="1433683" y="815245"/>
                  <a:pt x="1412076" y="805504"/>
                  <a:pt x="1397247" y="787293"/>
                </a:cubicBezTo>
                <a:lnTo>
                  <a:pt x="1397247" y="787293"/>
                </a:lnTo>
                <a:close/>
              </a:path>
            </a:pathLst>
          </a:custGeom>
          <a:solidFill>
            <a:srgbClr val="7F1C58"/>
          </a:solidFill>
          <a:ln w="4233" cap="flat">
            <a:noFill/>
            <a:prstDash val="solid"/>
            <a:miter/>
          </a:ln>
        </p:spPr>
        <p:txBody>
          <a:bodyPr rtlCol="0" anchor="ctr"/>
          <a:lstStyle/>
          <a:p>
            <a:pPr algn="l" rtl="0"/>
            <a:endParaRPr lang="en-US"/>
          </a:p>
        </p:txBody>
      </p:sp>
      <p:grpSp>
        <p:nvGrpSpPr>
          <p:cNvPr id="254" name="Graphic 8">
            <a:extLst>
              <a:ext uri="{FF2B5EF4-FFF2-40B4-BE49-F238E27FC236}">
                <a16:creationId xmlns:a16="http://schemas.microsoft.com/office/drawing/2014/main" id="{15A5C673-CC86-BF23-26C5-EFD07711BD2D}"/>
              </a:ext>
            </a:extLst>
          </p:cNvPr>
          <p:cNvGrpSpPr/>
          <p:nvPr/>
        </p:nvGrpSpPr>
        <p:grpSpPr>
          <a:xfrm>
            <a:off x="5080199" y="4931062"/>
            <a:ext cx="1446392" cy="1445841"/>
            <a:chOff x="4817897" y="694433"/>
            <a:chExt cx="1446392" cy="1445841"/>
          </a:xfrm>
        </p:grpSpPr>
        <p:sp>
          <p:nvSpPr>
            <p:cNvPr id="255" name="Freeform 254">
              <a:extLst>
                <a:ext uri="{FF2B5EF4-FFF2-40B4-BE49-F238E27FC236}">
                  <a16:creationId xmlns:a16="http://schemas.microsoft.com/office/drawing/2014/main" id="{EDE01515-A71E-91F7-2E9C-CE2C377F3CD4}"/>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B41F7A"/>
            </a:solidFill>
            <a:ln w="4233" cap="flat">
              <a:noFill/>
              <a:prstDash val="solid"/>
              <a:miter/>
            </a:ln>
          </p:spPr>
          <p:txBody>
            <a:bodyPr rtlCol="0" anchor="ctr"/>
            <a:lstStyle/>
            <a:p>
              <a:pPr algn="l" rtl="0"/>
              <a:endParaRPr lang="en-US" dirty="0"/>
            </a:p>
          </p:txBody>
        </p:sp>
        <p:sp>
          <p:nvSpPr>
            <p:cNvPr id="256" name="Freeform 255">
              <a:extLst>
                <a:ext uri="{FF2B5EF4-FFF2-40B4-BE49-F238E27FC236}">
                  <a16:creationId xmlns:a16="http://schemas.microsoft.com/office/drawing/2014/main" id="{3E7722AC-53AD-B2CE-CA51-C9E93822559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259" name="Text Placeholder 2">
            <a:extLst>
              <a:ext uri="{FF2B5EF4-FFF2-40B4-BE49-F238E27FC236}">
                <a16:creationId xmlns:a16="http://schemas.microsoft.com/office/drawing/2014/main" id="{3C88786D-B5E6-9C48-4E9F-89AD1DCF6F50}"/>
              </a:ext>
            </a:extLst>
          </p:cNvPr>
          <p:cNvSpPr txBox="1">
            <a:spLocks/>
          </p:cNvSpPr>
          <p:nvPr/>
        </p:nvSpPr>
        <p:spPr>
          <a:xfrm>
            <a:off x="6848348" y="820529"/>
            <a:ext cx="3984914" cy="108528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80"/>
              </a:lnSpc>
              <a:spcBef>
                <a:spcPts val="0"/>
              </a:spcBef>
            </a:pPr>
            <a:r>
              <a:rPr lang="en-US" sz="2200" b="1" dirty="0">
                <a:solidFill>
                  <a:srgbClr val="7F1C58"/>
                </a:solidFill>
              </a:rPr>
              <a:t>VA A EXPERIMENTAR</a:t>
            </a:r>
          </a:p>
          <a:p>
            <a:pPr algn="l" rtl="0">
              <a:lnSpc>
                <a:spcPts val="2280"/>
              </a:lnSpc>
              <a:spcBef>
                <a:spcPts val="0"/>
              </a:spcBef>
            </a:pPr>
            <a:r>
              <a:rPr lang="en-US" sz="2200" dirty="0">
                <a:solidFill>
                  <a:srgbClr val="595959"/>
                </a:solidFill>
              </a:rPr>
              <a:t>Su empresa experimentará una crisis, y varias a lo largo del tiempo.</a:t>
            </a:r>
          </a:p>
        </p:txBody>
      </p:sp>
      <p:sp>
        <p:nvSpPr>
          <p:cNvPr id="260" name="Text Placeholder 2">
            <a:extLst>
              <a:ext uri="{FF2B5EF4-FFF2-40B4-BE49-F238E27FC236}">
                <a16:creationId xmlns:a16="http://schemas.microsoft.com/office/drawing/2014/main" id="{0E20A38A-941B-7209-A315-1A990444A6D1}"/>
              </a:ext>
            </a:extLst>
          </p:cNvPr>
          <p:cNvSpPr>
            <a:spLocks noGrp="1"/>
          </p:cNvSpPr>
          <p:nvPr>
            <p:ph type="body" sz="quarter" idx="16"/>
          </p:nvPr>
        </p:nvSpPr>
        <p:spPr>
          <a:xfrm>
            <a:off x="7731029" y="2965934"/>
            <a:ext cx="3984914" cy="1157102"/>
          </a:xfrm>
        </p:spPr>
        <p:txBody>
          <a:bodyPr>
            <a:noAutofit/>
          </a:bodyPr>
          <a:lstStyle/>
          <a:p>
            <a:pPr algn="l" rtl="0">
              <a:lnSpc>
                <a:spcPts val="2280"/>
              </a:lnSpc>
              <a:spcBef>
                <a:spcPts val="0"/>
              </a:spcBef>
            </a:pPr>
            <a:r>
              <a:rPr lang="en-US" sz="2200" b="1" dirty="0">
                <a:solidFill>
                  <a:srgbClr val="F16924"/>
                </a:solidFill>
              </a:rPr>
              <a:t>PLANIFICACIÓN</a:t>
            </a:r>
          </a:p>
          <a:p>
            <a:pPr algn="l" rtl="0">
              <a:lnSpc>
                <a:spcPts val="2280"/>
              </a:lnSpc>
              <a:spcBef>
                <a:spcPts val="0"/>
              </a:spcBef>
            </a:pPr>
            <a:r>
              <a:rPr lang="en-US" sz="2200" dirty="0"/>
              <a:t>La planificación aumenta sus posibilidades de gestionar la crisis</a:t>
            </a:r>
          </a:p>
        </p:txBody>
      </p:sp>
      <p:sp>
        <p:nvSpPr>
          <p:cNvPr id="261" name="Text Placeholder 2">
            <a:extLst>
              <a:ext uri="{FF2B5EF4-FFF2-40B4-BE49-F238E27FC236}">
                <a16:creationId xmlns:a16="http://schemas.microsoft.com/office/drawing/2014/main" id="{39F7FFF2-3249-5EA0-933F-5934F974780D}"/>
              </a:ext>
            </a:extLst>
          </p:cNvPr>
          <p:cNvSpPr txBox="1">
            <a:spLocks/>
          </p:cNvSpPr>
          <p:nvPr/>
        </p:nvSpPr>
        <p:spPr>
          <a:xfrm>
            <a:off x="6848348" y="5071971"/>
            <a:ext cx="4139241" cy="117364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80"/>
              </a:lnSpc>
              <a:spcBef>
                <a:spcPts val="0"/>
              </a:spcBef>
            </a:pPr>
            <a:r>
              <a:rPr lang="en-US" sz="2200" b="1" dirty="0">
                <a:solidFill>
                  <a:srgbClr val="B41F7A"/>
                </a:solidFill>
              </a:rPr>
              <a:t>COMUNICADO</a:t>
            </a:r>
          </a:p>
          <a:p>
            <a:pPr algn="l" rtl="0">
              <a:lnSpc>
                <a:spcPts val="2280"/>
              </a:lnSpc>
              <a:spcBef>
                <a:spcPts val="0"/>
              </a:spcBef>
            </a:pPr>
            <a:r>
              <a:rPr lang="en-US" sz="2200" dirty="0">
                <a:solidFill>
                  <a:srgbClr val="595959"/>
                </a:solidFill>
              </a:rPr>
              <a:t>La comunicación con las partes interesadas mejora su capacidad para gestionar la crisis y recuperarse de ella.</a:t>
            </a:r>
          </a:p>
        </p:txBody>
      </p:sp>
      <p:cxnSp>
        <p:nvCxnSpPr>
          <p:cNvPr id="335" name="Straight Connector 334">
            <a:extLst>
              <a:ext uri="{FF2B5EF4-FFF2-40B4-BE49-F238E27FC236}">
                <a16:creationId xmlns:a16="http://schemas.microsoft.com/office/drawing/2014/main" id="{14E612F2-A778-E5F3-FFC9-2F95B5D8B4CC}"/>
              </a:ext>
            </a:extLst>
          </p:cNvPr>
          <p:cNvCxnSpPr>
            <a:cxnSpLocks/>
          </p:cNvCxnSpPr>
          <p:nvPr/>
        </p:nvCxnSpPr>
        <p:spPr>
          <a:xfrm>
            <a:off x="4652649" y="4927601"/>
            <a:ext cx="524937" cy="423041"/>
          </a:xfrm>
          <a:prstGeom prst="line">
            <a:avLst/>
          </a:prstGeom>
          <a:ln w="3810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656E9FF6-AEC7-3AFB-A299-C2A8E7C89D3F}"/>
              </a:ext>
            </a:extLst>
          </p:cNvPr>
          <p:cNvCxnSpPr>
            <a:cxnSpLocks/>
          </p:cNvCxnSpPr>
          <p:nvPr/>
        </p:nvCxnSpPr>
        <p:spPr>
          <a:xfrm flipV="1">
            <a:off x="4452694" y="1470253"/>
            <a:ext cx="524937" cy="423041"/>
          </a:xfrm>
          <a:prstGeom prst="line">
            <a:avLst/>
          </a:prstGeom>
          <a:ln w="3810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CAD7B213-842D-81D5-4F18-438705378ED2}"/>
              </a:ext>
            </a:extLst>
          </p:cNvPr>
          <p:cNvCxnSpPr>
            <a:cxnSpLocks/>
          </p:cNvCxnSpPr>
          <p:nvPr/>
        </p:nvCxnSpPr>
        <p:spPr>
          <a:xfrm>
            <a:off x="5439727" y="3504803"/>
            <a:ext cx="817902" cy="6663"/>
          </a:xfrm>
          <a:prstGeom prst="line">
            <a:avLst/>
          </a:prstGeom>
          <a:ln w="38100">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aphic 8">
            <a:extLst>
              <a:ext uri="{FF2B5EF4-FFF2-40B4-BE49-F238E27FC236}">
                <a16:creationId xmlns:a16="http://schemas.microsoft.com/office/drawing/2014/main" id="{B1DB0B7C-5E3E-41EE-9E2C-C798739EE1F5}"/>
              </a:ext>
            </a:extLst>
          </p:cNvPr>
          <p:cNvGrpSpPr/>
          <p:nvPr/>
        </p:nvGrpSpPr>
        <p:grpSpPr>
          <a:xfrm>
            <a:off x="4941333" y="617090"/>
            <a:ext cx="1446392" cy="1445841"/>
            <a:chOff x="4817897" y="694433"/>
            <a:chExt cx="1446392" cy="1445841"/>
          </a:xfrm>
        </p:grpSpPr>
        <p:sp>
          <p:nvSpPr>
            <p:cNvPr id="29" name="Freeform 28">
              <a:extLst>
                <a:ext uri="{FF2B5EF4-FFF2-40B4-BE49-F238E27FC236}">
                  <a16:creationId xmlns:a16="http://schemas.microsoft.com/office/drawing/2014/main" id="{6FD45C50-AA3B-2AE0-0939-79F447E1C2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7F1C58"/>
            </a:solidFill>
            <a:ln w="4233" cap="flat">
              <a:noFill/>
              <a:prstDash val="solid"/>
              <a:miter/>
            </a:ln>
          </p:spPr>
          <p:txBody>
            <a:bodyPr rtlCol="0" anchor="ctr"/>
            <a:lstStyle/>
            <a:p>
              <a:pPr algn="l" rtl="0"/>
              <a:endParaRPr lang="en-US" dirty="0"/>
            </a:p>
          </p:txBody>
        </p:sp>
        <p:sp>
          <p:nvSpPr>
            <p:cNvPr id="31" name="Freeform 30">
              <a:extLst>
                <a:ext uri="{FF2B5EF4-FFF2-40B4-BE49-F238E27FC236}">
                  <a16:creationId xmlns:a16="http://schemas.microsoft.com/office/drawing/2014/main" id="{617AAFC6-56B6-4B98-E312-889FB5D38EF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grpSp>
        <p:nvGrpSpPr>
          <p:cNvPr id="44" name="Graphic 8">
            <a:extLst>
              <a:ext uri="{FF2B5EF4-FFF2-40B4-BE49-F238E27FC236}">
                <a16:creationId xmlns:a16="http://schemas.microsoft.com/office/drawing/2014/main" id="{954290D9-C016-AB69-8CEA-1CC7DEC411BA}"/>
              </a:ext>
            </a:extLst>
          </p:cNvPr>
          <p:cNvGrpSpPr/>
          <p:nvPr/>
        </p:nvGrpSpPr>
        <p:grpSpPr>
          <a:xfrm>
            <a:off x="6133471" y="2786512"/>
            <a:ext cx="1446392" cy="1445841"/>
            <a:chOff x="4817897" y="694433"/>
            <a:chExt cx="1446392" cy="1445841"/>
          </a:xfrm>
        </p:grpSpPr>
        <p:sp>
          <p:nvSpPr>
            <p:cNvPr id="45" name="Freeform 44">
              <a:extLst>
                <a:ext uri="{FF2B5EF4-FFF2-40B4-BE49-F238E27FC236}">
                  <a16:creationId xmlns:a16="http://schemas.microsoft.com/office/drawing/2014/main" id="{AD477DA9-46AE-4101-5058-889F232163C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46" name="Freeform 45">
              <a:extLst>
                <a:ext uri="{FF2B5EF4-FFF2-40B4-BE49-F238E27FC236}">
                  <a16:creationId xmlns:a16="http://schemas.microsoft.com/office/drawing/2014/main" id="{22A0AC7A-6A24-ADC9-FEFF-3F1DB7A7C82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grpSp>
        <p:nvGrpSpPr>
          <p:cNvPr id="9" name="Graphic 3">
            <a:extLst>
              <a:ext uri="{FF2B5EF4-FFF2-40B4-BE49-F238E27FC236}">
                <a16:creationId xmlns:a16="http://schemas.microsoft.com/office/drawing/2014/main" id="{D91E1096-AA58-C1AF-1957-FA058CEC1383}"/>
              </a:ext>
            </a:extLst>
          </p:cNvPr>
          <p:cNvGrpSpPr/>
          <p:nvPr/>
        </p:nvGrpSpPr>
        <p:grpSpPr>
          <a:xfrm>
            <a:off x="5344334" y="927411"/>
            <a:ext cx="707330" cy="798180"/>
            <a:chOff x="4643578" y="432838"/>
            <a:chExt cx="1028134" cy="1160188"/>
          </a:xfrm>
          <a:solidFill>
            <a:srgbClr val="616161"/>
          </a:solidFill>
        </p:grpSpPr>
        <p:sp>
          <p:nvSpPr>
            <p:cNvPr id="10" name="Freeform 9">
              <a:extLst>
                <a:ext uri="{FF2B5EF4-FFF2-40B4-BE49-F238E27FC236}">
                  <a16:creationId xmlns:a16="http://schemas.microsoft.com/office/drawing/2014/main" id="{473F6C7C-2F6F-1F3A-5196-5583CD95FE7D}"/>
                </a:ext>
              </a:extLst>
            </p:cNvPr>
            <p:cNvSpPr/>
            <p:nvPr/>
          </p:nvSpPr>
          <p:spPr>
            <a:xfrm>
              <a:off x="5046765" y="465751"/>
              <a:ext cx="419643" cy="433356"/>
            </a:xfrm>
            <a:custGeom>
              <a:avLst/>
              <a:gdLst>
                <a:gd name="connsiteX0" fmla="*/ 416901 w 419643"/>
                <a:gd name="connsiteY0" fmla="*/ 257819 h 433356"/>
                <a:gd name="connsiteX1" fmla="*/ 416901 w 419643"/>
                <a:gd name="connsiteY1" fmla="*/ 433356 h 433356"/>
                <a:gd name="connsiteX2" fmla="*/ 35656 w 419643"/>
                <a:gd name="connsiteY2" fmla="*/ 433356 h 433356"/>
                <a:gd name="connsiteX3" fmla="*/ 35656 w 419643"/>
                <a:gd name="connsiteY3" fmla="*/ 301704 h 433356"/>
                <a:gd name="connsiteX4" fmla="*/ 0 w 419643"/>
                <a:gd name="connsiteY4" fmla="*/ 164566 h 433356"/>
                <a:gd name="connsiteX5" fmla="*/ 0 w 419643"/>
                <a:gd name="connsiteY5" fmla="*/ 24685 h 433356"/>
                <a:gd name="connsiteX6" fmla="*/ 24686 w 419643"/>
                <a:gd name="connsiteY6" fmla="*/ 0 h 433356"/>
                <a:gd name="connsiteX7" fmla="*/ 287991 w 419643"/>
                <a:gd name="connsiteY7" fmla="*/ 0 h 433356"/>
                <a:gd name="connsiteX8" fmla="*/ 287991 w 419643"/>
                <a:gd name="connsiteY8" fmla="*/ 71312 h 433356"/>
                <a:gd name="connsiteX9" fmla="*/ 345588 w 419643"/>
                <a:gd name="connsiteY9" fmla="*/ 128910 h 433356"/>
                <a:gd name="connsiteX10" fmla="*/ 416901 w 419643"/>
                <a:gd name="connsiteY10" fmla="*/ 128910 h 433356"/>
                <a:gd name="connsiteX11" fmla="*/ 416901 w 419643"/>
                <a:gd name="connsiteY11" fmla="*/ 178280 h 433356"/>
                <a:gd name="connsiteX12" fmla="*/ 419643 w 419643"/>
                <a:gd name="connsiteY12" fmla="*/ 189250 h 43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643" h="433356">
                  <a:moveTo>
                    <a:pt x="416901" y="257819"/>
                  </a:moveTo>
                  <a:lnTo>
                    <a:pt x="416901" y="433356"/>
                  </a:lnTo>
                  <a:cubicBezTo>
                    <a:pt x="381245" y="433356"/>
                    <a:pt x="74055" y="433356"/>
                    <a:pt x="35656" y="433356"/>
                  </a:cubicBezTo>
                  <a:lnTo>
                    <a:pt x="35656" y="301704"/>
                  </a:lnTo>
                  <a:cubicBezTo>
                    <a:pt x="35656" y="227649"/>
                    <a:pt x="5486" y="181022"/>
                    <a:pt x="0" y="164566"/>
                  </a:cubicBezTo>
                  <a:lnTo>
                    <a:pt x="0" y="24685"/>
                  </a:lnTo>
                  <a:cubicBezTo>
                    <a:pt x="0" y="10971"/>
                    <a:pt x="10972" y="0"/>
                    <a:pt x="24686" y="0"/>
                  </a:cubicBezTo>
                  <a:lnTo>
                    <a:pt x="287991" y="0"/>
                  </a:lnTo>
                  <a:lnTo>
                    <a:pt x="287991" y="71312"/>
                  </a:lnTo>
                  <a:cubicBezTo>
                    <a:pt x="287991" y="104225"/>
                    <a:pt x="315418" y="128910"/>
                    <a:pt x="345588" y="128910"/>
                  </a:cubicBezTo>
                  <a:lnTo>
                    <a:pt x="416901" y="128910"/>
                  </a:lnTo>
                  <a:lnTo>
                    <a:pt x="416901" y="178280"/>
                  </a:lnTo>
                  <a:cubicBezTo>
                    <a:pt x="416901" y="181022"/>
                    <a:pt x="416901" y="186508"/>
                    <a:pt x="419643" y="189250"/>
                  </a:cubicBezTo>
                </a:path>
              </a:pathLst>
            </a:custGeom>
            <a:solidFill>
              <a:srgbClr val="7F1C58"/>
            </a:solidFill>
            <a:ln w="27426" cap="flat">
              <a:noFill/>
              <a:prstDash val="solid"/>
              <a:miter/>
            </a:ln>
          </p:spPr>
          <p:txBody>
            <a:bodyPr rtlCol="0" anchor="ctr"/>
            <a:lstStyle/>
            <a:p>
              <a:pPr algn="l" rtl="0"/>
              <a:endParaRPr lang="en-US" dirty="0"/>
            </a:p>
          </p:txBody>
        </p:sp>
        <p:grpSp>
          <p:nvGrpSpPr>
            <p:cNvPr id="11" name="Graphic 3">
              <a:extLst>
                <a:ext uri="{FF2B5EF4-FFF2-40B4-BE49-F238E27FC236}">
                  <a16:creationId xmlns:a16="http://schemas.microsoft.com/office/drawing/2014/main" id="{32E2E769-314A-7B21-9AF7-36AE2EE65BD2}"/>
                </a:ext>
              </a:extLst>
            </p:cNvPr>
            <p:cNvGrpSpPr/>
            <p:nvPr/>
          </p:nvGrpSpPr>
          <p:grpSpPr>
            <a:xfrm>
              <a:off x="4643578" y="432838"/>
              <a:ext cx="1028134" cy="1160188"/>
              <a:chOff x="4643578" y="432838"/>
              <a:chExt cx="1028134" cy="1160188"/>
            </a:xfrm>
            <a:grpFill/>
          </p:grpSpPr>
          <p:sp>
            <p:nvSpPr>
              <p:cNvPr id="12" name="Freeform 11">
                <a:extLst>
                  <a:ext uri="{FF2B5EF4-FFF2-40B4-BE49-F238E27FC236}">
                    <a16:creationId xmlns:a16="http://schemas.microsoft.com/office/drawing/2014/main" id="{205FACEB-E397-E2D8-00FC-B37E3FDB77DE}"/>
                  </a:ext>
                </a:extLst>
              </p:cNvPr>
              <p:cNvSpPr/>
              <p:nvPr/>
            </p:nvSpPr>
            <p:spPr>
              <a:xfrm>
                <a:off x="5115334" y="53157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pPr algn="l" rtl="0"/>
                <a:endParaRPr lang="en-US"/>
              </a:p>
            </p:txBody>
          </p:sp>
          <p:grpSp>
            <p:nvGrpSpPr>
              <p:cNvPr id="13" name="Graphic 3">
                <a:extLst>
                  <a:ext uri="{FF2B5EF4-FFF2-40B4-BE49-F238E27FC236}">
                    <a16:creationId xmlns:a16="http://schemas.microsoft.com/office/drawing/2014/main" id="{35DB5946-F7B2-89FD-C860-B5902B82DF76}"/>
                  </a:ext>
                </a:extLst>
              </p:cNvPr>
              <p:cNvGrpSpPr/>
              <p:nvPr/>
            </p:nvGrpSpPr>
            <p:grpSpPr>
              <a:xfrm>
                <a:off x="4643578" y="432838"/>
                <a:ext cx="1028134" cy="1160188"/>
                <a:chOff x="4643578" y="432838"/>
                <a:chExt cx="1028134" cy="1160188"/>
              </a:xfrm>
              <a:grpFill/>
            </p:grpSpPr>
            <p:sp>
              <p:nvSpPr>
                <p:cNvPr id="14" name="Freeform 13">
                  <a:extLst>
                    <a:ext uri="{FF2B5EF4-FFF2-40B4-BE49-F238E27FC236}">
                      <a16:creationId xmlns:a16="http://schemas.microsoft.com/office/drawing/2014/main" id="{FA2E7CC8-D43C-C43C-40EA-FF32D92C4A35}"/>
                    </a:ext>
                  </a:extLst>
                </p:cNvPr>
                <p:cNvSpPr/>
                <p:nvPr/>
              </p:nvSpPr>
              <p:spPr>
                <a:xfrm>
                  <a:off x="5115334" y="61111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pPr algn="l" rtl="0"/>
                  <a:endParaRPr lang="en-US"/>
                </a:p>
              </p:txBody>
            </p:sp>
            <p:sp>
              <p:nvSpPr>
                <p:cNvPr id="15" name="Freeform 14">
                  <a:extLst>
                    <a:ext uri="{FF2B5EF4-FFF2-40B4-BE49-F238E27FC236}">
                      <a16:creationId xmlns:a16="http://schemas.microsoft.com/office/drawing/2014/main" id="{9543D6FD-9F37-8A3D-174E-E98069FE3077}"/>
                    </a:ext>
                  </a:extLst>
                </p:cNvPr>
                <p:cNvSpPr/>
                <p:nvPr/>
              </p:nvSpPr>
              <p:spPr>
                <a:xfrm>
                  <a:off x="4643578" y="432838"/>
                  <a:ext cx="1028134" cy="1160188"/>
                </a:xfrm>
                <a:custGeom>
                  <a:avLst/>
                  <a:gdLst>
                    <a:gd name="connsiteX0" fmla="*/ 1017568 w 1028134"/>
                    <a:gd name="connsiteY0" fmla="*/ 661006 h 1160188"/>
                    <a:gd name="connsiteX1" fmla="*/ 935285 w 1028134"/>
                    <a:gd name="connsiteY1" fmla="*/ 515639 h 1160188"/>
                    <a:gd name="connsiteX2" fmla="*/ 935285 w 1028134"/>
                    <a:gd name="connsiteY2" fmla="*/ 515639 h 1160188"/>
                    <a:gd name="connsiteX3" fmla="*/ 880429 w 1028134"/>
                    <a:gd name="connsiteY3" fmla="*/ 469012 h 1160188"/>
                    <a:gd name="connsiteX4" fmla="*/ 855744 w 1028134"/>
                    <a:gd name="connsiteY4" fmla="*/ 469012 h 1160188"/>
                    <a:gd name="connsiteX5" fmla="*/ 855744 w 1028134"/>
                    <a:gd name="connsiteY5" fmla="*/ 293476 h 1160188"/>
                    <a:gd name="connsiteX6" fmla="*/ 839288 w 1028134"/>
                    <a:gd name="connsiteY6" fmla="*/ 277019 h 1160188"/>
                    <a:gd name="connsiteX7" fmla="*/ 822830 w 1028134"/>
                    <a:gd name="connsiteY7" fmla="*/ 293476 h 1160188"/>
                    <a:gd name="connsiteX8" fmla="*/ 822830 w 1028134"/>
                    <a:gd name="connsiteY8" fmla="*/ 469012 h 1160188"/>
                    <a:gd name="connsiteX9" fmla="*/ 441587 w 1028134"/>
                    <a:gd name="connsiteY9" fmla="*/ 469012 h 1160188"/>
                    <a:gd name="connsiteX10" fmla="*/ 441587 w 1028134"/>
                    <a:gd name="connsiteY10" fmla="*/ 337360 h 1160188"/>
                    <a:gd name="connsiteX11" fmla="*/ 405929 w 1028134"/>
                    <a:gd name="connsiteY11" fmla="*/ 200222 h 1160188"/>
                    <a:gd name="connsiteX12" fmla="*/ 405929 w 1028134"/>
                    <a:gd name="connsiteY12" fmla="*/ 60341 h 1160188"/>
                    <a:gd name="connsiteX13" fmla="*/ 430615 w 1028134"/>
                    <a:gd name="connsiteY13" fmla="*/ 35656 h 1160188"/>
                    <a:gd name="connsiteX14" fmla="*/ 693920 w 1028134"/>
                    <a:gd name="connsiteY14" fmla="*/ 35656 h 1160188"/>
                    <a:gd name="connsiteX15" fmla="*/ 693920 w 1028134"/>
                    <a:gd name="connsiteY15" fmla="*/ 106968 h 1160188"/>
                    <a:gd name="connsiteX16" fmla="*/ 751519 w 1028134"/>
                    <a:gd name="connsiteY16" fmla="*/ 164566 h 1160188"/>
                    <a:gd name="connsiteX17" fmla="*/ 822830 w 1028134"/>
                    <a:gd name="connsiteY17" fmla="*/ 164566 h 1160188"/>
                    <a:gd name="connsiteX18" fmla="*/ 822830 w 1028134"/>
                    <a:gd name="connsiteY18" fmla="*/ 213936 h 1160188"/>
                    <a:gd name="connsiteX19" fmla="*/ 839288 w 1028134"/>
                    <a:gd name="connsiteY19" fmla="*/ 230392 h 1160188"/>
                    <a:gd name="connsiteX20" fmla="*/ 855744 w 1028134"/>
                    <a:gd name="connsiteY20" fmla="*/ 213936 h 1160188"/>
                    <a:gd name="connsiteX21" fmla="*/ 855744 w 1028134"/>
                    <a:gd name="connsiteY21" fmla="*/ 159080 h 1160188"/>
                    <a:gd name="connsiteX22" fmla="*/ 842030 w 1028134"/>
                    <a:gd name="connsiteY22" fmla="*/ 128910 h 1160188"/>
                    <a:gd name="connsiteX23" fmla="*/ 726833 w 1028134"/>
                    <a:gd name="connsiteY23" fmla="*/ 13714 h 1160188"/>
                    <a:gd name="connsiteX24" fmla="*/ 696664 w 1028134"/>
                    <a:gd name="connsiteY24" fmla="*/ 0 h 1160188"/>
                    <a:gd name="connsiteX25" fmla="*/ 430615 w 1028134"/>
                    <a:gd name="connsiteY25" fmla="*/ 0 h 1160188"/>
                    <a:gd name="connsiteX26" fmla="*/ 373017 w 1028134"/>
                    <a:gd name="connsiteY26" fmla="*/ 57598 h 1160188"/>
                    <a:gd name="connsiteX27" fmla="*/ 373017 w 1028134"/>
                    <a:gd name="connsiteY27" fmla="*/ 120682 h 1160188"/>
                    <a:gd name="connsiteX28" fmla="*/ 329132 w 1028134"/>
                    <a:gd name="connsiteY28" fmla="*/ 24685 h 1160188"/>
                    <a:gd name="connsiteX29" fmla="*/ 255077 w 1028134"/>
                    <a:gd name="connsiteY29" fmla="*/ 24685 h 1160188"/>
                    <a:gd name="connsiteX30" fmla="*/ 200222 w 1028134"/>
                    <a:gd name="connsiteY30" fmla="*/ 145366 h 1160188"/>
                    <a:gd name="connsiteX31" fmla="*/ 200222 w 1028134"/>
                    <a:gd name="connsiteY31" fmla="*/ 145366 h 1160188"/>
                    <a:gd name="connsiteX32" fmla="*/ 142624 w 1028134"/>
                    <a:gd name="connsiteY32" fmla="*/ 334617 h 1160188"/>
                    <a:gd name="connsiteX33" fmla="*/ 142624 w 1028134"/>
                    <a:gd name="connsiteY33" fmla="*/ 466270 h 1160188"/>
                    <a:gd name="connsiteX34" fmla="*/ 57599 w 1028134"/>
                    <a:gd name="connsiteY34" fmla="*/ 466270 h 1160188"/>
                    <a:gd name="connsiteX35" fmla="*/ 2744 w 1028134"/>
                    <a:gd name="connsiteY35" fmla="*/ 512897 h 1160188"/>
                    <a:gd name="connsiteX36" fmla="*/ 0 w 1028134"/>
                    <a:gd name="connsiteY36" fmla="*/ 554038 h 1160188"/>
                    <a:gd name="connsiteX37" fmla="*/ 85027 w 1028134"/>
                    <a:gd name="connsiteY37" fmla="*/ 877684 h 1160188"/>
                    <a:gd name="connsiteX38" fmla="*/ 85027 w 1028134"/>
                    <a:gd name="connsiteY38" fmla="*/ 1044992 h 1160188"/>
                    <a:gd name="connsiteX39" fmla="*/ 41142 w 1028134"/>
                    <a:gd name="connsiteY39" fmla="*/ 1102591 h 1160188"/>
                    <a:gd name="connsiteX40" fmla="*/ 98741 w 1028134"/>
                    <a:gd name="connsiteY40" fmla="*/ 1160189 h 1160188"/>
                    <a:gd name="connsiteX41" fmla="*/ 693920 w 1028134"/>
                    <a:gd name="connsiteY41" fmla="*/ 1160189 h 1160188"/>
                    <a:gd name="connsiteX42" fmla="*/ 751519 w 1028134"/>
                    <a:gd name="connsiteY42" fmla="*/ 1102591 h 1160188"/>
                    <a:gd name="connsiteX43" fmla="*/ 707634 w 1028134"/>
                    <a:gd name="connsiteY43" fmla="*/ 1044992 h 1160188"/>
                    <a:gd name="connsiteX44" fmla="*/ 707634 w 1028134"/>
                    <a:gd name="connsiteY44" fmla="*/ 998366 h 1160188"/>
                    <a:gd name="connsiteX45" fmla="*/ 729577 w 1028134"/>
                    <a:gd name="connsiteY45" fmla="*/ 979166 h 1160188"/>
                    <a:gd name="connsiteX46" fmla="*/ 844772 w 1028134"/>
                    <a:gd name="connsiteY46" fmla="*/ 987394 h 1160188"/>
                    <a:gd name="connsiteX47" fmla="*/ 935285 w 1028134"/>
                    <a:gd name="connsiteY47" fmla="*/ 905112 h 1160188"/>
                    <a:gd name="connsiteX48" fmla="*/ 935285 w 1028134"/>
                    <a:gd name="connsiteY48" fmla="*/ 789916 h 1160188"/>
                    <a:gd name="connsiteX49" fmla="*/ 951741 w 1028134"/>
                    <a:gd name="connsiteY49" fmla="*/ 765231 h 1160188"/>
                    <a:gd name="connsiteX50" fmla="*/ 990140 w 1028134"/>
                    <a:gd name="connsiteY50" fmla="*/ 751517 h 1160188"/>
                    <a:gd name="connsiteX51" fmla="*/ 1017568 w 1028134"/>
                    <a:gd name="connsiteY51" fmla="*/ 661006 h 1160188"/>
                    <a:gd name="connsiteX52" fmla="*/ 1017568 w 1028134"/>
                    <a:gd name="connsiteY52" fmla="*/ 661006 h 1160188"/>
                    <a:gd name="connsiteX53" fmla="*/ 798146 w 1028134"/>
                    <a:gd name="connsiteY53" fmla="*/ 131653 h 1160188"/>
                    <a:gd name="connsiteX54" fmla="*/ 748775 w 1028134"/>
                    <a:gd name="connsiteY54" fmla="*/ 131653 h 1160188"/>
                    <a:gd name="connsiteX55" fmla="*/ 724091 w 1028134"/>
                    <a:gd name="connsiteY55" fmla="*/ 106968 h 1160188"/>
                    <a:gd name="connsiteX56" fmla="*/ 724091 w 1028134"/>
                    <a:gd name="connsiteY56" fmla="*/ 57598 h 1160188"/>
                    <a:gd name="connsiteX57" fmla="*/ 798146 w 1028134"/>
                    <a:gd name="connsiteY57" fmla="*/ 131653 h 1160188"/>
                    <a:gd name="connsiteX58" fmla="*/ 285248 w 1028134"/>
                    <a:gd name="connsiteY58" fmla="*/ 38399 h 1160188"/>
                    <a:gd name="connsiteX59" fmla="*/ 298962 w 1028134"/>
                    <a:gd name="connsiteY59" fmla="*/ 38399 h 1160188"/>
                    <a:gd name="connsiteX60" fmla="*/ 342846 w 1028134"/>
                    <a:gd name="connsiteY60" fmla="*/ 137138 h 1160188"/>
                    <a:gd name="connsiteX61" fmla="*/ 244107 w 1028134"/>
                    <a:gd name="connsiteY61" fmla="*/ 137138 h 1160188"/>
                    <a:gd name="connsiteX62" fmla="*/ 285248 w 1028134"/>
                    <a:gd name="connsiteY62" fmla="*/ 38399 h 1160188"/>
                    <a:gd name="connsiteX63" fmla="*/ 224907 w 1028134"/>
                    <a:gd name="connsiteY63" fmla="*/ 170051 h 1160188"/>
                    <a:gd name="connsiteX64" fmla="*/ 353818 w 1028134"/>
                    <a:gd name="connsiteY64" fmla="*/ 170051 h 1160188"/>
                    <a:gd name="connsiteX65" fmla="*/ 400445 w 1028134"/>
                    <a:gd name="connsiteY65" fmla="*/ 287990 h 1160188"/>
                    <a:gd name="connsiteX66" fmla="*/ 178280 w 1028134"/>
                    <a:gd name="connsiteY66" fmla="*/ 287990 h 1160188"/>
                    <a:gd name="connsiteX67" fmla="*/ 224907 w 1028134"/>
                    <a:gd name="connsiteY67" fmla="*/ 170051 h 1160188"/>
                    <a:gd name="connsiteX68" fmla="*/ 224907 w 1028134"/>
                    <a:gd name="connsiteY68" fmla="*/ 170051 h 1160188"/>
                    <a:gd name="connsiteX69" fmla="*/ 175538 w 1028134"/>
                    <a:gd name="connsiteY69" fmla="*/ 337360 h 1160188"/>
                    <a:gd name="connsiteX70" fmla="*/ 175538 w 1028134"/>
                    <a:gd name="connsiteY70" fmla="*/ 323646 h 1160188"/>
                    <a:gd name="connsiteX71" fmla="*/ 405929 w 1028134"/>
                    <a:gd name="connsiteY71" fmla="*/ 323646 h 1160188"/>
                    <a:gd name="connsiteX72" fmla="*/ 405929 w 1028134"/>
                    <a:gd name="connsiteY72" fmla="*/ 337360 h 1160188"/>
                    <a:gd name="connsiteX73" fmla="*/ 405929 w 1028134"/>
                    <a:gd name="connsiteY73" fmla="*/ 469012 h 1160188"/>
                    <a:gd name="connsiteX74" fmla="*/ 172794 w 1028134"/>
                    <a:gd name="connsiteY74" fmla="*/ 469012 h 1160188"/>
                    <a:gd name="connsiteX75" fmla="*/ 172794 w 1028134"/>
                    <a:gd name="connsiteY75" fmla="*/ 337360 h 1160188"/>
                    <a:gd name="connsiteX76" fmla="*/ 74055 w 1028134"/>
                    <a:gd name="connsiteY76" fmla="*/ 1105333 h 1160188"/>
                    <a:gd name="connsiteX77" fmla="*/ 98741 w 1028134"/>
                    <a:gd name="connsiteY77" fmla="*/ 1080648 h 1160188"/>
                    <a:gd name="connsiteX78" fmla="*/ 145366 w 1028134"/>
                    <a:gd name="connsiteY78" fmla="*/ 1080648 h 1160188"/>
                    <a:gd name="connsiteX79" fmla="*/ 161824 w 1028134"/>
                    <a:gd name="connsiteY79" fmla="*/ 1064192 h 1160188"/>
                    <a:gd name="connsiteX80" fmla="*/ 145366 w 1028134"/>
                    <a:gd name="connsiteY80" fmla="*/ 1047735 h 1160188"/>
                    <a:gd name="connsiteX81" fmla="*/ 117939 w 1028134"/>
                    <a:gd name="connsiteY81" fmla="*/ 1047735 h 1160188"/>
                    <a:gd name="connsiteX82" fmla="*/ 117939 w 1028134"/>
                    <a:gd name="connsiteY82" fmla="*/ 883170 h 1160188"/>
                    <a:gd name="connsiteX83" fmla="*/ 32914 w 1028134"/>
                    <a:gd name="connsiteY83" fmla="*/ 559524 h 1160188"/>
                    <a:gd name="connsiteX84" fmla="*/ 35656 w 1028134"/>
                    <a:gd name="connsiteY84" fmla="*/ 523868 h 1160188"/>
                    <a:gd name="connsiteX85" fmla="*/ 54855 w 1028134"/>
                    <a:gd name="connsiteY85" fmla="*/ 507411 h 1160188"/>
                    <a:gd name="connsiteX86" fmla="*/ 611637 w 1028134"/>
                    <a:gd name="connsiteY86" fmla="*/ 507411 h 1160188"/>
                    <a:gd name="connsiteX87" fmla="*/ 614381 w 1028134"/>
                    <a:gd name="connsiteY87" fmla="*/ 526610 h 1160188"/>
                    <a:gd name="connsiteX88" fmla="*/ 704892 w 1028134"/>
                    <a:gd name="connsiteY88" fmla="*/ 688433 h 1160188"/>
                    <a:gd name="connsiteX89" fmla="*/ 693920 w 1028134"/>
                    <a:gd name="connsiteY89" fmla="*/ 726832 h 1160188"/>
                    <a:gd name="connsiteX90" fmla="*/ 655522 w 1028134"/>
                    <a:gd name="connsiteY90" fmla="*/ 740546 h 1160188"/>
                    <a:gd name="connsiteX91" fmla="*/ 617123 w 1028134"/>
                    <a:gd name="connsiteY91" fmla="*/ 795401 h 1160188"/>
                    <a:gd name="connsiteX92" fmla="*/ 617123 w 1028134"/>
                    <a:gd name="connsiteY92" fmla="*/ 910597 h 1160188"/>
                    <a:gd name="connsiteX93" fmla="*/ 562267 w 1028134"/>
                    <a:gd name="connsiteY93" fmla="*/ 959967 h 1160188"/>
                    <a:gd name="connsiteX94" fmla="*/ 447071 w 1028134"/>
                    <a:gd name="connsiteY94" fmla="*/ 951739 h 1160188"/>
                    <a:gd name="connsiteX95" fmla="*/ 389473 w 1028134"/>
                    <a:gd name="connsiteY95" fmla="*/ 1006594 h 1160188"/>
                    <a:gd name="connsiteX96" fmla="*/ 389473 w 1028134"/>
                    <a:gd name="connsiteY96" fmla="*/ 1050478 h 1160188"/>
                    <a:gd name="connsiteX97" fmla="*/ 224907 w 1028134"/>
                    <a:gd name="connsiteY97" fmla="*/ 1050478 h 1160188"/>
                    <a:gd name="connsiteX98" fmla="*/ 208451 w 1028134"/>
                    <a:gd name="connsiteY98" fmla="*/ 1066935 h 1160188"/>
                    <a:gd name="connsiteX99" fmla="*/ 224907 w 1028134"/>
                    <a:gd name="connsiteY99" fmla="*/ 1083391 h 1160188"/>
                    <a:gd name="connsiteX100" fmla="*/ 408673 w 1028134"/>
                    <a:gd name="connsiteY100" fmla="*/ 1083391 h 1160188"/>
                    <a:gd name="connsiteX101" fmla="*/ 433357 w 1028134"/>
                    <a:gd name="connsiteY101" fmla="*/ 1108076 h 1160188"/>
                    <a:gd name="connsiteX102" fmla="*/ 408673 w 1028134"/>
                    <a:gd name="connsiteY102" fmla="*/ 1132761 h 1160188"/>
                    <a:gd name="connsiteX103" fmla="*/ 98741 w 1028134"/>
                    <a:gd name="connsiteY103" fmla="*/ 1132761 h 1160188"/>
                    <a:gd name="connsiteX104" fmla="*/ 74055 w 1028134"/>
                    <a:gd name="connsiteY104" fmla="*/ 1105333 h 1160188"/>
                    <a:gd name="connsiteX105" fmla="*/ 74055 w 1028134"/>
                    <a:gd name="connsiteY105" fmla="*/ 1105333 h 1160188"/>
                    <a:gd name="connsiteX106" fmla="*/ 718605 w 1028134"/>
                    <a:gd name="connsiteY106" fmla="*/ 1105333 h 1160188"/>
                    <a:gd name="connsiteX107" fmla="*/ 693920 w 1028134"/>
                    <a:gd name="connsiteY107" fmla="*/ 1130018 h 1160188"/>
                    <a:gd name="connsiteX108" fmla="*/ 460785 w 1028134"/>
                    <a:gd name="connsiteY108" fmla="*/ 1130018 h 1160188"/>
                    <a:gd name="connsiteX109" fmla="*/ 466270 w 1028134"/>
                    <a:gd name="connsiteY109" fmla="*/ 1105333 h 1160188"/>
                    <a:gd name="connsiteX110" fmla="*/ 460785 w 1028134"/>
                    <a:gd name="connsiteY110" fmla="*/ 1080648 h 1160188"/>
                    <a:gd name="connsiteX111" fmla="*/ 693920 w 1028134"/>
                    <a:gd name="connsiteY111" fmla="*/ 1080648 h 1160188"/>
                    <a:gd name="connsiteX112" fmla="*/ 718605 w 1028134"/>
                    <a:gd name="connsiteY112" fmla="*/ 1105333 h 1160188"/>
                    <a:gd name="connsiteX113" fmla="*/ 718605 w 1028134"/>
                    <a:gd name="connsiteY113" fmla="*/ 1105333 h 1160188"/>
                    <a:gd name="connsiteX114" fmla="*/ 976426 w 1028134"/>
                    <a:gd name="connsiteY114" fmla="*/ 721347 h 1160188"/>
                    <a:gd name="connsiteX115" fmla="*/ 938027 w 1028134"/>
                    <a:gd name="connsiteY115" fmla="*/ 735060 h 1160188"/>
                    <a:gd name="connsiteX116" fmla="*/ 899627 w 1028134"/>
                    <a:gd name="connsiteY116" fmla="*/ 789916 h 1160188"/>
                    <a:gd name="connsiteX117" fmla="*/ 899627 w 1028134"/>
                    <a:gd name="connsiteY117" fmla="*/ 905112 h 1160188"/>
                    <a:gd name="connsiteX118" fmla="*/ 844772 w 1028134"/>
                    <a:gd name="connsiteY118" fmla="*/ 954481 h 1160188"/>
                    <a:gd name="connsiteX119" fmla="*/ 729577 w 1028134"/>
                    <a:gd name="connsiteY119" fmla="*/ 946253 h 1160188"/>
                    <a:gd name="connsiteX120" fmla="*/ 671978 w 1028134"/>
                    <a:gd name="connsiteY120" fmla="*/ 1001108 h 1160188"/>
                    <a:gd name="connsiteX121" fmla="*/ 671978 w 1028134"/>
                    <a:gd name="connsiteY121" fmla="*/ 1044992 h 1160188"/>
                    <a:gd name="connsiteX122" fmla="*/ 419643 w 1028134"/>
                    <a:gd name="connsiteY122" fmla="*/ 1044992 h 1160188"/>
                    <a:gd name="connsiteX123" fmla="*/ 419643 w 1028134"/>
                    <a:gd name="connsiteY123" fmla="*/ 1001108 h 1160188"/>
                    <a:gd name="connsiteX124" fmla="*/ 441587 w 1028134"/>
                    <a:gd name="connsiteY124" fmla="*/ 981909 h 1160188"/>
                    <a:gd name="connsiteX125" fmla="*/ 556781 w 1028134"/>
                    <a:gd name="connsiteY125" fmla="*/ 990137 h 1160188"/>
                    <a:gd name="connsiteX126" fmla="*/ 647294 w 1028134"/>
                    <a:gd name="connsiteY126" fmla="*/ 907854 h 1160188"/>
                    <a:gd name="connsiteX127" fmla="*/ 647294 w 1028134"/>
                    <a:gd name="connsiteY127" fmla="*/ 792658 h 1160188"/>
                    <a:gd name="connsiteX128" fmla="*/ 663750 w 1028134"/>
                    <a:gd name="connsiteY128" fmla="*/ 767973 h 1160188"/>
                    <a:gd name="connsiteX129" fmla="*/ 702149 w 1028134"/>
                    <a:gd name="connsiteY129" fmla="*/ 754260 h 1160188"/>
                    <a:gd name="connsiteX130" fmla="*/ 729577 w 1028134"/>
                    <a:gd name="connsiteY130" fmla="*/ 663749 h 1160188"/>
                    <a:gd name="connsiteX131" fmla="*/ 647294 w 1028134"/>
                    <a:gd name="connsiteY131" fmla="*/ 518382 h 1160188"/>
                    <a:gd name="connsiteX132" fmla="*/ 644550 w 1028134"/>
                    <a:gd name="connsiteY132" fmla="*/ 504668 h 1160188"/>
                    <a:gd name="connsiteX133" fmla="*/ 877686 w 1028134"/>
                    <a:gd name="connsiteY133" fmla="*/ 504668 h 1160188"/>
                    <a:gd name="connsiteX134" fmla="*/ 896885 w 1028134"/>
                    <a:gd name="connsiteY134" fmla="*/ 521125 h 1160188"/>
                    <a:gd name="connsiteX135" fmla="*/ 896885 w 1028134"/>
                    <a:gd name="connsiteY135" fmla="*/ 521125 h 1160188"/>
                    <a:gd name="connsiteX136" fmla="*/ 987396 w 1028134"/>
                    <a:gd name="connsiteY136" fmla="*/ 682948 h 1160188"/>
                    <a:gd name="connsiteX137" fmla="*/ 976426 w 1028134"/>
                    <a:gd name="connsiteY137" fmla="*/ 721347 h 1160188"/>
                    <a:gd name="connsiteX138" fmla="*/ 976426 w 1028134"/>
                    <a:gd name="connsiteY138" fmla="*/ 721347 h 116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028134" h="1160188">
                      <a:moveTo>
                        <a:pt x="1017568" y="661006"/>
                      </a:moveTo>
                      <a:cubicBezTo>
                        <a:pt x="973682" y="592437"/>
                        <a:pt x="940769" y="567752"/>
                        <a:pt x="935285" y="515639"/>
                      </a:cubicBezTo>
                      <a:lnTo>
                        <a:pt x="935285" y="515639"/>
                      </a:lnTo>
                      <a:cubicBezTo>
                        <a:pt x="932541" y="488212"/>
                        <a:pt x="907857" y="469012"/>
                        <a:pt x="880429" y="469012"/>
                      </a:cubicBezTo>
                      <a:lnTo>
                        <a:pt x="855744" y="469012"/>
                      </a:lnTo>
                      <a:lnTo>
                        <a:pt x="855744" y="293476"/>
                      </a:lnTo>
                      <a:cubicBezTo>
                        <a:pt x="855744" y="285247"/>
                        <a:pt x="847516" y="277019"/>
                        <a:pt x="839288" y="277019"/>
                      </a:cubicBezTo>
                      <a:cubicBezTo>
                        <a:pt x="831058" y="277019"/>
                        <a:pt x="822830" y="285247"/>
                        <a:pt x="822830" y="293476"/>
                      </a:cubicBezTo>
                      <a:lnTo>
                        <a:pt x="822830" y="469012"/>
                      </a:lnTo>
                      <a:cubicBezTo>
                        <a:pt x="787175" y="469012"/>
                        <a:pt x="479984" y="469012"/>
                        <a:pt x="441587" y="469012"/>
                      </a:cubicBezTo>
                      <a:lnTo>
                        <a:pt x="441587" y="337360"/>
                      </a:lnTo>
                      <a:cubicBezTo>
                        <a:pt x="441587" y="263305"/>
                        <a:pt x="411415" y="216678"/>
                        <a:pt x="405929" y="200222"/>
                      </a:cubicBezTo>
                      <a:lnTo>
                        <a:pt x="405929" y="60341"/>
                      </a:lnTo>
                      <a:cubicBezTo>
                        <a:pt x="405929" y="46627"/>
                        <a:pt x="416901" y="35656"/>
                        <a:pt x="430615" y="35656"/>
                      </a:cubicBezTo>
                      <a:lnTo>
                        <a:pt x="693920" y="35656"/>
                      </a:lnTo>
                      <a:lnTo>
                        <a:pt x="693920" y="106968"/>
                      </a:lnTo>
                      <a:cubicBezTo>
                        <a:pt x="693920" y="139881"/>
                        <a:pt x="721348" y="164566"/>
                        <a:pt x="751519" y="164566"/>
                      </a:cubicBezTo>
                      <a:lnTo>
                        <a:pt x="822830" y="164566"/>
                      </a:lnTo>
                      <a:lnTo>
                        <a:pt x="822830" y="213936"/>
                      </a:lnTo>
                      <a:cubicBezTo>
                        <a:pt x="822830" y="222164"/>
                        <a:pt x="831058" y="230392"/>
                        <a:pt x="839288" y="230392"/>
                      </a:cubicBezTo>
                      <a:cubicBezTo>
                        <a:pt x="847516" y="230392"/>
                        <a:pt x="855744" y="222164"/>
                        <a:pt x="855744" y="213936"/>
                      </a:cubicBezTo>
                      <a:lnTo>
                        <a:pt x="855744" y="159080"/>
                      </a:lnTo>
                      <a:cubicBezTo>
                        <a:pt x="855744" y="148109"/>
                        <a:pt x="850258" y="137138"/>
                        <a:pt x="842030" y="128910"/>
                      </a:cubicBezTo>
                      <a:lnTo>
                        <a:pt x="726833" y="13714"/>
                      </a:lnTo>
                      <a:cubicBezTo>
                        <a:pt x="718605" y="5486"/>
                        <a:pt x="707634" y="0"/>
                        <a:pt x="696664" y="0"/>
                      </a:cubicBezTo>
                      <a:lnTo>
                        <a:pt x="430615" y="0"/>
                      </a:lnTo>
                      <a:cubicBezTo>
                        <a:pt x="397701" y="0"/>
                        <a:pt x="373017" y="27428"/>
                        <a:pt x="373017" y="57598"/>
                      </a:cubicBezTo>
                      <a:lnTo>
                        <a:pt x="373017" y="120682"/>
                      </a:lnTo>
                      <a:lnTo>
                        <a:pt x="329132" y="24685"/>
                      </a:lnTo>
                      <a:cubicBezTo>
                        <a:pt x="315418" y="-8228"/>
                        <a:pt x="268791" y="-8228"/>
                        <a:pt x="255077" y="24685"/>
                      </a:cubicBezTo>
                      <a:lnTo>
                        <a:pt x="200222" y="145366"/>
                      </a:lnTo>
                      <a:cubicBezTo>
                        <a:pt x="200222" y="145366"/>
                        <a:pt x="200222" y="145366"/>
                        <a:pt x="200222" y="145366"/>
                      </a:cubicBezTo>
                      <a:cubicBezTo>
                        <a:pt x="175538" y="205707"/>
                        <a:pt x="142624" y="252334"/>
                        <a:pt x="142624" y="334617"/>
                      </a:cubicBezTo>
                      <a:lnTo>
                        <a:pt x="142624" y="466270"/>
                      </a:lnTo>
                      <a:lnTo>
                        <a:pt x="57599" y="466270"/>
                      </a:lnTo>
                      <a:cubicBezTo>
                        <a:pt x="30171" y="466270"/>
                        <a:pt x="8228" y="485469"/>
                        <a:pt x="2744" y="512897"/>
                      </a:cubicBezTo>
                      <a:cubicBezTo>
                        <a:pt x="0" y="526610"/>
                        <a:pt x="0" y="540324"/>
                        <a:pt x="0" y="554038"/>
                      </a:cubicBezTo>
                      <a:cubicBezTo>
                        <a:pt x="2744" y="702147"/>
                        <a:pt x="85027" y="724089"/>
                        <a:pt x="85027" y="877684"/>
                      </a:cubicBezTo>
                      <a:lnTo>
                        <a:pt x="85027" y="1044992"/>
                      </a:lnTo>
                      <a:cubicBezTo>
                        <a:pt x="60341" y="1050478"/>
                        <a:pt x="41142" y="1075163"/>
                        <a:pt x="41142" y="1102591"/>
                      </a:cubicBezTo>
                      <a:cubicBezTo>
                        <a:pt x="41142" y="1135504"/>
                        <a:pt x="68569" y="1160189"/>
                        <a:pt x="98741" y="1160189"/>
                      </a:cubicBezTo>
                      <a:lnTo>
                        <a:pt x="693920" y="1160189"/>
                      </a:lnTo>
                      <a:cubicBezTo>
                        <a:pt x="726833" y="1160189"/>
                        <a:pt x="751519" y="1132761"/>
                        <a:pt x="751519" y="1102591"/>
                      </a:cubicBezTo>
                      <a:cubicBezTo>
                        <a:pt x="751519" y="1075163"/>
                        <a:pt x="732319" y="1053221"/>
                        <a:pt x="707634" y="1044992"/>
                      </a:cubicBezTo>
                      <a:lnTo>
                        <a:pt x="707634" y="998366"/>
                      </a:lnTo>
                      <a:cubicBezTo>
                        <a:pt x="707634" y="987394"/>
                        <a:pt x="718605" y="976423"/>
                        <a:pt x="729577" y="979166"/>
                      </a:cubicBezTo>
                      <a:lnTo>
                        <a:pt x="844772" y="987394"/>
                      </a:lnTo>
                      <a:cubicBezTo>
                        <a:pt x="894143" y="990137"/>
                        <a:pt x="935285" y="951739"/>
                        <a:pt x="935285" y="905112"/>
                      </a:cubicBezTo>
                      <a:lnTo>
                        <a:pt x="935285" y="789916"/>
                      </a:lnTo>
                      <a:cubicBezTo>
                        <a:pt x="935285" y="778945"/>
                        <a:pt x="940769" y="770716"/>
                        <a:pt x="951741" y="765231"/>
                      </a:cubicBezTo>
                      <a:lnTo>
                        <a:pt x="990140" y="751517"/>
                      </a:lnTo>
                      <a:cubicBezTo>
                        <a:pt x="1025796" y="737803"/>
                        <a:pt x="1039510" y="693919"/>
                        <a:pt x="1017568" y="661006"/>
                      </a:cubicBezTo>
                      <a:lnTo>
                        <a:pt x="1017568" y="661006"/>
                      </a:lnTo>
                      <a:close/>
                      <a:moveTo>
                        <a:pt x="798146" y="131653"/>
                      </a:moveTo>
                      <a:lnTo>
                        <a:pt x="748775" y="131653"/>
                      </a:lnTo>
                      <a:cubicBezTo>
                        <a:pt x="735061" y="131653"/>
                        <a:pt x="724091" y="120682"/>
                        <a:pt x="724091" y="106968"/>
                      </a:cubicBezTo>
                      <a:lnTo>
                        <a:pt x="724091" y="57598"/>
                      </a:lnTo>
                      <a:lnTo>
                        <a:pt x="798146" y="131653"/>
                      </a:lnTo>
                      <a:close/>
                      <a:moveTo>
                        <a:pt x="285248" y="38399"/>
                      </a:moveTo>
                      <a:cubicBezTo>
                        <a:pt x="287991" y="32913"/>
                        <a:pt x="296219" y="32913"/>
                        <a:pt x="298962" y="38399"/>
                      </a:cubicBezTo>
                      <a:lnTo>
                        <a:pt x="342846" y="137138"/>
                      </a:lnTo>
                      <a:lnTo>
                        <a:pt x="244107" y="137138"/>
                      </a:lnTo>
                      <a:lnTo>
                        <a:pt x="285248" y="38399"/>
                      </a:lnTo>
                      <a:close/>
                      <a:moveTo>
                        <a:pt x="224907" y="170051"/>
                      </a:moveTo>
                      <a:lnTo>
                        <a:pt x="353818" y="170051"/>
                      </a:lnTo>
                      <a:cubicBezTo>
                        <a:pt x="383987" y="238620"/>
                        <a:pt x="392215" y="255077"/>
                        <a:pt x="400445" y="287990"/>
                      </a:cubicBezTo>
                      <a:lnTo>
                        <a:pt x="178280" y="287990"/>
                      </a:lnTo>
                      <a:cubicBezTo>
                        <a:pt x="189252" y="246849"/>
                        <a:pt x="200222" y="227649"/>
                        <a:pt x="224907" y="170051"/>
                      </a:cubicBezTo>
                      <a:lnTo>
                        <a:pt x="224907" y="170051"/>
                      </a:lnTo>
                      <a:close/>
                      <a:moveTo>
                        <a:pt x="175538" y="337360"/>
                      </a:moveTo>
                      <a:cubicBezTo>
                        <a:pt x="175538" y="331874"/>
                        <a:pt x="175538" y="326389"/>
                        <a:pt x="175538" y="323646"/>
                      </a:cubicBezTo>
                      <a:lnTo>
                        <a:pt x="405929" y="323646"/>
                      </a:lnTo>
                      <a:cubicBezTo>
                        <a:pt x="405929" y="329131"/>
                        <a:pt x="405929" y="334617"/>
                        <a:pt x="405929" y="337360"/>
                      </a:cubicBezTo>
                      <a:lnTo>
                        <a:pt x="405929" y="469012"/>
                      </a:lnTo>
                      <a:lnTo>
                        <a:pt x="172794" y="469012"/>
                      </a:lnTo>
                      <a:lnTo>
                        <a:pt x="172794" y="337360"/>
                      </a:lnTo>
                      <a:close/>
                      <a:moveTo>
                        <a:pt x="74055" y="1105333"/>
                      </a:moveTo>
                      <a:cubicBezTo>
                        <a:pt x="74055" y="1091619"/>
                        <a:pt x="85027" y="1080648"/>
                        <a:pt x="98741" y="1080648"/>
                      </a:cubicBezTo>
                      <a:lnTo>
                        <a:pt x="145366" y="1080648"/>
                      </a:lnTo>
                      <a:cubicBezTo>
                        <a:pt x="153596" y="1080648"/>
                        <a:pt x="161824" y="1072420"/>
                        <a:pt x="161824" y="1064192"/>
                      </a:cubicBezTo>
                      <a:cubicBezTo>
                        <a:pt x="161824" y="1055964"/>
                        <a:pt x="153596" y="1047735"/>
                        <a:pt x="145366" y="1047735"/>
                      </a:cubicBezTo>
                      <a:lnTo>
                        <a:pt x="117939" y="1047735"/>
                      </a:lnTo>
                      <a:lnTo>
                        <a:pt x="117939" y="883170"/>
                      </a:lnTo>
                      <a:cubicBezTo>
                        <a:pt x="117939" y="718604"/>
                        <a:pt x="32914" y="696662"/>
                        <a:pt x="32914" y="559524"/>
                      </a:cubicBezTo>
                      <a:cubicBezTo>
                        <a:pt x="32914" y="545810"/>
                        <a:pt x="32914" y="534839"/>
                        <a:pt x="35656" y="523868"/>
                      </a:cubicBezTo>
                      <a:cubicBezTo>
                        <a:pt x="35656" y="512897"/>
                        <a:pt x="46627" y="507411"/>
                        <a:pt x="54855" y="507411"/>
                      </a:cubicBezTo>
                      <a:lnTo>
                        <a:pt x="611637" y="507411"/>
                      </a:lnTo>
                      <a:cubicBezTo>
                        <a:pt x="611637" y="512897"/>
                        <a:pt x="614381" y="518382"/>
                        <a:pt x="614381" y="526610"/>
                      </a:cubicBezTo>
                      <a:cubicBezTo>
                        <a:pt x="622609" y="592437"/>
                        <a:pt x="661008" y="622607"/>
                        <a:pt x="704892" y="688433"/>
                      </a:cubicBezTo>
                      <a:cubicBezTo>
                        <a:pt x="715863" y="702147"/>
                        <a:pt x="707634" y="721347"/>
                        <a:pt x="693920" y="726832"/>
                      </a:cubicBezTo>
                      <a:lnTo>
                        <a:pt x="655522" y="740546"/>
                      </a:lnTo>
                      <a:cubicBezTo>
                        <a:pt x="633580" y="748774"/>
                        <a:pt x="617123" y="770716"/>
                        <a:pt x="617123" y="795401"/>
                      </a:cubicBezTo>
                      <a:lnTo>
                        <a:pt x="617123" y="910597"/>
                      </a:lnTo>
                      <a:cubicBezTo>
                        <a:pt x="617123" y="940768"/>
                        <a:pt x="592439" y="962710"/>
                        <a:pt x="562267" y="959967"/>
                      </a:cubicBezTo>
                      <a:lnTo>
                        <a:pt x="447071" y="951739"/>
                      </a:lnTo>
                      <a:cubicBezTo>
                        <a:pt x="414159" y="948996"/>
                        <a:pt x="389473" y="973681"/>
                        <a:pt x="389473" y="1006594"/>
                      </a:cubicBezTo>
                      <a:lnTo>
                        <a:pt x="389473" y="1050478"/>
                      </a:lnTo>
                      <a:lnTo>
                        <a:pt x="224907" y="1050478"/>
                      </a:lnTo>
                      <a:cubicBezTo>
                        <a:pt x="216679" y="1050478"/>
                        <a:pt x="208451" y="1058706"/>
                        <a:pt x="208451" y="1066935"/>
                      </a:cubicBezTo>
                      <a:cubicBezTo>
                        <a:pt x="208451" y="1075163"/>
                        <a:pt x="216679" y="1083391"/>
                        <a:pt x="224907" y="1083391"/>
                      </a:cubicBezTo>
                      <a:lnTo>
                        <a:pt x="408673" y="1083391"/>
                      </a:lnTo>
                      <a:cubicBezTo>
                        <a:pt x="422387" y="1083391"/>
                        <a:pt x="433357" y="1094362"/>
                        <a:pt x="433357" y="1108076"/>
                      </a:cubicBezTo>
                      <a:cubicBezTo>
                        <a:pt x="433357" y="1121790"/>
                        <a:pt x="422387" y="1132761"/>
                        <a:pt x="408673" y="1132761"/>
                      </a:cubicBezTo>
                      <a:lnTo>
                        <a:pt x="98741" y="1132761"/>
                      </a:lnTo>
                      <a:cubicBezTo>
                        <a:pt x="85027" y="1130018"/>
                        <a:pt x="74055" y="1119047"/>
                        <a:pt x="74055" y="1105333"/>
                      </a:cubicBezTo>
                      <a:lnTo>
                        <a:pt x="74055" y="1105333"/>
                      </a:lnTo>
                      <a:close/>
                      <a:moveTo>
                        <a:pt x="718605" y="1105333"/>
                      </a:moveTo>
                      <a:cubicBezTo>
                        <a:pt x="718605" y="1119047"/>
                        <a:pt x="707634" y="1130018"/>
                        <a:pt x="693920" y="1130018"/>
                      </a:cubicBezTo>
                      <a:lnTo>
                        <a:pt x="460785" y="1130018"/>
                      </a:lnTo>
                      <a:cubicBezTo>
                        <a:pt x="463528" y="1121790"/>
                        <a:pt x="466270" y="1113561"/>
                        <a:pt x="466270" y="1105333"/>
                      </a:cubicBezTo>
                      <a:cubicBezTo>
                        <a:pt x="466270" y="1097105"/>
                        <a:pt x="463528" y="1088877"/>
                        <a:pt x="460785" y="1080648"/>
                      </a:cubicBezTo>
                      <a:lnTo>
                        <a:pt x="693920" y="1080648"/>
                      </a:lnTo>
                      <a:cubicBezTo>
                        <a:pt x="707634" y="1077906"/>
                        <a:pt x="718605" y="1091619"/>
                        <a:pt x="718605" y="1105333"/>
                      </a:cubicBezTo>
                      <a:lnTo>
                        <a:pt x="718605" y="1105333"/>
                      </a:lnTo>
                      <a:close/>
                      <a:moveTo>
                        <a:pt x="976426" y="721347"/>
                      </a:moveTo>
                      <a:lnTo>
                        <a:pt x="938027" y="735060"/>
                      </a:lnTo>
                      <a:cubicBezTo>
                        <a:pt x="916085" y="743289"/>
                        <a:pt x="899627" y="765231"/>
                        <a:pt x="899627" y="789916"/>
                      </a:cubicBezTo>
                      <a:lnTo>
                        <a:pt x="899627" y="905112"/>
                      </a:lnTo>
                      <a:cubicBezTo>
                        <a:pt x="899627" y="935282"/>
                        <a:pt x="874943" y="957224"/>
                        <a:pt x="844772" y="954481"/>
                      </a:cubicBezTo>
                      <a:lnTo>
                        <a:pt x="729577" y="946253"/>
                      </a:lnTo>
                      <a:cubicBezTo>
                        <a:pt x="696664" y="943510"/>
                        <a:pt x="671978" y="968195"/>
                        <a:pt x="671978" y="1001108"/>
                      </a:cubicBezTo>
                      <a:lnTo>
                        <a:pt x="671978" y="1044992"/>
                      </a:lnTo>
                      <a:lnTo>
                        <a:pt x="419643" y="1044992"/>
                      </a:lnTo>
                      <a:lnTo>
                        <a:pt x="419643" y="1001108"/>
                      </a:lnTo>
                      <a:cubicBezTo>
                        <a:pt x="419643" y="990137"/>
                        <a:pt x="430615" y="979166"/>
                        <a:pt x="441587" y="981909"/>
                      </a:cubicBezTo>
                      <a:lnTo>
                        <a:pt x="556781" y="990137"/>
                      </a:lnTo>
                      <a:cubicBezTo>
                        <a:pt x="606153" y="992880"/>
                        <a:pt x="647294" y="954481"/>
                        <a:pt x="647294" y="907854"/>
                      </a:cubicBezTo>
                      <a:lnTo>
                        <a:pt x="647294" y="792658"/>
                      </a:lnTo>
                      <a:cubicBezTo>
                        <a:pt x="647294" y="781687"/>
                        <a:pt x="652778" y="773459"/>
                        <a:pt x="663750" y="767973"/>
                      </a:cubicBezTo>
                      <a:lnTo>
                        <a:pt x="702149" y="754260"/>
                      </a:lnTo>
                      <a:cubicBezTo>
                        <a:pt x="737805" y="740546"/>
                        <a:pt x="751519" y="696662"/>
                        <a:pt x="729577" y="663749"/>
                      </a:cubicBezTo>
                      <a:cubicBezTo>
                        <a:pt x="685692" y="595180"/>
                        <a:pt x="652778" y="570495"/>
                        <a:pt x="647294" y="518382"/>
                      </a:cubicBezTo>
                      <a:cubicBezTo>
                        <a:pt x="647294" y="512897"/>
                        <a:pt x="647294" y="510154"/>
                        <a:pt x="644550" y="504668"/>
                      </a:cubicBezTo>
                      <a:lnTo>
                        <a:pt x="877686" y="504668"/>
                      </a:lnTo>
                      <a:cubicBezTo>
                        <a:pt x="888657" y="504668"/>
                        <a:pt x="896885" y="512897"/>
                        <a:pt x="896885" y="521125"/>
                      </a:cubicBezTo>
                      <a:lnTo>
                        <a:pt x="896885" y="521125"/>
                      </a:lnTo>
                      <a:cubicBezTo>
                        <a:pt x="905113" y="586951"/>
                        <a:pt x="943513" y="617122"/>
                        <a:pt x="987396" y="682948"/>
                      </a:cubicBezTo>
                      <a:cubicBezTo>
                        <a:pt x="998368" y="693919"/>
                        <a:pt x="992882" y="713118"/>
                        <a:pt x="976426" y="721347"/>
                      </a:cubicBezTo>
                      <a:lnTo>
                        <a:pt x="976426" y="721347"/>
                      </a:lnTo>
                      <a:close/>
                    </a:path>
                  </a:pathLst>
                </a:custGeom>
                <a:grpFill/>
                <a:ln w="27426" cap="flat">
                  <a:noFill/>
                  <a:prstDash val="solid"/>
                  <a:miter/>
                </a:ln>
              </p:spPr>
              <p:txBody>
                <a:bodyPr rtlCol="0" anchor="ctr"/>
                <a:lstStyle/>
                <a:p>
                  <a:pPr algn="l" rtl="0"/>
                  <a:endParaRPr lang="en-US"/>
                </a:p>
              </p:txBody>
            </p:sp>
          </p:grpSp>
        </p:grpSp>
      </p:grpSp>
      <p:grpSp>
        <p:nvGrpSpPr>
          <p:cNvPr id="16" name="Graphic 3">
            <a:extLst>
              <a:ext uri="{FF2B5EF4-FFF2-40B4-BE49-F238E27FC236}">
                <a16:creationId xmlns:a16="http://schemas.microsoft.com/office/drawing/2014/main" id="{D37078E2-2DDA-D218-87C2-79BDB0F44009}"/>
              </a:ext>
            </a:extLst>
          </p:cNvPr>
          <p:cNvGrpSpPr/>
          <p:nvPr/>
        </p:nvGrpSpPr>
        <p:grpSpPr>
          <a:xfrm>
            <a:off x="6529011" y="3096611"/>
            <a:ext cx="690566" cy="763372"/>
            <a:chOff x="2811409" y="3683011"/>
            <a:chExt cx="858485" cy="948995"/>
          </a:xfrm>
          <a:solidFill>
            <a:srgbClr val="616161"/>
          </a:solidFill>
        </p:grpSpPr>
        <p:sp>
          <p:nvSpPr>
            <p:cNvPr id="17" name="Freeform 16">
              <a:extLst>
                <a:ext uri="{FF2B5EF4-FFF2-40B4-BE49-F238E27FC236}">
                  <a16:creationId xmlns:a16="http://schemas.microsoft.com/office/drawing/2014/main" id="{57F18CE4-30E3-C825-AE5A-7189EBE2A4C3}"/>
                </a:ext>
              </a:extLst>
            </p:cNvPr>
            <p:cNvSpPr/>
            <p:nvPr/>
          </p:nvSpPr>
          <p:spPr>
            <a:xfrm>
              <a:off x="3071972" y="3702210"/>
              <a:ext cx="340103" cy="441584"/>
            </a:xfrm>
            <a:custGeom>
              <a:avLst/>
              <a:gdLst>
                <a:gd name="connsiteX0" fmla="*/ 0 w 340103"/>
                <a:gd name="connsiteY0" fmla="*/ 153594 h 441584"/>
                <a:gd name="connsiteX1" fmla="*/ 54855 w 340103"/>
                <a:gd name="connsiteY1" fmla="*/ 43884 h 441584"/>
                <a:gd name="connsiteX2" fmla="*/ 170052 w 340103"/>
                <a:gd name="connsiteY2" fmla="*/ 0 h 441584"/>
                <a:gd name="connsiteX3" fmla="*/ 340104 w 340103"/>
                <a:gd name="connsiteY3" fmla="*/ 170051 h 441584"/>
                <a:gd name="connsiteX4" fmla="*/ 309932 w 340103"/>
                <a:gd name="connsiteY4" fmla="*/ 268791 h 441584"/>
                <a:gd name="connsiteX5" fmla="*/ 309932 w 340103"/>
                <a:gd name="connsiteY5" fmla="*/ 268791 h 441584"/>
                <a:gd name="connsiteX6" fmla="*/ 222163 w 340103"/>
                <a:gd name="connsiteY6" fmla="*/ 408671 h 441584"/>
                <a:gd name="connsiteX7" fmla="*/ 219421 w 340103"/>
                <a:gd name="connsiteY7" fmla="*/ 416900 h 441584"/>
                <a:gd name="connsiteX8" fmla="*/ 219421 w 340103"/>
                <a:gd name="connsiteY8" fmla="*/ 436099 h 441584"/>
                <a:gd name="connsiteX9" fmla="*/ 213936 w 340103"/>
                <a:gd name="connsiteY9" fmla="*/ 441584 h 441584"/>
                <a:gd name="connsiteX10" fmla="*/ 213936 w 340103"/>
                <a:gd name="connsiteY10" fmla="*/ 441584 h 441584"/>
                <a:gd name="connsiteX11" fmla="*/ 222163 w 340103"/>
                <a:gd name="connsiteY11" fmla="*/ 290733 h 441584"/>
                <a:gd name="connsiteX12" fmla="*/ 238621 w 340103"/>
                <a:gd name="connsiteY12" fmla="*/ 290733 h 441584"/>
                <a:gd name="connsiteX13" fmla="*/ 279763 w 340103"/>
                <a:gd name="connsiteY13" fmla="*/ 249591 h 441584"/>
                <a:gd name="connsiteX14" fmla="*/ 279763 w 340103"/>
                <a:gd name="connsiteY14" fmla="*/ 246849 h 441584"/>
                <a:gd name="connsiteX15" fmla="*/ 238621 w 340103"/>
                <a:gd name="connsiteY15" fmla="*/ 205707 h 441584"/>
                <a:gd name="connsiteX16" fmla="*/ 197480 w 340103"/>
                <a:gd name="connsiteY16" fmla="*/ 244106 h 441584"/>
                <a:gd name="connsiteX17" fmla="*/ 197480 w 340103"/>
                <a:gd name="connsiteY17" fmla="*/ 260562 h 441584"/>
                <a:gd name="connsiteX18" fmla="*/ 148110 w 340103"/>
                <a:gd name="connsiteY18" fmla="*/ 260562 h 441584"/>
                <a:gd name="connsiteX19" fmla="*/ 148110 w 340103"/>
                <a:gd name="connsiteY19" fmla="*/ 244106 h 441584"/>
                <a:gd name="connsiteX20" fmla="*/ 106969 w 340103"/>
                <a:gd name="connsiteY20" fmla="*/ 205707 h 441584"/>
                <a:gd name="connsiteX21" fmla="*/ 65827 w 340103"/>
                <a:gd name="connsiteY21" fmla="*/ 246849 h 441584"/>
                <a:gd name="connsiteX22" fmla="*/ 65827 w 340103"/>
                <a:gd name="connsiteY22" fmla="*/ 249591 h 441584"/>
                <a:gd name="connsiteX23" fmla="*/ 106969 w 340103"/>
                <a:gd name="connsiteY23" fmla="*/ 290733 h 441584"/>
                <a:gd name="connsiteX24" fmla="*/ 123425 w 340103"/>
                <a:gd name="connsiteY24" fmla="*/ 290733 h 441584"/>
                <a:gd name="connsiteX25" fmla="*/ 131653 w 340103"/>
                <a:gd name="connsiteY25" fmla="*/ 441584 h 441584"/>
                <a:gd name="connsiteX26" fmla="*/ 126167 w 340103"/>
                <a:gd name="connsiteY26" fmla="*/ 436099 h 441584"/>
                <a:gd name="connsiteX27" fmla="*/ 126167 w 340103"/>
                <a:gd name="connsiteY27" fmla="*/ 416900 h 441584"/>
                <a:gd name="connsiteX28" fmla="*/ 123425 w 340103"/>
                <a:gd name="connsiteY28" fmla="*/ 408671 h 441584"/>
                <a:gd name="connsiteX29" fmla="*/ 35656 w 340103"/>
                <a:gd name="connsiteY29" fmla="*/ 268791 h 441584"/>
                <a:gd name="connsiteX30" fmla="*/ 35656 w 340103"/>
                <a:gd name="connsiteY30" fmla="*/ 268791 h 441584"/>
                <a:gd name="connsiteX31" fmla="*/ 8228 w 340103"/>
                <a:gd name="connsiteY31" fmla="*/ 208450 h 4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0103" h="441584">
                  <a:moveTo>
                    <a:pt x="0" y="153594"/>
                  </a:moveTo>
                  <a:cubicBezTo>
                    <a:pt x="2742" y="112453"/>
                    <a:pt x="24686" y="71312"/>
                    <a:pt x="54855" y="43884"/>
                  </a:cubicBezTo>
                  <a:cubicBezTo>
                    <a:pt x="87769" y="13714"/>
                    <a:pt x="126167" y="0"/>
                    <a:pt x="170052" y="0"/>
                  </a:cubicBezTo>
                  <a:cubicBezTo>
                    <a:pt x="263305" y="0"/>
                    <a:pt x="340104" y="76797"/>
                    <a:pt x="340104" y="170051"/>
                  </a:cubicBezTo>
                  <a:cubicBezTo>
                    <a:pt x="340104" y="205707"/>
                    <a:pt x="329132" y="238620"/>
                    <a:pt x="309932" y="268791"/>
                  </a:cubicBezTo>
                  <a:cubicBezTo>
                    <a:pt x="309932" y="268791"/>
                    <a:pt x="309932" y="268791"/>
                    <a:pt x="309932" y="268791"/>
                  </a:cubicBezTo>
                  <a:lnTo>
                    <a:pt x="222163" y="408671"/>
                  </a:lnTo>
                  <a:cubicBezTo>
                    <a:pt x="219421" y="411414"/>
                    <a:pt x="219421" y="414157"/>
                    <a:pt x="219421" y="416900"/>
                  </a:cubicBezTo>
                  <a:lnTo>
                    <a:pt x="219421" y="436099"/>
                  </a:lnTo>
                  <a:cubicBezTo>
                    <a:pt x="219421" y="438842"/>
                    <a:pt x="216679" y="441584"/>
                    <a:pt x="213936" y="441584"/>
                  </a:cubicBezTo>
                  <a:lnTo>
                    <a:pt x="213936" y="441584"/>
                  </a:lnTo>
                  <a:lnTo>
                    <a:pt x="222163" y="290733"/>
                  </a:lnTo>
                  <a:lnTo>
                    <a:pt x="238621" y="290733"/>
                  </a:lnTo>
                  <a:cubicBezTo>
                    <a:pt x="260563" y="290733"/>
                    <a:pt x="279763" y="271533"/>
                    <a:pt x="279763" y="249591"/>
                  </a:cubicBezTo>
                  <a:lnTo>
                    <a:pt x="279763" y="246849"/>
                  </a:lnTo>
                  <a:cubicBezTo>
                    <a:pt x="279763" y="224906"/>
                    <a:pt x="260563" y="205707"/>
                    <a:pt x="238621" y="205707"/>
                  </a:cubicBezTo>
                  <a:cubicBezTo>
                    <a:pt x="216679" y="205707"/>
                    <a:pt x="197480" y="222163"/>
                    <a:pt x="197480" y="244106"/>
                  </a:cubicBezTo>
                  <a:lnTo>
                    <a:pt x="197480" y="260562"/>
                  </a:lnTo>
                  <a:lnTo>
                    <a:pt x="148110" y="260562"/>
                  </a:lnTo>
                  <a:lnTo>
                    <a:pt x="148110" y="244106"/>
                  </a:lnTo>
                  <a:cubicBezTo>
                    <a:pt x="148110" y="222163"/>
                    <a:pt x="128910" y="205707"/>
                    <a:pt x="106969" y="205707"/>
                  </a:cubicBezTo>
                  <a:cubicBezTo>
                    <a:pt x="85025" y="205707"/>
                    <a:pt x="65827" y="224906"/>
                    <a:pt x="65827" y="246849"/>
                  </a:cubicBezTo>
                  <a:lnTo>
                    <a:pt x="65827" y="249591"/>
                  </a:lnTo>
                  <a:cubicBezTo>
                    <a:pt x="65827" y="271533"/>
                    <a:pt x="85025" y="290733"/>
                    <a:pt x="106969" y="290733"/>
                  </a:cubicBezTo>
                  <a:lnTo>
                    <a:pt x="123425" y="290733"/>
                  </a:lnTo>
                  <a:lnTo>
                    <a:pt x="131653" y="441584"/>
                  </a:lnTo>
                  <a:cubicBezTo>
                    <a:pt x="128910" y="441584"/>
                    <a:pt x="126167" y="438842"/>
                    <a:pt x="126167" y="436099"/>
                  </a:cubicBezTo>
                  <a:lnTo>
                    <a:pt x="126167" y="416900"/>
                  </a:lnTo>
                  <a:cubicBezTo>
                    <a:pt x="126167" y="414157"/>
                    <a:pt x="126167" y="411414"/>
                    <a:pt x="123425" y="408671"/>
                  </a:cubicBezTo>
                  <a:lnTo>
                    <a:pt x="35656" y="268791"/>
                  </a:lnTo>
                  <a:cubicBezTo>
                    <a:pt x="35656" y="268791"/>
                    <a:pt x="35656" y="268791"/>
                    <a:pt x="35656" y="268791"/>
                  </a:cubicBezTo>
                  <a:cubicBezTo>
                    <a:pt x="21942" y="249591"/>
                    <a:pt x="13714" y="230392"/>
                    <a:pt x="8228" y="208450"/>
                  </a:cubicBezTo>
                </a:path>
              </a:pathLst>
            </a:custGeom>
            <a:solidFill>
              <a:srgbClr val="F16924"/>
            </a:solidFill>
            <a:ln w="27426" cap="flat">
              <a:noFill/>
              <a:prstDash val="solid"/>
              <a:miter/>
            </a:ln>
          </p:spPr>
          <p:txBody>
            <a:bodyPr rtlCol="0" anchor="ctr"/>
            <a:lstStyle/>
            <a:p>
              <a:pPr algn="l" rtl="0"/>
              <a:endParaRPr lang="en-US"/>
            </a:p>
          </p:txBody>
        </p:sp>
        <p:grpSp>
          <p:nvGrpSpPr>
            <p:cNvPr id="18" name="Graphic 3">
              <a:extLst>
                <a:ext uri="{FF2B5EF4-FFF2-40B4-BE49-F238E27FC236}">
                  <a16:creationId xmlns:a16="http://schemas.microsoft.com/office/drawing/2014/main" id="{F68FDB0B-A3B7-36B0-1BB3-4AB99244C5E8}"/>
                </a:ext>
              </a:extLst>
            </p:cNvPr>
            <p:cNvGrpSpPr/>
            <p:nvPr/>
          </p:nvGrpSpPr>
          <p:grpSpPr>
            <a:xfrm>
              <a:off x="2811409" y="3683011"/>
              <a:ext cx="858485" cy="948995"/>
              <a:chOff x="2811409" y="3683011"/>
              <a:chExt cx="858485" cy="948995"/>
            </a:xfrm>
            <a:grpFill/>
          </p:grpSpPr>
          <p:sp>
            <p:nvSpPr>
              <p:cNvPr id="19" name="Freeform 18">
                <a:extLst>
                  <a:ext uri="{FF2B5EF4-FFF2-40B4-BE49-F238E27FC236}">
                    <a16:creationId xmlns:a16="http://schemas.microsoft.com/office/drawing/2014/main" id="{E38649C4-46C4-8FAF-FA8E-1A3BDE7E6FA4}"/>
                  </a:ext>
                </a:extLst>
              </p:cNvPr>
              <p:cNvSpPr/>
              <p:nvPr/>
            </p:nvSpPr>
            <p:spPr>
              <a:xfrm>
                <a:off x="2811409" y="3998429"/>
                <a:ext cx="858485" cy="633577"/>
              </a:xfrm>
              <a:custGeom>
                <a:avLst/>
                <a:gdLst>
                  <a:gd name="connsiteX0" fmla="*/ 828316 w 858485"/>
                  <a:gd name="connsiteY0" fmla="*/ 35656 h 633577"/>
                  <a:gd name="connsiteX1" fmla="*/ 770717 w 858485"/>
                  <a:gd name="connsiteY1" fmla="*/ 35656 h 633577"/>
                  <a:gd name="connsiteX2" fmla="*/ 770717 w 858485"/>
                  <a:gd name="connsiteY2" fmla="*/ 30170 h 633577"/>
                  <a:gd name="connsiteX3" fmla="*/ 743289 w 858485"/>
                  <a:gd name="connsiteY3" fmla="*/ 2743 h 633577"/>
                  <a:gd name="connsiteX4" fmla="*/ 630837 w 858485"/>
                  <a:gd name="connsiteY4" fmla="*/ 2743 h 633577"/>
                  <a:gd name="connsiteX5" fmla="*/ 617123 w 858485"/>
                  <a:gd name="connsiteY5" fmla="*/ 16456 h 633577"/>
                  <a:gd name="connsiteX6" fmla="*/ 630837 w 858485"/>
                  <a:gd name="connsiteY6" fmla="*/ 30170 h 633577"/>
                  <a:gd name="connsiteX7" fmla="*/ 743289 w 858485"/>
                  <a:gd name="connsiteY7" fmla="*/ 30170 h 633577"/>
                  <a:gd name="connsiteX8" fmla="*/ 743289 w 858485"/>
                  <a:gd name="connsiteY8" fmla="*/ 30170 h 633577"/>
                  <a:gd name="connsiteX9" fmla="*/ 743289 w 858485"/>
                  <a:gd name="connsiteY9" fmla="*/ 200221 h 633577"/>
                  <a:gd name="connsiteX10" fmla="*/ 757003 w 858485"/>
                  <a:gd name="connsiteY10" fmla="*/ 213935 h 633577"/>
                  <a:gd name="connsiteX11" fmla="*/ 770717 w 858485"/>
                  <a:gd name="connsiteY11" fmla="*/ 200221 h 633577"/>
                  <a:gd name="connsiteX12" fmla="*/ 770717 w 858485"/>
                  <a:gd name="connsiteY12" fmla="*/ 65826 h 633577"/>
                  <a:gd name="connsiteX13" fmla="*/ 828316 w 858485"/>
                  <a:gd name="connsiteY13" fmla="*/ 65826 h 633577"/>
                  <a:gd name="connsiteX14" fmla="*/ 831058 w 858485"/>
                  <a:gd name="connsiteY14" fmla="*/ 68569 h 633577"/>
                  <a:gd name="connsiteX15" fmla="*/ 831058 w 858485"/>
                  <a:gd name="connsiteY15" fmla="*/ 554038 h 633577"/>
                  <a:gd name="connsiteX16" fmla="*/ 773461 w 858485"/>
                  <a:gd name="connsiteY16" fmla="*/ 611636 h 633577"/>
                  <a:gd name="connsiteX17" fmla="*/ 85025 w 858485"/>
                  <a:gd name="connsiteY17" fmla="*/ 611636 h 633577"/>
                  <a:gd name="connsiteX18" fmla="*/ 27428 w 858485"/>
                  <a:gd name="connsiteY18" fmla="*/ 554038 h 633577"/>
                  <a:gd name="connsiteX19" fmla="*/ 27428 w 858485"/>
                  <a:gd name="connsiteY19" fmla="*/ 65826 h 633577"/>
                  <a:gd name="connsiteX20" fmla="*/ 30170 w 858485"/>
                  <a:gd name="connsiteY20" fmla="*/ 63083 h 633577"/>
                  <a:gd name="connsiteX21" fmla="*/ 87769 w 858485"/>
                  <a:gd name="connsiteY21" fmla="*/ 63083 h 633577"/>
                  <a:gd name="connsiteX22" fmla="*/ 87769 w 858485"/>
                  <a:gd name="connsiteY22" fmla="*/ 540324 h 633577"/>
                  <a:gd name="connsiteX23" fmla="*/ 123425 w 858485"/>
                  <a:gd name="connsiteY23" fmla="*/ 575980 h 633577"/>
                  <a:gd name="connsiteX24" fmla="*/ 735061 w 858485"/>
                  <a:gd name="connsiteY24" fmla="*/ 575980 h 633577"/>
                  <a:gd name="connsiteX25" fmla="*/ 770717 w 858485"/>
                  <a:gd name="connsiteY25" fmla="*/ 540324 h 633577"/>
                  <a:gd name="connsiteX26" fmla="*/ 770717 w 858485"/>
                  <a:gd name="connsiteY26" fmla="*/ 257819 h 633577"/>
                  <a:gd name="connsiteX27" fmla="*/ 757003 w 858485"/>
                  <a:gd name="connsiteY27" fmla="*/ 244106 h 633577"/>
                  <a:gd name="connsiteX28" fmla="*/ 743289 w 858485"/>
                  <a:gd name="connsiteY28" fmla="*/ 257819 h 633577"/>
                  <a:gd name="connsiteX29" fmla="*/ 743289 w 858485"/>
                  <a:gd name="connsiteY29" fmla="*/ 458041 h 633577"/>
                  <a:gd name="connsiteX30" fmla="*/ 518384 w 858485"/>
                  <a:gd name="connsiteY30" fmla="*/ 458041 h 633577"/>
                  <a:gd name="connsiteX31" fmla="*/ 444329 w 858485"/>
                  <a:gd name="connsiteY31" fmla="*/ 490954 h 633577"/>
                  <a:gd name="connsiteX32" fmla="*/ 444329 w 858485"/>
                  <a:gd name="connsiteY32" fmla="*/ 309932 h 633577"/>
                  <a:gd name="connsiteX33" fmla="*/ 430615 w 858485"/>
                  <a:gd name="connsiteY33" fmla="*/ 296218 h 633577"/>
                  <a:gd name="connsiteX34" fmla="*/ 416901 w 858485"/>
                  <a:gd name="connsiteY34" fmla="*/ 309932 h 633577"/>
                  <a:gd name="connsiteX35" fmla="*/ 416901 w 858485"/>
                  <a:gd name="connsiteY35" fmla="*/ 490954 h 633577"/>
                  <a:gd name="connsiteX36" fmla="*/ 342846 w 858485"/>
                  <a:gd name="connsiteY36" fmla="*/ 458041 h 633577"/>
                  <a:gd name="connsiteX37" fmla="*/ 279763 w 858485"/>
                  <a:gd name="connsiteY37" fmla="*/ 458041 h 633577"/>
                  <a:gd name="connsiteX38" fmla="*/ 266049 w 858485"/>
                  <a:gd name="connsiteY38" fmla="*/ 471755 h 633577"/>
                  <a:gd name="connsiteX39" fmla="*/ 279763 w 858485"/>
                  <a:gd name="connsiteY39" fmla="*/ 485469 h 633577"/>
                  <a:gd name="connsiteX40" fmla="*/ 342846 w 858485"/>
                  <a:gd name="connsiteY40" fmla="*/ 485469 h 633577"/>
                  <a:gd name="connsiteX41" fmla="*/ 416901 w 858485"/>
                  <a:gd name="connsiteY41" fmla="*/ 545810 h 633577"/>
                  <a:gd name="connsiteX42" fmla="*/ 123425 w 858485"/>
                  <a:gd name="connsiteY42" fmla="*/ 545810 h 633577"/>
                  <a:gd name="connsiteX43" fmla="*/ 115197 w 858485"/>
                  <a:gd name="connsiteY43" fmla="*/ 537581 h 633577"/>
                  <a:gd name="connsiteX44" fmla="*/ 115197 w 858485"/>
                  <a:gd name="connsiteY44" fmla="*/ 485469 h 633577"/>
                  <a:gd name="connsiteX45" fmla="*/ 216679 w 858485"/>
                  <a:gd name="connsiteY45" fmla="*/ 485469 h 633577"/>
                  <a:gd name="connsiteX46" fmla="*/ 230393 w 858485"/>
                  <a:gd name="connsiteY46" fmla="*/ 471755 h 633577"/>
                  <a:gd name="connsiteX47" fmla="*/ 216679 w 858485"/>
                  <a:gd name="connsiteY47" fmla="*/ 458041 h 633577"/>
                  <a:gd name="connsiteX48" fmla="*/ 115197 w 858485"/>
                  <a:gd name="connsiteY48" fmla="*/ 458041 h 633577"/>
                  <a:gd name="connsiteX49" fmla="*/ 115197 w 858485"/>
                  <a:gd name="connsiteY49" fmla="*/ 27428 h 633577"/>
                  <a:gd name="connsiteX50" fmla="*/ 115197 w 858485"/>
                  <a:gd name="connsiteY50" fmla="*/ 27428 h 633577"/>
                  <a:gd name="connsiteX51" fmla="*/ 227649 w 858485"/>
                  <a:gd name="connsiteY51" fmla="*/ 27428 h 633577"/>
                  <a:gd name="connsiteX52" fmla="*/ 241363 w 858485"/>
                  <a:gd name="connsiteY52" fmla="*/ 13714 h 633577"/>
                  <a:gd name="connsiteX53" fmla="*/ 227649 w 858485"/>
                  <a:gd name="connsiteY53" fmla="*/ 0 h 633577"/>
                  <a:gd name="connsiteX54" fmla="*/ 115197 w 858485"/>
                  <a:gd name="connsiteY54" fmla="*/ 0 h 633577"/>
                  <a:gd name="connsiteX55" fmla="*/ 87769 w 858485"/>
                  <a:gd name="connsiteY55" fmla="*/ 27428 h 633577"/>
                  <a:gd name="connsiteX56" fmla="*/ 87769 w 858485"/>
                  <a:gd name="connsiteY56" fmla="*/ 32913 h 633577"/>
                  <a:gd name="connsiteX57" fmla="*/ 30170 w 858485"/>
                  <a:gd name="connsiteY57" fmla="*/ 32913 h 633577"/>
                  <a:gd name="connsiteX58" fmla="*/ 0 w 858485"/>
                  <a:gd name="connsiteY58" fmla="*/ 63083 h 633577"/>
                  <a:gd name="connsiteX59" fmla="*/ 0 w 858485"/>
                  <a:gd name="connsiteY59" fmla="*/ 548552 h 633577"/>
                  <a:gd name="connsiteX60" fmla="*/ 85025 w 858485"/>
                  <a:gd name="connsiteY60" fmla="*/ 633578 h 633577"/>
                  <a:gd name="connsiteX61" fmla="*/ 773461 w 858485"/>
                  <a:gd name="connsiteY61" fmla="*/ 633578 h 633577"/>
                  <a:gd name="connsiteX62" fmla="*/ 858486 w 858485"/>
                  <a:gd name="connsiteY62" fmla="*/ 548552 h 633577"/>
                  <a:gd name="connsiteX63" fmla="*/ 858486 w 858485"/>
                  <a:gd name="connsiteY63" fmla="*/ 65826 h 633577"/>
                  <a:gd name="connsiteX64" fmla="*/ 828316 w 858485"/>
                  <a:gd name="connsiteY64" fmla="*/ 35656 h 633577"/>
                  <a:gd name="connsiteX65" fmla="*/ 828316 w 858485"/>
                  <a:gd name="connsiteY65" fmla="*/ 35656 h 633577"/>
                  <a:gd name="connsiteX66" fmla="*/ 518384 w 858485"/>
                  <a:gd name="connsiteY66" fmla="*/ 485469 h 633577"/>
                  <a:gd name="connsiteX67" fmla="*/ 743289 w 858485"/>
                  <a:gd name="connsiteY67" fmla="*/ 485469 h 633577"/>
                  <a:gd name="connsiteX68" fmla="*/ 743289 w 858485"/>
                  <a:gd name="connsiteY68" fmla="*/ 537581 h 633577"/>
                  <a:gd name="connsiteX69" fmla="*/ 735061 w 858485"/>
                  <a:gd name="connsiteY69" fmla="*/ 545810 h 633577"/>
                  <a:gd name="connsiteX70" fmla="*/ 444329 w 858485"/>
                  <a:gd name="connsiteY70" fmla="*/ 545810 h 633577"/>
                  <a:gd name="connsiteX71" fmla="*/ 518384 w 858485"/>
                  <a:gd name="connsiteY71" fmla="*/ 485469 h 633577"/>
                  <a:gd name="connsiteX72" fmla="*/ 518384 w 858485"/>
                  <a:gd name="connsiteY72" fmla="*/ 485469 h 633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58485" h="633577">
                    <a:moveTo>
                      <a:pt x="828316" y="35656"/>
                    </a:moveTo>
                    <a:lnTo>
                      <a:pt x="770717" y="35656"/>
                    </a:lnTo>
                    <a:lnTo>
                      <a:pt x="770717" y="30170"/>
                    </a:lnTo>
                    <a:cubicBezTo>
                      <a:pt x="770717" y="13714"/>
                      <a:pt x="757003" y="2743"/>
                      <a:pt x="743289" y="2743"/>
                    </a:cubicBezTo>
                    <a:lnTo>
                      <a:pt x="630837" y="2743"/>
                    </a:lnTo>
                    <a:cubicBezTo>
                      <a:pt x="622609" y="2743"/>
                      <a:pt x="617123" y="8228"/>
                      <a:pt x="617123" y="16456"/>
                    </a:cubicBezTo>
                    <a:cubicBezTo>
                      <a:pt x="617123" y="24685"/>
                      <a:pt x="622609" y="30170"/>
                      <a:pt x="630837" y="30170"/>
                    </a:cubicBezTo>
                    <a:lnTo>
                      <a:pt x="743289" y="30170"/>
                    </a:lnTo>
                    <a:cubicBezTo>
                      <a:pt x="743289" y="30170"/>
                      <a:pt x="743289" y="30170"/>
                      <a:pt x="743289" y="30170"/>
                    </a:cubicBezTo>
                    <a:lnTo>
                      <a:pt x="743289" y="200221"/>
                    </a:lnTo>
                    <a:cubicBezTo>
                      <a:pt x="743289" y="208450"/>
                      <a:pt x="748775" y="213935"/>
                      <a:pt x="757003" y="213935"/>
                    </a:cubicBezTo>
                    <a:cubicBezTo>
                      <a:pt x="765233" y="213935"/>
                      <a:pt x="770717" y="208450"/>
                      <a:pt x="770717" y="200221"/>
                    </a:cubicBezTo>
                    <a:lnTo>
                      <a:pt x="770717" y="65826"/>
                    </a:lnTo>
                    <a:lnTo>
                      <a:pt x="828316" y="65826"/>
                    </a:lnTo>
                    <a:cubicBezTo>
                      <a:pt x="831058" y="65826"/>
                      <a:pt x="831058" y="68569"/>
                      <a:pt x="831058" y="68569"/>
                    </a:cubicBezTo>
                    <a:lnTo>
                      <a:pt x="831058" y="554038"/>
                    </a:lnTo>
                    <a:cubicBezTo>
                      <a:pt x="831058" y="586951"/>
                      <a:pt x="806374" y="611636"/>
                      <a:pt x="773461" y="611636"/>
                    </a:cubicBezTo>
                    <a:lnTo>
                      <a:pt x="85025" y="611636"/>
                    </a:lnTo>
                    <a:cubicBezTo>
                      <a:pt x="52113" y="611636"/>
                      <a:pt x="27428" y="586951"/>
                      <a:pt x="27428" y="554038"/>
                    </a:cubicBezTo>
                    <a:lnTo>
                      <a:pt x="27428" y="65826"/>
                    </a:lnTo>
                    <a:cubicBezTo>
                      <a:pt x="27428" y="63083"/>
                      <a:pt x="30170" y="63083"/>
                      <a:pt x="30170" y="63083"/>
                    </a:cubicBezTo>
                    <a:lnTo>
                      <a:pt x="87769" y="63083"/>
                    </a:lnTo>
                    <a:lnTo>
                      <a:pt x="87769" y="540324"/>
                    </a:lnTo>
                    <a:cubicBezTo>
                      <a:pt x="87769" y="559523"/>
                      <a:pt x="104225" y="575980"/>
                      <a:pt x="123425" y="575980"/>
                    </a:cubicBezTo>
                    <a:lnTo>
                      <a:pt x="735061" y="575980"/>
                    </a:lnTo>
                    <a:cubicBezTo>
                      <a:pt x="754261" y="575980"/>
                      <a:pt x="770717" y="559523"/>
                      <a:pt x="770717" y="540324"/>
                    </a:cubicBezTo>
                    <a:lnTo>
                      <a:pt x="770717" y="257819"/>
                    </a:lnTo>
                    <a:cubicBezTo>
                      <a:pt x="770717" y="249591"/>
                      <a:pt x="765233" y="244106"/>
                      <a:pt x="757003" y="244106"/>
                    </a:cubicBezTo>
                    <a:cubicBezTo>
                      <a:pt x="748775" y="244106"/>
                      <a:pt x="743289" y="249591"/>
                      <a:pt x="743289" y="257819"/>
                    </a:cubicBezTo>
                    <a:lnTo>
                      <a:pt x="743289" y="458041"/>
                    </a:lnTo>
                    <a:lnTo>
                      <a:pt x="518384" y="458041"/>
                    </a:lnTo>
                    <a:cubicBezTo>
                      <a:pt x="488212" y="458041"/>
                      <a:pt x="463528" y="469012"/>
                      <a:pt x="444329" y="490954"/>
                    </a:cubicBezTo>
                    <a:lnTo>
                      <a:pt x="444329" y="309932"/>
                    </a:lnTo>
                    <a:cubicBezTo>
                      <a:pt x="444329" y="301704"/>
                      <a:pt x="438843" y="296218"/>
                      <a:pt x="430615" y="296218"/>
                    </a:cubicBezTo>
                    <a:cubicBezTo>
                      <a:pt x="422387" y="296218"/>
                      <a:pt x="416901" y="301704"/>
                      <a:pt x="416901" y="309932"/>
                    </a:cubicBezTo>
                    <a:lnTo>
                      <a:pt x="416901" y="490954"/>
                    </a:lnTo>
                    <a:cubicBezTo>
                      <a:pt x="397701" y="471755"/>
                      <a:pt x="373016" y="458041"/>
                      <a:pt x="342846" y="458041"/>
                    </a:cubicBezTo>
                    <a:lnTo>
                      <a:pt x="279763" y="458041"/>
                    </a:lnTo>
                    <a:cubicBezTo>
                      <a:pt x="271535" y="458041"/>
                      <a:pt x="266049" y="463527"/>
                      <a:pt x="266049" y="471755"/>
                    </a:cubicBezTo>
                    <a:cubicBezTo>
                      <a:pt x="266049" y="479983"/>
                      <a:pt x="271535" y="485469"/>
                      <a:pt x="279763" y="485469"/>
                    </a:cubicBezTo>
                    <a:lnTo>
                      <a:pt x="342846" y="485469"/>
                    </a:lnTo>
                    <a:cubicBezTo>
                      <a:pt x="378502" y="485469"/>
                      <a:pt x="408673" y="512896"/>
                      <a:pt x="416901" y="545810"/>
                    </a:cubicBezTo>
                    <a:lnTo>
                      <a:pt x="123425" y="545810"/>
                    </a:lnTo>
                    <a:cubicBezTo>
                      <a:pt x="117939" y="545810"/>
                      <a:pt x="115197" y="543067"/>
                      <a:pt x="115197" y="537581"/>
                    </a:cubicBezTo>
                    <a:lnTo>
                      <a:pt x="115197" y="485469"/>
                    </a:lnTo>
                    <a:lnTo>
                      <a:pt x="216679" y="485469"/>
                    </a:lnTo>
                    <a:cubicBezTo>
                      <a:pt x="224907" y="485469"/>
                      <a:pt x="230393" y="479983"/>
                      <a:pt x="230393" y="471755"/>
                    </a:cubicBezTo>
                    <a:cubicBezTo>
                      <a:pt x="230393" y="463527"/>
                      <a:pt x="224907" y="458041"/>
                      <a:pt x="216679" y="458041"/>
                    </a:cubicBezTo>
                    <a:lnTo>
                      <a:pt x="115197" y="458041"/>
                    </a:lnTo>
                    <a:lnTo>
                      <a:pt x="115197" y="27428"/>
                    </a:lnTo>
                    <a:cubicBezTo>
                      <a:pt x="115197" y="27428"/>
                      <a:pt x="115197" y="27428"/>
                      <a:pt x="115197" y="27428"/>
                    </a:cubicBezTo>
                    <a:lnTo>
                      <a:pt x="227649" y="27428"/>
                    </a:lnTo>
                    <a:cubicBezTo>
                      <a:pt x="235877" y="27428"/>
                      <a:pt x="241363" y="21942"/>
                      <a:pt x="241363" y="13714"/>
                    </a:cubicBezTo>
                    <a:cubicBezTo>
                      <a:pt x="241363" y="5485"/>
                      <a:pt x="235877" y="0"/>
                      <a:pt x="227649" y="0"/>
                    </a:cubicBezTo>
                    <a:lnTo>
                      <a:pt x="115197" y="0"/>
                    </a:lnTo>
                    <a:cubicBezTo>
                      <a:pt x="98739" y="0"/>
                      <a:pt x="87769" y="13714"/>
                      <a:pt x="87769" y="27428"/>
                    </a:cubicBezTo>
                    <a:lnTo>
                      <a:pt x="87769" y="32913"/>
                    </a:lnTo>
                    <a:lnTo>
                      <a:pt x="30170" y="32913"/>
                    </a:lnTo>
                    <a:cubicBezTo>
                      <a:pt x="13714" y="32913"/>
                      <a:pt x="0" y="46627"/>
                      <a:pt x="0" y="63083"/>
                    </a:cubicBezTo>
                    <a:lnTo>
                      <a:pt x="0" y="548552"/>
                    </a:lnTo>
                    <a:cubicBezTo>
                      <a:pt x="0" y="595179"/>
                      <a:pt x="38399" y="633578"/>
                      <a:pt x="85025" y="633578"/>
                    </a:cubicBezTo>
                    <a:lnTo>
                      <a:pt x="773461" y="633578"/>
                    </a:lnTo>
                    <a:cubicBezTo>
                      <a:pt x="820088" y="633578"/>
                      <a:pt x="858486" y="595179"/>
                      <a:pt x="858486" y="548552"/>
                    </a:cubicBezTo>
                    <a:lnTo>
                      <a:pt x="858486" y="65826"/>
                    </a:lnTo>
                    <a:cubicBezTo>
                      <a:pt x="858486" y="49369"/>
                      <a:pt x="844772" y="35656"/>
                      <a:pt x="828316" y="35656"/>
                    </a:cubicBezTo>
                    <a:lnTo>
                      <a:pt x="828316" y="35656"/>
                    </a:lnTo>
                    <a:close/>
                    <a:moveTo>
                      <a:pt x="518384" y="485469"/>
                    </a:moveTo>
                    <a:lnTo>
                      <a:pt x="743289" y="485469"/>
                    </a:lnTo>
                    <a:lnTo>
                      <a:pt x="743289" y="537581"/>
                    </a:lnTo>
                    <a:cubicBezTo>
                      <a:pt x="743289" y="543067"/>
                      <a:pt x="740547" y="545810"/>
                      <a:pt x="735061" y="545810"/>
                    </a:cubicBezTo>
                    <a:lnTo>
                      <a:pt x="444329" y="545810"/>
                    </a:lnTo>
                    <a:cubicBezTo>
                      <a:pt x="452557" y="512896"/>
                      <a:pt x="482726" y="485469"/>
                      <a:pt x="518384" y="485469"/>
                    </a:cubicBezTo>
                    <a:lnTo>
                      <a:pt x="518384" y="485469"/>
                    </a:lnTo>
                    <a:close/>
                  </a:path>
                </a:pathLst>
              </a:custGeom>
              <a:grpFill/>
              <a:ln w="27426" cap="flat">
                <a:noFill/>
                <a:prstDash val="solid"/>
                <a:miter/>
              </a:ln>
            </p:spPr>
            <p:txBody>
              <a:bodyPr rtlCol="0" anchor="ctr"/>
              <a:lstStyle/>
              <a:p>
                <a:pPr algn="l" rtl="0"/>
                <a:endParaRPr lang="en-US"/>
              </a:p>
            </p:txBody>
          </p:sp>
          <p:sp>
            <p:nvSpPr>
              <p:cNvPr id="20" name="Freeform 19">
                <a:extLst>
                  <a:ext uri="{FF2B5EF4-FFF2-40B4-BE49-F238E27FC236}">
                    <a16:creationId xmlns:a16="http://schemas.microsoft.com/office/drawing/2014/main" id="{57978BCC-BC8D-1513-D674-EA7418F67543}"/>
                  </a:ext>
                </a:extLst>
              </p:cNvPr>
              <p:cNvSpPr/>
              <p:nvPr/>
            </p:nvSpPr>
            <p:spPr>
              <a:xfrm>
                <a:off x="3043831" y="3683011"/>
                <a:ext cx="398414" cy="562266"/>
              </a:xfrm>
              <a:custGeom>
                <a:avLst/>
                <a:gdLst>
                  <a:gd name="connsiteX0" fmla="*/ 11685 w 398414"/>
                  <a:gd name="connsiteY0" fmla="*/ 200221 h 562266"/>
                  <a:gd name="connsiteX1" fmla="*/ 28141 w 398414"/>
                  <a:gd name="connsiteY1" fmla="*/ 186508 h 562266"/>
                  <a:gd name="connsiteX2" fmla="*/ 82996 w 398414"/>
                  <a:gd name="connsiteY2" fmla="*/ 76797 h 562266"/>
                  <a:gd name="connsiteX3" fmla="*/ 198193 w 398414"/>
                  <a:gd name="connsiteY3" fmla="*/ 32913 h 562266"/>
                  <a:gd name="connsiteX4" fmla="*/ 368245 w 398414"/>
                  <a:gd name="connsiteY4" fmla="*/ 202964 h 562266"/>
                  <a:gd name="connsiteX5" fmla="*/ 338073 w 398414"/>
                  <a:gd name="connsiteY5" fmla="*/ 301704 h 562266"/>
                  <a:gd name="connsiteX6" fmla="*/ 338073 w 398414"/>
                  <a:gd name="connsiteY6" fmla="*/ 301704 h 562266"/>
                  <a:gd name="connsiteX7" fmla="*/ 250304 w 398414"/>
                  <a:gd name="connsiteY7" fmla="*/ 441584 h 562266"/>
                  <a:gd name="connsiteX8" fmla="*/ 247562 w 398414"/>
                  <a:gd name="connsiteY8" fmla="*/ 449813 h 562266"/>
                  <a:gd name="connsiteX9" fmla="*/ 247562 w 398414"/>
                  <a:gd name="connsiteY9" fmla="*/ 469012 h 562266"/>
                  <a:gd name="connsiteX10" fmla="*/ 242076 w 398414"/>
                  <a:gd name="connsiteY10" fmla="*/ 474498 h 562266"/>
                  <a:gd name="connsiteX11" fmla="*/ 242076 w 398414"/>
                  <a:gd name="connsiteY11" fmla="*/ 474498 h 562266"/>
                  <a:gd name="connsiteX12" fmla="*/ 250304 w 398414"/>
                  <a:gd name="connsiteY12" fmla="*/ 323646 h 562266"/>
                  <a:gd name="connsiteX13" fmla="*/ 266762 w 398414"/>
                  <a:gd name="connsiteY13" fmla="*/ 323646 h 562266"/>
                  <a:gd name="connsiteX14" fmla="*/ 307904 w 398414"/>
                  <a:gd name="connsiteY14" fmla="*/ 282504 h 562266"/>
                  <a:gd name="connsiteX15" fmla="*/ 307904 w 398414"/>
                  <a:gd name="connsiteY15" fmla="*/ 279762 h 562266"/>
                  <a:gd name="connsiteX16" fmla="*/ 266762 w 398414"/>
                  <a:gd name="connsiteY16" fmla="*/ 238620 h 562266"/>
                  <a:gd name="connsiteX17" fmla="*/ 225621 w 398414"/>
                  <a:gd name="connsiteY17" fmla="*/ 277019 h 562266"/>
                  <a:gd name="connsiteX18" fmla="*/ 225621 w 398414"/>
                  <a:gd name="connsiteY18" fmla="*/ 293475 h 562266"/>
                  <a:gd name="connsiteX19" fmla="*/ 176251 w 398414"/>
                  <a:gd name="connsiteY19" fmla="*/ 293475 h 562266"/>
                  <a:gd name="connsiteX20" fmla="*/ 176251 w 398414"/>
                  <a:gd name="connsiteY20" fmla="*/ 277019 h 562266"/>
                  <a:gd name="connsiteX21" fmla="*/ 135110 w 398414"/>
                  <a:gd name="connsiteY21" fmla="*/ 238620 h 562266"/>
                  <a:gd name="connsiteX22" fmla="*/ 93968 w 398414"/>
                  <a:gd name="connsiteY22" fmla="*/ 279762 h 562266"/>
                  <a:gd name="connsiteX23" fmla="*/ 93968 w 398414"/>
                  <a:gd name="connsiteY23" fmla="*/ 282504 h 562266"/>
                  <a:gd name="connsiteX24" fmla="*/ 135110 w 398414"/>
                  <a:gd name="connsiteY24" fmla="*/ 323646 h 562266"/>
                  <a:gd name="connsiteX25" fmla="*/ 151565 w 398414"/>
                  <a:gd name="connsiteY25" fmla="*/ 323646 h 562266"/>
                  <a:gd name="connsiteX26" fmla="*/ 159793 w 398414"/>
                  <a:gd name="connsiteY26" fmla="*/ 474498 h 562266"/>
                  <a:gd name="connsiteX27" fmla="*/ 154308 w 398414"/>
                  <a:gd name="connsiteY27" fmla="*/ 469012 h 562266"/>
                  <a:gd name="connsiteX28" fmla="*/ 154308 w 398414"/>
                  <a:gd name="connsiteY28" fmla="*/ 449813 h 562266"/>
                  <a:gd name="connsiteX29" fmla="*/ 151565 w 398414"/>
                  <a:gd name="connsiteY29" fmla="*/ 441584 h 562266"/>
                  <a:gd name="connsiteX30" fmla="*/ 63797 w 398414"/>
                  <a:gd name="connsiteY30" fmla="*/ 301704 h 562266"/>
                  <a:gd name="connsiteX31" fmla="*/ 63797 w 398414"/>
                  <a:gd name="connsiteY31" fmla="*/ 301704 h 562266"/>
                  <a:gd name="connsiteX32" fmla="*/ 36369 w 398414"/>
                  <a:gd name="connsiteY32" fmla="*/ 241363 h 562266"/>
                  <a:gd name="connsiteX33" fmla="*/ 19913 w 398414"/>
                  <a:gd name="connsiteY33" fmla="*/ 230392 h 562266"/>
                  <a:gd name="connsiteX34" fmla="*/ 8941 w 398414"/>
                  <a:gd name="connsiteY34" fmla="*/ 246849 h 562266"/>
                  <a:gd name="connsiteX35" fmla="*/ 39113 w 398414"/>
                  <a:gd name="connsiteY35" fmla="*/ 315418 h 562266"/>
                  <a:gd name="connsiteX36" fmla="*/ 126880 w 398414"/>
                  <a:gd name="connsiteY36" fmla="*/ 449813 h 562266"/>
                  <a:gd name="connsiteX37" fmla="*/ 126880 w 398414"/>
                  <a:gd name="connsiteY37" fmla="*/ 463527 h 562266"/>
                  <a:gd name="connsiteX38" fmla="*/ 146080 w 398414"/>
                  <a:gd name="connsiteY38" fmla="*/ 493697 h 562266"/>
                  <a:gd name="connsiteX39" fmla="*/ 146080 w 398414"/>
                  <a:gd name="connsiteY39" fmla="*/ 518382 h 562266"/>
                  <a:gd name="connsiteX40" fmla="*/ 189965 w 398414"/>
                  <a:gd name="connsiteY40" fmla="*/ 562266 h 562266"/>
                  <a:gd name="connsiteX41" fmla="*/ 211907 w 398414"/>
                  <a:gd name="connsiteY41" fmla="*/ 562266 h 562266"/>
                  <a:gd name="connsiteX42" fmla="*/ 255790 w 398414"/>
                  <a:gd name="connsiteY42" fmla="*/ 518382 h 562266"/>
                  <a:gd name="connsiteX43" fmla="*/ 255790 w 398414"/>
                  <a:gd name="connsiteY43" fmla="*/ 493697 h 562266"/>
                  <a:gd name="connsiteX44" fmla="*/ 274990 w 398414"/>
                  <a:gd name="connsiteY44" fmla="*/ 463527 h 562266"/>
                  <a:gd name="connsiteX45" fmla="*/ 274990 w 398414"/>
                  <a:gd name="connsiteY45" fmla="*/ 449813 h 562266"/>
                  <a:gd name="connsiteX46" fmla="*/ 362759 w 398414"/>
                  <a:gd name="connsiteY46" fmla="*/ 315418 h 562266"/>
                  <a:gd name="connsiteX47" fmla="*/ 398415 w 398414"/>
                  <a:gd name="connsiteY47" fmla="*/ 200221 h 562266"/>
                  <a:gd name="connsiteX48" fmla="*/ 198193 w 398414"/>
                  <a:gd name="connsiteY48" fmla="*/ 0 h 562266"/>
                  <a:gd name="connsiteX49" fmla="*/ 63797 w 398414"/>
                  <a:gd name="connsiteY49" fmla="*/ 52112 h 562266"/>
                  <a:gd name="connsiteX50" fmla="*/ 713 w 398414"/>
                  <a:gd name="connsiteY50" fmla="*/ 181022 h 562266"/>
                  <a:gd name="connsiteX51" fmla="*/ 11685 w 398414"/>
                  <a:gd name="connsiteY51" fmla="*/ 200221 h 562266"/>
                  <a:gd name="connsiteX52" fmla="*/ 11685 w 398414"/>
                  <a:gd name="connsiteY52" fmla="*/ 200221 h 562266"/>
                  <a:gd name="connsiteX53" fmla="*/ 250304 w 398414"/>
                  <a:gd name="connsiteY53" fmla="*/ 279762 h 562266"/>
                  <a:gd name="connsiteX54" fmla="*/ 264018 w 398414"/>
                  <a:gd name="connsiteY54" fmla="*/ 266048 h 562266"/>
                  <a:gd name="connsiteX55" fmla="*/ 277732 w 398414"/>
                  <a:gd name="connsiteY55" fmla="*/ 279762 h 562266"/>
                  <a:gd name="connsiteX56" fmla="*/ 277732 w 398414"/>
                  <a:gd name="connsiteY56" fmla="*/ 282504 h 562266"/>
                  <a:gd name="connsiteX57" fmla="*/ 264018 w 398414"/>
                  <a:gd name="connsiteY57" fmla="*/ 296218 h 562266"/>
                  <a:gd name="connsiteX58" fmla="*/ 247562 w 398414"/>
                  <a:gd name="connsiteY58" fmla="*/ 296218 h 562266"/>
                  <a:gd name="connsiteX59" fmla="*/ 250304 w 398414"/>
                  <a:gd name="connsiteY59" fmla="*/ 279762 h 562266"/>
                  <a:gd name="connsiteX60" fmla="*/ 129624 w 398414"/>
                  <a:gd name="connsiteY60" fmla="*/ 293475 h 562266"/>
                  <a:gd name="connsiteX61" fmla="*/ 115910 w 398414"/>
                  <a:gd name="connsiteY61" fmla="*/ 279762 h 562266"/>
                  <a:gd name="connsiteX62" fmla="*/ 115910 w 398414"/>
                  <a:gd name="connsiteY62" fmla="*/ 277019 h 562266"/>
                  <a:gd name="connsiteX63" fmla="*/ 129624 w 398414"/>
                  <a:gd name="connsiteY63" fmla="*/ 263305 h 562266"/>
                  <a:gd name="connsiteX64" fmla="*/ 143338 w 398414"/>
                  <a:gd name="connsiteY64" fmla="*/ 277019 h 562266"/>
                  <a:gd name="connsiteX65" fmla="*/ 143338 w 398414"/>
                  <a:gd name="connsiteY65" fmla="*/ 293475 h 562266"/>
                  <a:gd name="connsiteX66" fmla="*/ 129624 w 398414"/>
                  <a:gd name="connsiteY66" fmla="*/ 293475 h 562266"/>
                  <a:gd name="connsiteX67" fmla="*/ 220135 w 398414"/>
                  <a:gd name="connsiteY67" fmla="*/ 323646 h 562266"/>
                  <a:gd name="connsiteX68" fmla="*/ 211907 w 398414"/>
                  <a:gd name="connsiteY68" fmla="*/ 474498 h 562266"/>
                  <a:gd name="connsiteX69" fmla="*/ 184479 w 398414"/>
                  <a:gd name="connsiteY69" fmla="*/ 474498 h 562266"/>
                  <a:gd name="connsiteX70" fmla="*/ 176251 w 398414"/>
                  <a:gd name="connsiteY70" fmla="*/ 323646 h 562266"/>
                  <a:gd name="connsiteX71" fmla="*/ 220135 w 398414"/>
                  <a:gd name="connsiteY71" fmla="*/ 323646 h 562266"/>
                  <a:gd name="connsiteX72" fmla="*/ 225621 w 398414"/>
                  <a:gd name="connsiteY72" fmla="*/ 521125 h 562266"/>
                  <a:gd name="connsiteX73" fmla="*/ 209163 w 398414"/>
                  <a:gd name="connsiteY73" fmla="*/ 537581 h 562266"/>
                  <a:gd name="connsiteX74" fmla="*/ 187221 w 398414"/>
                  <a:gd name="connsiteY74" fmla="*/ 537581 h 562266"/>
                  <a:gd name="connsiteX75" fmla="*/ 170765 w 398414"/>
                  <a:gd name="connsiteY75" fmla="*/ 521125 h 562266"/>
                  <a:gd name="connsiteX76" fmla="*/ 170765 w 398414"/>
                  <a:gd name="connsiteY76" fmla="*/ 499183 h 562266"/>
                  <a:gd name="connsiteX77" fmla="*/ 225621 w 398414"/>
                  <a:gd name="connsiteY77" fmla="*/ 499183 h 562266"/>
                  <a:gd name="connsiteX78" fmla="*/ 225621 w 398414"/>
                  <a:gd name="connsiteY78" fmla="*/ 521125 h 562266"/>
                  <a:gd name="connsiteX79" fmla="*/ 225621 w 398414"/>
                  <a:gd name="connsiteY79" fmla="*/ 521125 h 56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98414" h="562266">
                    <a:moveTo>
                      <a:pt x="11685" y="200221"/>
                    </a:moveTo>
                    <a:cubicBezTo>
                      <a:pt x="19913" y="200221"/>
                      <a:pt x="25399" y="194736"/>
                      <a:pt x="28141" y="186508"/>
                    </a:cubicBezTo>
                    <a:cubicBezTo>
                      <a:pt x="30883" y="145366"/>
                      <a:pt x="52827" y="104225"/>
                      <a:pt x="82996" y="76797"/>
                    </a:cubicBezTo>
                    <a:cubicBezTo>
                      <a:pt x="115910" y="46627"/>
                      <a:pt x="154308" y="32913"/>
                      <a:pt x="198193" y="32913"/>
                    </a:cubicBezTo>
                    <a:cubicBezTo>
                      <a:pt x="291446" y="32913"/>
                      <a:pt x="368245" y="109710"/>
                      <a:pt x="368245" y="202964"/>
                    </a:cubicBezTo>
                    <a:cubicBezTo>
                      <a:pt x="368245" y="238620"/>
                      <a:pt x="357273" y="271533"/>
                      <a:pt x="338073" y="301704"/>
                    </a:cubicBezTo>
                    <a:cubicBezTo>
                      <a:pt x="338073" y="301704"/>
                      <a:pt x="338073" y="301704"/>
                      <a:pt x="338073" y="301704"/>
                    </a:cubicBezTo>
                    <a:lnTo>
                      <a:pt x="250304" y="441584"/>
                    </a:lnTo>
                    <a:cubicBezTo>
                      <a:pt x="247562" y="444327"/>
                      <a:pt x="247562" y="447070"/>
                      <a:pt x="247562" y="449813"/>
                    </a:cubicBezTo>
                    <a:lnTo>
                      <a:pt x="247562" y="469012"/>
                    </a:lnTo>
                    <a:cubicBezTo>
                      <a:pt x="247562" y="471755"/>
                      <a:pt x="244820" y="474498"/>
                      <a:pt x="242076" y="474498"/>
                    </a:cubicBezTo>
                    <a:lnTo>
                      <a:pt x="242076" y="474498"/>
                    </a:lnTo>
                    <a:lnTo>
                      <a:pt x="250304" y="323646"/>
                    </a:lnTo>
                    <a:lnTo>
                      <a:pt x="266762" y="323646"/>
                    </a:lnTo>
                    <a:cubicBezTo>
                      <a:pt x="288704" y="323646"/>
                      <a:pt x="307904" y="304446"/>
                      <a:pt x="307904" y="282504"/>
                    </a:cubicBezTo>
                    <a:lnTo>
                      <a:pt x="307904" y="279762"/>
                    </a:lnTo>
                    <a:cubicBezTo>
                      <a:pt x="307904" y="257819"/>
                      <a:pt x="288704" y="238620"/>
                      <a:pt x="266762" y="238620"/>
                    </a:cubicBezTo>
                    <a:cubicBezTo>
                      <a:pt x="244820" y="238620"/>
                      <a:pt x="225621" y="255077"/>
                      <a:pt x="225621" y="277019"/>
                    </a:cubicBezTo>
                    <a:lnTo>
                      <a:pt x="225621" y="293475"/>
                    </a:lnTo>
                    <a:lnTo>
                      <a:pt x="176251" y="293475"/>
                    </a:lnTo>
                    <a:lnTo>
                      <a:pt x="176251" y="277019"/>
                    </a:lnTo>
                    <a:cubicBezTo>
                      <a:pt x="176251" y="255077"/>
                      <a:pt x="157051" y="238620"/>
                      <a:pt x="135110" y="238620"/>
                    </a:cubicBezTo>
                    <a:cubicBezTo>
                      <a:pt x="113166" y="238620"/>
                      <a:pt x="93968" y="257819"/>
                      <a:pt x="93968" y="279762"/>
                    </a:cubicBezTo>
                    <a:lnTo>
                      <a:pt x="93968" y="282504"/>
                    </a:lnTo>
                    <a:cubicBezTo>
                      <a:pt x="93968" y="304446"/>
                      <a:pt x="113166" y="323646"/>
                      <a:pt x="135110" y="323646"/>
                    </a:cubicBezTo>
                    <a:lnTo>
                      <a:pt x="151565" y="323646"/>
                    </a:lnTo>
                    <a:lnTo>
                      <a:pt x="159793" y="474498"/>
                    </a:lnTo>
                    <a:cubicBezTo>
                      <a:pt x="157051" y="474498"/>
                      <a:pt x="154308" y="471755"/>
                      <a:pt x="154308" y="469012"/>
                    </a:cubicBezTo>
                    <a:lnTo>
                      <a:pt x="154308" y="449813"/>
                    </a:lnTo>
                    <a:cubicBezTo>
                      <a:pt x="154308" y="447070"/>
                      <a:pt x="154308" y="444327"/>
                      <a:pt x="151565" y="441584"/>
                    </a:cubicBezTo>
                    <a:lnTo>
                      <a:pt x="63797" y="301704"/>
                    </a:lnTo>
                    <a:cubicBezTo>
                      <a:pt x="63797" y="301704"/>
                      <a:pt x="63797" y="301704"/>
                      <a:pt x="63797" y="301704"/>
                    </a:cubicBezTo>
                    <a:cubicBezTo>
                      <a:pt x="50083" y="282504"/>
                      <a:pt x="41855" y="263305"/>
                      <a:pt x="36369" y="241363"/>
                    </a:cubicBezTo>
                    <a:cubicBezTo>
                      <a:pt x="33627" y="233135"/>
                      <a:pt x="28141" y="230392"/>
                      <a:pt x="19913" y="230392"/>
                    </a:cubicBezTo>
                    <a:cubicBezTo>
                      <a:pt x="11685" y="233135"/>
                      <a:pt x="8941" y="238620"/>
                      <a:pt x="8941" y="246849"/>
                    </a:cubicBezTo>
                    <a:cubicBezTo>
                      <a:pt x="14427" y="271533"/>
                      <a:pt x="25399" y="296218"/>
                      <a:pt x="39113" y="315418"/>
                    </a:cubicBezTo>
                    <a:lnTo>
                      <a:pt x="126880" y="449813"/>
                    </a:lnTo>
                    <a:lnTo>
                      <a:pt x="126880" y="463527"/>
                    </a:lnTo>
                    <a:cubicBezTo>
                      <a:pt x="126880" y="477240"/>
                      <a:pt x="135110" y="490954"/>
                      <a:pt x="146080" y="493697"/>
                    </a:cubicBezTo>
                    <a:lnTo>
                      <a:pt x="146080" y="518382"/>
                    </a:lnTo>
                    <a:cubicBezTo>
                      <a:pt x="146080" y="543067"/>
                      <a:pt x="165279" y="562266"/>
                      <a:pt x="189965" y="562266"/>
                    </a:cubicBezTo>
                    <a:lnTo>
                      <a:pt x="211907" y="562266"/>
                    </a:lnTo>
                    <a:cubicBezTo>
                      <a:pt x="236591" y="562266"/>
                      <a:pt x="255790" y="543067"/>
                      <a:pt x="255790" y="518382"/>
                    </a:cubicBezTo>
                    <a:lnTo>
                      <a:pt x="255790" y="493697"/>
                    </a:lnTo>
                    <a:cubicBezTo>
                      <a:pt x="266762" y="488211"/>
                      <a:pt x="274990" y="477240"/>
                      <a:pt x="274990" y="463527"/>
                    </a:cubicBezTo>
                    <a:lnTo>
                      <a:pt x="274990" y="449813"/>
                    </a:lnTo>
                    <a:lnTo>
                      <a:pt x="362759" y="315418"/>
                    </a:lnTo>
                    <a:cubicBezTo>
                      <a:pt x="387443" y="282504"/>
                      <a:pt x="398415" y="241363"/>
                      <a:pt x="398415" y="200221"/>
                    </a:cubicBezTo>
                    <a:cubicBezTo>
                      <a:pt x="398415" y="90511"/>
                      <a:pt x="307904" y="0"/>
                      <a:pt x="198193" y="0"/>
                    </a:cubicBezTo>
                    <a:cubicBezTo>
                      <a:pt x="148823" y="0"/>
                      <a:pt x="99452" y="19199"/>
                      <a:pt x="63797" y="52112"/>
                    </a:cubicBezTo>
                    <a:cubicBezTo>
                      <a:pt x="28141" y="85025"/>
                      <a:pt x="3455" y="131652"/>
                      <a:pt x="713" y="181022"/>
                    </a:cubicBezTo>
                    <a:cubicBezTo>
                      <a:pt x="-2029" y="191993"/>
                      <a:pt x="3455" y="197479"/>
                      <a:pt x="11685" y="200221"/>
                    </a:cubicBezTo>
                    <a:lnTo>
                      <a:pt x="11685" y="200221"/>
                    </a:lnTo>
                    <a:close/>
                    <a:moveTo>
                      <a:pt x="250304" y="279762"/>
                    </a:moveTo>
                    <a:cubicBezTo>
                      <a:pt x="250304" y="271533"/>
                      <a:pt x="255790" y="266048"/>
                      <a:pt x="264018" y="266048"/>
                    </a:cubicBezTo>
                    <a:cubicBezTo>
                      <a:pt x="272248" y="266048"/>
                      <a:pt x="277732" y="271533"/>
                      <a:pt x="277732" y="279762"/>
                    </a:cubicBezTo>
                    <a:lnTo>
                      <a:pt x="277732" y="282504"/>
                    </a:lnTo>
                    <a:cubicBezTo>
                      <a:pt x="277732" y="290733"/>
                      <a:pt x="272248" y="296218"/>
                      <a:pt x="264018" y="296218"/>
                    </a:cubicBezTo>
                    <a:lnTo>
                      <a:pt x="247562" y="296218"/>
                    </a:lnTo>
                    <a:lnTo>
                      <a:pt x="250304" y="279762"/>
                    </a:lnTo>
                    <a:close/>
                    <a:moveTo>
                      <a:pt x="129624" y="293475"/>
                    </a:moveTo>
                    <a:cubicBezTo>
                      <a:pt x="121396" y="293475"/>
                      <a:pt x="115910" y="287990"/>
                      <a:pt x="115910" y="279762"/>
                    </a:cubicBezTo>
                    <a:lnTo>
                      <a:pt x="115910" y="277019"/>
                    </a:lnTo>
                    <a:cubicBezTo>
                      <a:pt x="115910" y="268790"/>
                      <a:pt x="121396" y="263305"/>
                      <a:pt x="129624" y="263305"/>
                    </a:cubicBezTo>
                    <a:cubicBezTo>
                      <a:pt x="137852" y="263305"/>
                      <a:pt x="143338" y="268790"/>
                      <a:pt x="143338" y="277019"/>
                    </a:cubicBezTo>
                    <a:lnTo>
                      <a:pt x="143338" y="293475"/>
                    </a:lnTo>
                    <a:lnTo>
                      <a:pt x="129624" y="293475"/>
                    </a:lnTo>
                    <a:close/>
                    <a:moveTo>
                      <a:pt x="220135" y="323646"/>
                    </a:moveTo>
                    <a:lnTo>
                      <a:pt x="211907" y="474498"/>
                    </a:lnTo>
                    <a:lnTo>
                      <a:pt x="184479" y="474498"/>
                    </a:lnTo>
                    <a:lnTo>
                      <a:pt x="176251" y="323646"/>
                    </a:lnTo>
                    <a:lnTo>
                      <a:pt x="220135" y="323646"/>
                    </a:lnTo>
                    <a:close/>
                    <a:moveTo>
                      <a:pt x="225621" y="521125"/>
                    </a:moveTo>
                    <a:cubicBezTo>
                      <a:pt x="225621" y="529353"/>
                      <a:pt x="217393" y="537581"/>
                      <a:pt x="209163" y="537581"/>
                    </a:cubicBezTo>
                    <a:lnTo>
                      <a:pt x="187221" y="537581"/>
                    </a:lnTo>
                    <a:cubicBezTo>
                      <a:pt x="178993" y="537581"/>
                      <a:pt x="170765" y="529353"/>
                      <a:pt x="170765" y="521125"/>
                    </a:cubicBezTo>
                    <a:lnTo>
                      <a:pt x="170765" y="499183"/>
                    </a:lnTo>
                    <a:lnTo>
                      <a:pt x="225621" y="499183"/>
                    </a:lnTo>
                    <a:lnTo>
                      <a:pt x="225621" y="521125"/>
                    </a:lnTo>
                    <a:lnTo>
                      <a:pt x="225621" y="521125"/>
                    </a:lnTo>
                    <a:close/>
                  </a:path>
                </a:pathLst>
              </a:custGeom>
              <a:grpFill/>
              <a:ln w="27426" cap="flat">
                <a:noFill/>
                <a:prstDash val="solid"/>
                <a:miter/>
              </a:ln>
            </p:spPr>
            <p:txBody>
              <a:bodyPr rtlCol="0" anchor="ctr"/>
              <a:lstStyle/>
              <a:p>
                <a:pPr algn="l" rtl="0"/>
                <a:endParaRPr lang="en-US"/>
              </a:p>
            </p:txBody>
          </p:sp>
          <p:sp>
            <p:nvSpPr>
              <p:cNvPr id="21" name="Freeform 20">
                <a:extLst>
                  <a:ext uri="{FF2B5EF4-FFF2-40B4-BE49-F238E27FC236}">
                    <a16:creationId xmlns:a16="http://schemas.microsoft.com/office/drawing/2014/main" id="{2CC77303-8155-19AF-5218-4CD076866EF8}"/>
                  </a:ext>
                </a:extLst>
              </p:cNvPr>
              <p:cNvSpPr/>
              <p:nvPr/>
            </p:nvSpPr>
            <p:spPr>
              <a:xfrm>
                <a:off x="3471045" y="3739238"/>
                <a:ext cx="57598" cy="53483"/>
              </a:xfrm>
              <a:custGeom>
                <a:avLst/>
                <a:gdLst>
                  <a:gd name="connsiteX0" fmla="*/ 15084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4 w 57598"/>
                  <a:gd name="connsiteY4" fmla="*/ 4114 h 53483"/>
                  <a:gd name="connsiteX5" fmla="*/ 4114 w 57598"/>
                  <a:gd name="connsiteY5" fmla="*/ 31542 h 53483"/>
                  <a:gd name="connsiteX6" fmla="*/ 4114 w 57598"/>
                  <a:gd name="connsiteY6" fmla="*/ 50741 h 53483"/>
                  <a:gd name="connsiteX7" fmla="*/ 15084 w 57598"/>
                  <a:gd name="connsiteY7" fmla="*/ 53484 h 53483"/>
                  <a:gd name="connsiteX8" fmla="*/ 15084 w 57598"/>
                  <a:gd name="connsiteY8"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3483">
                    <a:moveTo>
                      <a:pt x="15084" y="53484"/>
                    </a:moveTo>
                    <a:cubicBezTo>
                      <a:pt x="17828" y="53484"/>
                      <a:pt x="20570" y="53484"/>
                      <a:pt x="23314" y="50741"/>
                    </a:cubicBezTo>
                    <a:lnTo>
                      <a:pt x="53484" y="23313"/>
                    </a:lnTo>
                    <a:cubicBezTo>
                      <a:pt x="58970" y="17828"/>
                      <a:pt x="58970" y="9600"/>
                      <a:pt x="53484" y="4114"/>
                    </a:cubicBezTo>
                    <a:cubicBezTo>
                      <a:pt x="47998" y="-1371"/>
                      <a:pt x="39770" y="-1371"/>
                      <a:pt x="34284" y="4114"/>
                    </a:cubicBezTo>
                    <a:lnTo>
                      <a:pt x="4114" y="31542"/>
                    </a:lnTo>
                    <a:cubicBezTo>
                      <a:pt x="-1371" y="37027"/>
                      <a:pt x="-1371" y="45256"/>
                      <a:pt x="4114" y="50741"/>
                    </a:cubicBezTo>
                    <a:cubicBezTo>
                      <a:pt x="6857" y="50741"/>
                      <a:pt x="9600" y="53484"/>
                      <a:pt x="15084" y="53484"/>
                    </a:cubicBezTo>
                    <a:lnTo>
                      <a:pt x="15084" y="53484"/>
                    </a:lnTo>
                    <a:close/>
                  </a:path>
                </a:pathLst>
              </a:custGeom>
              <a:grpFill/>
              <a:ln w="27426" cap="flat">
                <a:noFill/>
                <a:prstDash val="solid"/>
                <a:miter/>
              </a:ln>
            </p:spPr>
            <p:txBody>
              <a:bodyPr rtlCol="0" anchor="ctr"/>
              <a:lstStyle/>
              <a:p>
                <a:pPr algn="l" rtl="0"/>
                <a:endParaRPr lang="en-US"/>
              </a:p>
            </p:txBody>
          </p:sp>
          <p:sp>
            <p:nvSpPr>
              <p:cNvPr id="22" name="Freeform 21">
                <a:extLst>
                  <a:ext uri="{FF2B5EF4-FFF2-40B4-BE49-F238E27FC236}">
                    <a16:creationId xmlns:a16="http://schemas.microsoft.com/office/drawing/2014/main" id="{23753D00-5896-D98A-A96E-A2449B2F74BB}"/>
                  </a:ext>
                </a:extLst>
              </p:cNvPr>
              <p:cNvSpPr/>
              <p:nvPr/>
            </p:nvSpPr>
            <p:spPr>
              <a:xfrm>
                <a:off x="3471045" y="3851691"/>
                <a:ext cx="57598" cy="56226"/>
              </a:xfrm>
              <a:custGeom>
                <a:avLst/>
                <a:gdLst>
                  <a:gd name="connsiteX0" fmla="*/ 4114 w 57598"/>
                  <a:gd name="connsiteY0" fmla="*/ 26056 h 56226"/>
                  <a:gd name="connsiteX1" fmla="*/ 34284 w 57598"/>
                  <a:gd name="connsiteY1" fmla="*/ 53484 h 56226"/>
                  <a:gd name="connsiteX2" fmla="*/ 42512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 name="connsiteX8" fmla="*/ 4114 w 57598"/>
                  <a:gd name="connsiteY8"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6226">
                    <a:moveTo>
                      <a:pt x="4114" y="26056"/>
                    </a:moveTo>
                    <a:lnTo>
                      <a:pt x="34284" y="53484"/>
                    </a:lnTo>
                    <a:cubicBezTo>
                      <a:pt x="37028" y="56227"/>
                      <a:pt x="39770" y="56227"/>
                      <a:pt x="42512" y="56227"/>
                    </a:cubicBezTo>
                    <a:cubicBezTo>
                      <a:pt x="45256" y="56227"/>
                      <a:pt x="50742" y="53484"/>
                      <a:pt x="53484" y="50741"/>
                    </a:cubicBezTo>
                    <a:cubicBezTo>
                      <a:pt x="58970" y="45256"/>
                      <a:pt x="58970" y="37028"/>
                      <a:pt x="53484" y="31542"/>
                    </a:cubicBezTo>
                    <a:lnTo>
                      <a:pt x="23314" y="4114"/>
                    </a:lnTo>
                    <a:cubicBezTo>
                      <a:pt x="17828" y="-1371"/>
                      <a:pt x="9600" y="-1371"/>
                      <a:pt x="4114" y="4114"/>
                    </a:cubicBezTo>
                    <a:cubicBezTo>
                      <a:pt x="-1371" y="12342"/>
                      <a:pt x="-1371" y="20571"/>
                      <a:pt x="4114" y="26056"/>
                    </a:cubicBezTo>
                    <a:lnTo>
                      <a:pt x="4114" y="26056"/>
                    </a:lnTo>
                    <a:close/>
                  </a:path>
                </a:pathLst>
              </a:custGeom>
              <a:grpFill/>
              <a:ln w="27426" cap="flat">
                <a:noFill/>
                <a:prstDash val="solid"/>
                <a:miter/>
              </a:ln>
            </p:spPr>
            <p:txBody>
              <a:bodyPr rtlCol="0" anchor="ctr"/>
              <a:lstStyle/>
              <a:p>
                <a:pPr algn="l" rtl="0"/>
                <a:endParaRPr lang="en-US"/>
              </a:p>
            </p:txBody>
          </p:sp>
          <p:sp>
            <p:nvSpPr>
              <p:cNvPr id="23" name="Freeform 22">
                <a:extLst>
                  <a:ext uri="{FF2B5EF4-FFF2-40B4-BE49-F238E27FC236}">
                    <a16:creationId xmlns:a16="http://schemas.microsoft.com/office/drawing/2014/main" id="{32782DD9-EE1A-6C19-DAAE-0D3AA5586276}"/>
                  </a:ext>
                </a:extLst>
              </p:cNvPr>
              <p:cNvSpPr/>
              <p:nvPr/>
            </p:nvSpPr>
            <p:spPr>
              <a:xfrm>
                <a:off x="2952661" y="3736495"/>
                <a:ext cx="57598" cy="56226"/>
              </a:xfrm>
              <a:custGeom>
                <a:avLst/>
                <a:gdLst>
                  <a:gd name="connsiteX0" fmla="*/ 4114 w 57598"/>
                  <a:gd name="connsiteY0" fmla="*/ 26056 h 56226"/>
                  <a:gd name="connsiteX1" fmla="*/ 34286 w 57598"/>
                  <a:gd name="connsiteY1" fmla="*/ 53484 h 56226"/>
                  <a:gd name="connsiteX2" fmla="*/ 42514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6226">
                    <a:moveTo>
                      <a:pt x="4114" y="26056"/>
                    </a:moveTo>
                    <a:lnTo>
                      <a:pt x="34286" y="53484"/>
                    </a:lnTo>
                    <a:cubicBezTo>
                      <a:pt x="37028" y="56227"/>
                      <a:pt x="39770" y="56227"/>
                      <a:pt x="42514" y="56227"/>
                    </a:cubicBezTo>
                    <a:cubicBezTo>
                      <a:pt x="45256" y="56227"/>
                      <a:pt x="50742" y="53484"/>
                      <a:pt x="53484" y="50741"/>
                    </a:cubicBezTo>
                    <a:cubicBezTo>
                      <a:pt x="58970" y="45256"/>
                      <a:pt x="58970" y="37027"/>
                      <a:pt x="53484" y="31542"/>
                    </a:cubicBezTo>
                    <a:lnTo>
                      <a:pt x="23314" y="4114"/>
                    </a:lnTo>
                    <a:cubicBezTo>
                      <a:pt x="17828" y="-1371"/>
                      <a:pt x="9600" y="-1371"/>
                      <a:pt x="4114" y="4114"/>
                    </a:cubicBezTo>
                    <a:cubicBezTo>
                      <a:pt x="-1371" y="12342"/>
                      <a:pt x="-1371" y="20571"/>
                      <a:pt x="4114" y="26056"/>
                    </a:cubicBezTo>
                    <a:close/>
                  </a:path>
                </a:pathLst>
              </a:custGeom>
              <a:grpFill/>
              <a:ln w="27426" cap="flat">
                <a:noFill/>
                <a:prstDash val="solid"/>
                <a:miter/>
              </a:ln>
            </p:spPr>
            <p:txBody>
              <a:bodyPr rtlCol="0" anchor="ctr"/>
              <a:lstStyle/>
              <a:p>
                <a:pPr algn="l" rtl="0"/>
                <a:endParaRPr lang="en-US"/>
              </a:p>
            </p:txBody>
          </p:sp>
          <p:sp>
            <p:nvSpPr>
              <p:cNvPr id="24" name="Freeform 23">
                <a:extLst>
                  <a:ext uri="{FF2B5EF4-FFF2-40B4-BE49-F238E27FC236}">
                    <a16:creationId xmlns:a16="http://schemas.microsoft.com/office/drawing/2014/main" id="{6EBCA6FE-2D6C-F6C2-B556-41F225F45A11}"/>
                  </a:ext>
                </a:extLst>
              </p:cNvPr>
              <p:cNvSpPr/>
              <p:nvPr/>
            </p:nvSpPr>
            <p:spPr>
              <a:xfrm>
                <a:off x="2952661" y="3854434"/>
                <a:ext cx="57598" cy="53483"/>
              </a:xfrm>
              <a:custGeom>
                <a:avLst/>
                <a:gdLst>
                  <a:gd name="connsiteX0" fmla="*/ 15086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6 w 57598"/>
                  <a:gd name="connsiteY4" fmla="*/ 4114 h 53483"/>
                  <a:gd name="connsiteX5" fmla="*/ 4114 w 57598"/>
                  <a:gd name="connsiteY5" fmla="*/ 31542 h 53483"/>
                  <a:gd name="connsiteX6" fmla="*/ 4114 w 57598"/>
                  <a:gd name="connsiteY6" fmla="*/ 50741 h 53483"/>
                  <a:gd name="connsiteX7" fmla="*/ 15086 w 57598"/>
                  <a:gd name="connsiteY7"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3483">
                    <a:moveTo>
                      <a:pt x="15086" y="53484"/>
                    </a:moveTo>
                    <a:cubicBezTo>
                      <a:pt x="17828" y="53484"/>
                      <a:pt x="20572" y="53484"/>
                      <a:pt x="23314" y="50741"/>
                    </a:cubicBezTo>
                    <a:lnTo>
                      <a:pt x="53484" y="23313"/>
                    </a:lnTo>
                    <a:cubicBezTo>
                      <a:pt x="58970" y="17828"/>
                      <a:pt x="58970" y="9600"/>
                      <a:pt x="53484" y="4114"/>
                    </a:cubicBezTo>
                    <a:cubicBezTo>
                      <a:pt x="48000" y="-1371"/>
                      <a:pt x="39770" y="-1371"/>
                      <a:pt x="34286" y="4114"/>
                    </a:cubicBezTo>
                    <a:lnTo>
                      <a:pt x="4114" y="31542"/>
                    </a:lnTo>
                    <a:cubicBezTo>
                      <a:pt x="-1371" y="37027"/>
                      <a:pt x="-1371" y="45256"/>
                      <a:pt x="4114" y="50741"/>
                    </a:cubicBezTo>
                    <a:cubicBezTo>
                      <a:pt x="6858" y="50741"/>
                      <a:pt x="9600" y="53484"/>
                      <a:pt x="15086" y="53484"/>
                    </a:cubicBezTo>
                    <a:close/>
                  </a:path>
                </a:pathLst>
              </a:custGeom>
              <a:grpFill/>
              <a:ln w="27426" cap="flat">
                <a:noFill/>
                <a:prstDash val="solid"/>
                <a:miter/>
              </a:ln>
            </p:spPr>
            <p:txBody>
              <a:bodyPr rtlCol="0" anchor="ctr"/>
              <a:lstStyle/>
              <a:p>
                <a:pPr algn="l" rtl="0"/>
                <a:endParaRPr lang="en-US"/>
              </a:p>
            </p:txBody>
          </p:sp>
          <p:sp>
            <p:nvSpPr>
              <p:cNvPr id="25" name="Freeform 24">
                <a:extLst>
                  <a:ext uri="{FF2B5EF4-FFF2-40B4-BE49-F238E27FC236}">
                    <a16:creationId xmlns:a16="http://schemas.microsoft.com/office/drawing/2014/main" id="{680E9832-D2B3-3EF3-DA57-A14DD0D1B258}"/>
                  </a:ext>
                </a:extLst>
              </p:cNvPr>
              <p:cNvSpPr/>
              <p:nvPr/>
            </p:nvSpPr>
            <p:spPr>
              <a:xfrm>
                <a:off x="2954034"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pPr algn="l" rtl="0"/>
                <a:endParaRPr lang="en-US"/>
              </a:p>
            </p:txBody>
          </p:sp>
          <p:sp>
            <p:nvSpPr>
              <p:cNvPr id="26" name="Freeform 25">
                <a:extLst>
                  <a:ext uri="{FF2B5EF4-FFF2-40B4-BE49-F238E27FC236}">
                    <a16:creationId xmlns:a16="http://schemas.microsoft.com/office/drawing/2014/main" id="{BCC387CD-412C-68FC-FCB7-40151019CD36}"/>
                  </a:ext>
                </a:extLst>
              </p:cNvPr>
              <p:cNvSpPr/>
              <p:nvPr/>
            </p:nvSpPr>
            <p:spPr>
              <a:xfrm>
                <a:off x="2978717" y="4226078"/>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pPr algn="l" rtl="0"/>
                <a:endParaRPr lang="en-US"/>
              </a:p>
            </p:txBody>
          </p:sp>
          <p:sp>
            <p:nvSpPr>
              <p:cNvPr id="28" name="Freeform 27">
                <a:extLst>
                  <a:ext uri="{FF2B5EF4-FFF2-40B4-BE49-F238E27FC236}">
                    <a16:creationId xmlns:a16="http://schemas.microsoft.com/office/drawing/2014/main" id="{46607950-3213-91FE-E065-0156E994668A}"/>
                  </a:ext>
                </a:extLst>
              </p:cNvPr>
              <p:cNvSpPr/>
              <p:nvPr/>
            </p:nvSpPr>
            <p:spPr>
              <a:xfrm>
                <a:off x="2978717" y="4294647"/>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pPr algn="l" rtl="0"/>
                <a:endParaRPr lang="en-US"/>
              </a:p>
            </p:txBody>
          </p:sp>
          <p:sp>
            <p:nvSpPr>
              <p:cNvPr id="30" name="Freeform 29">
                <a:extLst>
                  <a:ext uri="{FF2B5EF4-FFF2-40B4-BE49-F238E27FC236}">
                    <a16:creationId xmlns:a16="http://schemas.microsoft.com/office/drawing/2014/main" id="{EC4D17C4-763F-A078-9CD1-1FDEBD2A1F80}"/>
                  </a:ext>
                </a:extLst>
              </p:cNvPr>
              <p:cNvSpPr/>
              <p:nvPr/>
            </p:nvSpPr>
            <p:spPr>
              <a:xfrm>
                <a:off x="2978717" y="4363216"/>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pPr algn="l" rtl="0"/>
                <a:endParaRPr lang="en-US"/>
              </a:p>
            </p:txBody>
          </p:sp>
          <p:sp>
            <p:nvSpPr>
              <p:cNvPr id="32" name="Freeform 31">
                <a:extLst>
                  <a:ext uri="{FF2B5EF4-FFF2-40B4-BE49-F238E27FC236}">
                    <a16:creationId xmlns:a16="http://schemas.microsoft.com/office/drawing/2014/main" id="{5B681F83-37A4-4A77-D113-2EAB67FB7276}"/>
                  </a:ext>
                </a:extLst>
              </p:cNvPr>
              <p:cNvSpPr/>
              <p:nvPr/>
            </p:nvSpPr>
            <p:spPr>
              <a:xfrm>
                <a:off x="3365449"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pPr algn="l" rtl="0"/>
                <a:endParaRPr lang="en-US"/>
              </a:p>
            </p:txBody>
          </p:sp>
          <p:sp>
            <p:nvSpPr>
              <p:cNvPr id="33" name="Freeform 32">
                <a:extLst>
                  <a:ext uri="{FF2B5EF4-FFF2-40B4-BE49-F238E27FC236}">
                    <a16:creationId xmlns:a16="http://schemas.microsoft.com/office/drawing/2014/main" id="{8391A0D7-25C8-DACD-4B67-A11DA52678A3}"/>
                  </a:ext>
                </a:extLst>
              </p:cNvPr>
              <p:cNvSpPr/>
              <p:nvPr/>
            </p:nvSpPr>
            <p:spPr>
              <a:xfrm>
                <a:off x="3324307" y="4226078"/>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pPr algn="l" rtl="0"/>
                <a:endParaRPr lang="en-US"/>
              </a:p>
            </p:txBody>
          </p:sp>
          <p:sp>
            <p:nvSpPr>
              <p:cNvPr id="37" name="Freeform 36">
                <a:extLst>
                  <a:ext uri="{FF2B5EF4-FFF2-40B4-BE49-F238E27FC236}">
                    <a16:creationId xmlns:a16="http://schemas.microsoft.com/office/drawing/2014/main" id="{682AB2D3-030B-2015-110D-931194318DFC}"/>
                  </a:ext>
                </a:extLst>
              </p:cNvPr>
              <p:cNvSpPr/>
              <p:nvPr/>
            </p:nvSpPr>
            <p:spPr>
              <a:xfrm>
                <a:off x="3324307" y="4294647"/>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pPr algn="l" rtl="0"/>
                <a:endParaRPr lang="en-US"/>
              </a:p>
            </p:txBody>
          </p:sp>
          <p:sp>
            <p:nvSpPr>
              <p:cNvPr id="38" name="Freeform 37">
                <a:extLst>
                  <a:ext uri="{FF2B5EF4-FFF2-40B4-BE49-F238E27FC236}">
                    <a16:creationId xmlns:a16="http://schemas.microsoft.com/office/drawing/2014/main" id="{5FB98FBD-51E5-4156-0A59-79A91DBB77F9}"/>
                  </a:ext>
                </a:extLst>
              </p:cNvPr>
              <p:cNvSpPr/>
              <p:nvPr/>
            </p:nvSpPr>
            <p:spPr>
              <a:xfrm>
                <a:off x="3324307" y="4363216"/>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pPr algn="l" rtl="0"/>
                <a:endParaRPr lang="en-US"/>
              </a:p>
            </p:txBody>
          </p:sp>
        </p:grpSp>
      </p:grpSp>
      <p:grpSp>
        <p:nvGrpSpPr>
          <p:cNvPr id="39" name="Graphic 3">
            <a:extLst>
              <a:ext uri="{FF2B5EF4-FFF2-40B4-BE49-F238E27FC236}">
                <a16:creationId xmlns:a16="http://schemas.microsoft.com/office/drawing/2014/main" id="{C3E12000-07A8-FDA2-0014-631E6E2FDF02}"/>
              </a:ext>
            </a:extLst>
          </p:cNvPr>
          <p:cNvGrpSpPr/>
          <p:nvPr/>
        </p:nvGrpSpPr>
        <p:grpSpPr>
          <a:xfrm>
            <a:off x="5394397" y="5335633"/>
            <a:ext cx="730034" cy="730950"/>
            <a:chOff x="6601914" y="3685068"/>
            <a:chExt cx="1090935" cy="1092304"/>
          </a:xfrm>
          <a:solidFill>
            <a:srgbClr val="616161"/>
          </a:solidFill>
        </p:grpSpPr>
        <p:sp>
          <p:nvSpPr>
            <p:cNvPr id="40" name="Freeform 39">
              <a:extLst>
                <a:ext uri="{FF2B5EF4-FFF2-40B4-BE49-F238E27FC236}">
                  <a16:creationId xmlns:a16="http://schemas.microsoft.com/office/drawing/2014/main" id="{35314FFE-ED2D-ED85-DF53-7A05C4930D29}"/>
                </a:ext>
              </a:extLst>
            </p:cNvPr>
            <p:cNvSpPr/>
            <p:nvPr/>
          </p:nvSpPr>
          <p:spPr>
            <a:xfrm>
              <a:off x="7504284" y="3891461"/>
              <a:ext cx="49369" cy="469012"/>
            </a:xfrm>
            <a:custGeom>
              <a:avLst/>
              <a:gdLst>
                <a:gd name="connsiteX0" fmla="*/ -1 w 49369"/>
                <a:gd name="connsiteY0" fmla="*/ 0 h 469012"/>
                <a:gd name="connsiteX1" fmla="*/ 49369 w 49369"/>
                <a:gd name="connsiteY1" fmla="*/ 0 h 469012"/>
                <a:gd name="connsiteX2" fmla="*/ 49369 w 49369"/>
                <a:gd name="connsiteY2" fmla="*/ 469012 h 469012"/>
                <a:gd name="connsiteX3" fmla="*/ -1 w 49369"/>
                <a:gd name="connsiteY3" fmla="*/ 469012 h 469012"/>
              </a:gdLst>
              <a:ahLst/>
              <a:cxnLst>
                <a:cxn ang="0">
                  <a:pos x="connsiteX0" y="connsiteY0"/>
                </a:cxn>
                <a:cxn ang="0">
                  <a:pos x="connsiteX1" y="connsiteY1"/>
                </a:cxn>
                <a:cxn ang="0">
                  <a:pos x="connsiteX2" y="connsiteY2"/>
                </a:cxn>
                <a:cxn ang="0">
                  <a:pos x="connsiteX3" y="connsiteY3"/>
                </a:cxn>
              </a:cxnLst>
              <a:rect l="l" t="t" r="r" b="b"/>
              <a:pathLst>
                <a:path w="49369" h="469012">
                  <a:moveTo>
                    <a:pt x="-1" y="0"/>
                  </a:moveTo>
                  <a:lnTo>
                    <a:pt x="49369" y="0"/>
                  </a:lnTo>
                  <a:lnTo>
                    <a:pt x="49369" y="469012"/>
                  </a:lnTo>
                  <a:lnTo>
                    <a:pt x="-1" y="469012"/>
                  </a:lnTo>
                  <a:close/>
                </a:path>
              </a:pathLst>
            </a:custGeom>
            <a:solidFill>
              <a:srgbClr val="B41F7A"/>
            </a:solidFill>
            <a:ln w="27426" cap="flat">
              <a:noFill/>
              <a:prstDash val="solid"/>
              <a:miter/>
            </a:ln>
          </p:spPr>
          <p:txBody>
            <a:bodyPr rtlCol="0" anchor="ctr"/>
            <a:lstStyle/>
            <a:p>
              <a:pPr algn="l" rtl="0"/>
              <a:endParaRPr lang="en-US"/>
            </a:p>
          </p:txBody>
        </p:sp>
        <p:sp>
          <p:nvSpPr>
            <p:cNvPr id="41" name="Freeform 40">
              <a:extLst>
                <a:ext uri="{FF2B5EF4-FFF2-40B4-BE49-F238E27FC236}">
                  <a16:creationId xmlns:a16="http://schemas.microsoft.com/office/drawing/2014/main" id="{EAD858E3-2099-37E0-A3FA-27915737610C}"/>
                </a:ext>
              </a:extLst>
            </p:cNvPr>
            <p:cNvSpPr/>
            <p:nvPr/>
          </p:nvSpPr>
          <p:spPr>
            <a:xfrm>
              <a:off x="6708882" y="3822892"/>
              <a:ext cx="230392" cy="255076"/>
            </a:xfrm>
            <a:custGeom>
              <a:avLst/>
              <a:gdLst>
                <a:gd name="connsiteX0" fmla="*/ -1 w 230392"/>
                <a:gd name="connsiteY0" fmla="*/ 0 h 255076"/>
                <a:gd name="connsiteX1" fmla="*/ 230392 w 230392"/>
                <a:gd name="connsiteY1" fmla="*/ 0 h 255076"/>
                <a:gd name="connsiteX2" fmla="*/ 230392 w 230392"/>
                <a:gd name="connsiteY2" fmla="*/ 255077 h 255076"/>
                <a:gd name="connsiteX3" fmla="*/ -1 w 230392"/>
                <a:gd name="connsiteY3" fmla="*/ 255077 h 255076"/>
              </a:gdLst>
              <a:ahLst/>
              <a:cxnLst>
                <a:cxn ang="0">
                  <a:pos x="connsiteX0" y="connsiteY0"/>
                </a:cxn>
                <a:cxn ang="0">
                  <a:pos x="connsiteX1" y="connsiteY1"/>
                </a:cxn>
                <a:cxn ang="0">
                  <a:pos x="connsiteX2" y="connsiteY2"/>
                </a:cxn>
                <a:cxn ang="0">
                  <a:pos x="connsiteX3" y="connsiteY3"/>
                </a:cxn>
              </a:cxnLst>
              <a:rect l="l" t="t" r="r" b="b"/>
              <a:pathLst>
                <a:path w="230392" h="255076">
                  <a:moveTo>
                    <a:pt x="-1" y="0"/>
                  </a:moveTo>
                  <a:lnTo>
                    <a:pt x="230392" y="0"/>
                  </a:lnTo>
                  <a:lnTo>
                    <a:pt x="230392" y="255077"/>
                  </a:lnTo>
                  <a:lnTo>
                    <a:pt x="-1" y="255077"/>
                  </a:lnTo>
                  <a:close/>
                </a:path>
              </a:pathLst>
            </a:custGeom>
            <a:solidFill>
              <a:srgbClr val="B41F7A"/>
            </a:solidFill>
            <a:ln w="27426" cap="flat">
              <a:noFill/>
              <a:prstDash val="solid"/>
              <a:miter/>
            </a:ln>
          </p:spPr>
          <p:txBody>
            <a:bodyPr rtlCol="0" anchor="ctr"/>
            <a:lstStyle/>
            <a:p>
              <a:pPr algn="l" rtl="0"/>
              <a:endParaRPr lang="en-US"/>
            </a:p>
          </p:txBody>
        </p:sp>
        <p:grpSp>
          <p:nvGrpSpPr>
            <p:cNvPr id="42" name="Graphic 3">
              <a:extLst>
                <a:ext uri="{FF2B5EF4-FFF2-40B4-BE49-F238E27FC236}">
                  <a16:creationId xmlns:a16="http://schemas.microsoft.com/office/drawing/2014/main" id="{465E6BAA-E7A4-24F9-22A6-C2819A891D53}"/>
                </a:ext>
              </a:extLst>
            </p:cNvPr>
            <p:cNvGrpSpPr/>
            <p:nvPr/>
          </p:nvGrpSpPr>
          <p:grpSpPr>
            <a:xfrm>
              <a:off x="6601914" y="3685068"/>
              <a:ext cx="1090935" cy="1092304"/>
              <a:chOff x="6601914" y="3685068"/>
              <a:chExt cx="1090935" cy="1092304"/>
            </a:xfrm>
            <a:grpFill/>
          </p:grpSpPr>
          <p:sp>
            <p:nvSpPr>
              <p:cNvPr id="43" name="Freeform 42">
                <a:extLst>
                  <a:ext uri="{FF2B5EF4-FFF2-40B4-BE49-F238E27FC236}">
                    <a16:creationId xmlns:a16="http://schemas.microsoft.com/office/drawing/2014/main" id="{031E6EF9-01C1-15B8-51B2-E63C7AD55D22}"/>
                  </a:ext>
                </a:extLst>
              </p:cNvPr>
              <p:cNvSpPr/>
              <p:nvPr/>
            </p:nvSpPr>
            <p:spPr>
              <a:xfrm>
                <a:off x="7136754" y="4173965"/>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pPr algn="l" rtl="0"/>
                <a:endParaRPr lang="en-US"/>
              </a:p>
            </p:txBody>
          </p:sp>
          <p:sp>
            <p:nvSpPr>
              <p:cNvPr id="195" name="Freeform 194">
                <a:extLst>
                  <a:ext uri="{FF2B5EF4-FFF2-40B4-BE49-F238E27FC236}">
                    <a16:creationId xmlns:a16="http://schemas.microsoft.com/office/drawing/2014/main" id="{38EB0DDF-C6CF-3E4E-D27B-A9EB5950475E}"/>
                  </a:ext>
                </a:extLst>
              </p:cNvPr>
              <p:cNvSpPr/>
              <p:nvPr/>
            </p:nvSpPr>
            <p:spPr>
              <a:xfrm>
                <a:off x="7136754" y="4126625"/>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6" y="22656"/>
                      <a:pt x="0" y="17170"/>
                      <a:pt x="0" y="11684"/>
                    </a:cubicBezTo>
                    <a:cubicBezTo>
                      <a:pt x="0" y="6199"/>
                      <a:pt x="5486" y="714"/>
                      <a:pt x="10970" y="714"/>
                    </a:cubicBezTo>
                    <a:cubicBezTo>
                      <a:pt x="19200" y="-2029"/>
                      <a:pt x="21942" y="3456"/>
                      <a:pt x="21942" y="11684"/>
                    </a:cubicBezTo>
                    <a:lnTo>
                      <a:pt x="21942" y="11684"/>
                    </a:lnTo>
                    <a:close/>
                  </a:path>
                </a:pathLst>
              </a:custGeom>
              <a:grpFill/>
              <a:ln w="27426" cap="flat">
                <a:noFill/>
                <a:prstDash val="solid"/>
                <a:miter/>
              </a:ln>
            </p:spPr>
            <p:txBody>
              <a:bodyPr rtlCol="0" anchor="ctr"/>
              <a:lstStyle/>
              <a:p>
                <a:pPr algn="l" rtl="0"/>
                <a:endParaRPr lang="en-US"/>
              </a:p>
            </p:txBody>
          </p:sp>
          <p:grpSp>
            <p:nvGrpSpPr>
              <p:cNvPr id="196" name="Graphic 3">
                <a:extLst>
                  <a:ext uri="{FF2B5EF4-FFF2-40B4-BE49-F238E27FC236}">
                    <a16:creationId xmlns:a16="http://schemas.microsoft.com/office/drawing/2014/main" id="{EFADF559-611C-4A8C-DC1A-20C332D38ED2}"/>
                  </a:ext>
                </a:extLst>
              </p:cNvPr>
              <p:cNvGrpSpPr/>
              <p:nvPr/>
            </p:nvGrpSpPr>
            <p:grpSpPr>
              <a:xfrm>
                <a:off x="6601914" y="3685068"/>
                <a:ext cx="1090935" cy="1092304"/>
                <a:chOff x="6601914" y="3685068"/>
                <a:chExt cx="1090935" cy="1092304"/>
              </a:xfrm>
              <a:grpFill/>
            </p:grpSpPr>
            <p:sp>
              <p:nvSpPr>
                <p:cNvPr id="218" name="Freeform 217">
                  <a:extLst>
                    <a:ext uri="{FF2B5EF4-FFF2-40B4-BE49-F238E27FC236}">
                      <a16:creationId xmlns:a16="http://schemas.microsoft.com/office/drawing/2014/main" id="{ED6DF034-67EB-5C5E-AAD1-F4FBCE4E9109}"/>
                    </a:ext>
                  </a:extLst>
                </p:cNvPr>
                <p:cNvSpPr/>
                <p:nvPr/>
              </p:nvSpPr>
              <p:spPr>
                <a:xfrm>
                  <a:off x="7136754" y="4077969"/>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pPr algn="l" rtl="0"/>
                  <a:endParaRPr lang="en-US"/>
                </a:p>
              </p:txBody>
            </p:sp>
            <p:sp>
              <p:nvSpPr>
                <p:cNvPr id="219" name="Freeform 218">
                  <a:extLst>
                    <a:ext uri="{FF2B5EF4-FFF2-40B4-BE49-F238E27FC236}">
                      <a16:creationId xmlns:a16="http://schemas.microsoft.com/office/drawing/2014/main" id="{13F5F331-26C1-B05C-E48A-2DAEF65F7C9C}"/>
                    </a:ext>
                  </a:extLst>
                </p:cNvPr>
                <p:cNvSpPr/>
                <p:nvPr/>
              </p:nvSpPr>
              <p:spPr>
                <a:xfrm>
                  <a:off x="6601914" y="3685068"/>
                  <a:ext cx="1090935" cy="1092304"/>
                </a:xfrm>
                <a:custGeom>
                  <a:avLst/>
                  <a:gdLst>
                    <a:gd name="connsiteX0" fmla="*/ 1088879 w 1090935"/>
                    <a:gd name="connsiteY0" fmla="*/ 102168 h 1092304"/>
                    <a:gd name="connsiteX1" fmla="*/ 1028538 w 1090935"/>
                    <a:gd name="connsiteY1" fmla="*/ 6171 h 1092304"/>
                    <a:gd name="connsiteX2" fmla="*/ 1009338 w 1090935"/>
                    <a:gd name="connsiteY2" fmla="*/ 6171 h 1092304"/>
                    <a:gd name="connsiteX3" fmla="*/ 948997 w 1090935"/>
                    <a:gd name="connsiteY3" fmla="*/ 102168 h 1092304"/>
                    <a:gd name="connsiteX4" fmla="*/ 946255 w 1090935"/>
                    <a:gd name="connsiteY4" fmla="*/ 107654 h 1092304"/>
                    <a:gd name="connsiteX5" fmla="*/ 946255 w 1090935"/>
                    <a:gd name="connsiteY5" fmla="*/ 332560 h 1092304"/>
                    <a:gd name="connsiteX6" fmla="*/ 614379 w 1090935"/>
                    <a:gd name="connsiteY6" fmla="*/ 332560 h 1092304"/>
                    <a:gd name="connsiteX7" fmla="*/ 655520 w 1090935"/>
                    <a:gd name="connsiteY7" fmla="*/ 272219 h 1092304"/>
                    <a:gd name="connsiteX8" fmla="*/ 671978 w 1090935"/>
                    <a:gd name="connsiteY8" fmla="*/ 272219 h 1092304"/>
                    <a:gd name="connsiteX9" fmla="*/ 682948 w 1090935"/>
                    <a:gd name="connsiteY9" fmla="*/ 266733 h 1092304"/>
                    <a:gd name="connsiteX10" fmla="*/ 682948 w 1090935"/>
                    <a:gd name="connsiteY10" fmla="*/ 255762 h 1092304"/>
                    <a:gd name="connsiteX11" fmla="*/ 661006 w 1090935"/>
                    <a:gd name="connsiteY11" fmla="*/ 198164 h 1092304"/>
                    <a:gd name="connsiteX12" fmla="*/ 661006 w 1090935"/>
                    <a:gd name="connsiteY12" fmla="*/ 187193 h 1092304"/>
                    <a:gd name="connsiteX13" fmla="*/ 696662 w 1090935"/>
                    <a:gd name="connsiteY13" fmla="*/ 140567 h 1092304"/>
                    <a:gd name="connsiteX14" fmla="*/ 696662 w 1090935"/>
                    <a:gd name="connsiteY14" fmla="*/ 115881 h 1092304"/>
                    <a:gd name="connsiteX15" fmla="*/ 685692 w 1090935"/>
                    <a:gd name="connsiteY15" fmla="*/ 104911 h 1092304"/>
                    <a:gd name="connsiteX16" fmla="*/ 482726 w 1090935"/>
                    <a:gd name="connsiteY16" fmla="*/ 104911 h 1092304"/>
                    <a:gd name="connsiteX17" fmla="*/ 422385 w 1090935"/>
                    <a:gd name="connsiteY17" fmla="*/ 165251 h 1092304"/>
                    <a:gd name="connsiteX18" fmla="*/ 422385 w 1090935"/>
                    <a:gd name="connsiteY18" fmla="*/ 231078 h 1092304"/>
                    <a:gd name="connsiteX19" fmla="*/ 471756 w 1090935"/>
                    <a:gd name="connsiteY19" fmla="*/ 329817 h 1092304"/>
                    <a:gd name="connsiteX20" fmla="*/ 397701 w 1090935"/>
                    <a:gd name="connsiteY20" fmla="*/ 329817 h 1092304"/>
                    <a:gd name="connsiteX21" fmla="*/ 400443 w 1090935"/>
                    <a:gd name="connsiteY21" fmla="*/ 318846 h 1092304"/>
                    <a:gd name="connsiteX22" fmla="*/ 400443 w 1090935"/>
                    <a:gd name="connsiteY22" fmla="*/ 11657 h 1092304"/>
                    <a:gd name="connsiteX23" fmla="*/ 389473 w 1090935"/>
                    <a:gd name="connsiteY23" fmla="*/ 686 h 1092304"/>
                    <a:gd name="connsiteX24" fmla="*/ 10970 w 1090935"/>
                    <a:gd name="connsiteY24" fmla="*/ 686 h 1092304"/>
                    <a:gd name="connsiteX25" fmla="*/ 0 w 1090935"/>
                    <a:gd name="connsiteY25" fmla="*/ 11657 h 1092304"/>
                    <a:gd name="connsiteX26" fmla="*/ 0 w 1090935"/>
                    <a:gd name="connsiteY26" fmla="*/ 318846 h 1092304"/>
                    <a:gd name="connsiteX27" fmla="*/ 35656 w 1090935"/>
                    <a:gd name="connsiteY27" fmla="*/ 354502 h 1092304"/>
                    <a:gd name="connsiteX28" fmla="*/ 117939 w 1090935"/>
                    <a:gd name="connsiteY28" fmla="*/ 354502 h 1092304"/>
                    <a:gd name="connsiteX29" fmla="*/ 117939 w 1090935"/>
                    <a:gd name="connsiteY29" fmla="*/ 379187 h 1092304"/>
                    <a:gd name="connsiteX30" fmla="*/ 178280 w 1090935"/>
                    <a:gd name="connsiteY30" fmla="*/ 439527 h 1092304"/>
                    <a:gd name="connsiteX31" fmla="*/ 414157 w 1090935"/>
                    <a:gd name="connsiteY31" fmla="*/ 439527 h 1092304"/>
                    <a:gd name="connsiteX32" fmla="*/ 414157 w 1090935"/>
                    <a:gd name="connsiteY32" fmla="*/ 664434 h 1092304"/>
                    <a:gd name="connsiteX33" fmla="*/ 320904 w 1090935"/>
                    <a:gd name="connsiteY33" fmla="*/ 999051 h 1092304"/>
                    <a:gd name="connsiteX34" fmla="*/ 246849 w 1090935"/>
                    <a:gd name="connsiteY34" fmla="*/ 1081334 h 1092304"/>
                    <a:gd name="connsiteX35" fmla="*/ 257819 w 1090935"/>
                    <a:gd name="connsiteY35" fmla="*/ 1092305 h 1092304"/>
                    <a:gd name="connsiteX36" fmla="*/ 471756 w 1090935"/>
                    <a:gd name="connsiteY36" fmla="*/ 1092305 h 1092304"/>
                    <a:gd name="connsiteX37" fmla="*/ 482726 w 1090935"/>
                    <a:gd name="connsiteY37" fmla="*/ 1081334 h 1092304"/>
                    <a:gd name="connsiteX38" fmla="*/ 482726 w 1090935"/>
                    <a:gd name="connsiteY38" fmla="*/ 1010022 h 1092304"/>
                    <a:gd name="connsiteX39" fmla="*/ 543068 w 1090935"/>
                    <a:gd name="connsiteY39" fmla="*/ 774144 h 1092304"/>
                    <a:gd name="connsiteX40" fmla="*/ 603409 w 1090935"/>
                    <a:gd name="connsiteY40" fmla="*/ 1010022 h 1092304"/>
                    <a:gd name="connsiteX41" fmla="*/ 603409 w 1090935"/>
                    <a:gd name="connsiteY41" fmla="*/ 1078591 h 1092304"/>
                    <a:gd name="connsiteX42" fmla="*/ 614379 w 1090935"/>
                    <a:gd name="connsiteY42" fmla="*/ 1089562 h 1092304"/>
                    <a:gd name="connsiteX43" fmla="*/ 828316 w 1090935"/>
                    <a:gd name="connsiteY43" fmla="*/ 1089562 h 1092304"/>
                    <a:gd name="connsiteX44" fmla="*/ 839286 w 1090935"/>
                    <a:gd name="connsiteY44" fmla="*/ 1078591 h 1092304"/>
                    <a:gd name="connsiteX45" fmla="*/ 757003 w 1090935"/>
                    <a:gd name="connsiteY45" fmla="*/ 996308 h 1092304"/>
                    <a:gd name="connsiteX46" fmla="*/ 754261 w 1090935"/>
                    <a:gd name="connsiteY46" fmla="*/ 996308 h 1092304"/>
                    <a:gd name="connsiteX47" fmla="*/ 674720 w 1090935"/>
                    <a:gd name="connsiteY47" fmla="*/ 661691 h 1092304"/>
                    <a:gd name="connsiteX48" fmla="*/ 674720 w 1090935"/>
                    <a:gd name="connsiteY48" fmla="*/ 436785 h 1092304"/>
                    <a:gd name="connsiteX49" fmla="*/ 910599 w 1090935"/>
                    <a:gd name="connsiteY49" fmla="*/ 436785 h 1092304"/>
                    <a:gd name="connsiteX50" fmla="*/ 946255 w 1090935"/>
                    <a:gd name="connsiteY50" fmla="*/ 425814 h 1092304"/>
                    <a:gd name="connsiteX51" fmla="*/ 946255 w 1090935"/>
                    <a:gd name="connsiteY51" fmla="*/ 521810 h 1092304"/>
                    <a:gd name="connsiteX52" fmla="*/ 957225 w 1090935"/>
                    <a:gd name="connsiteY52" fmla="*/ 532782 h 1092304"/>
                    <a:gd name="connsiteX53" fmla="*/ 968197 w 1090935"/>
                    <a:gd name="connsiteY53" fmla="*/ 521810 h 1092304"/>
                    <a:gd name="connsiteX54" fmla="*/ 968197 w 1090935"/>
                    <a:gd name="connsiteY54" fmla="*/ 118624 h 1092304"/>
                    <a:gd name="connsiteX55" fmla="*/ 1014824 w 1090935"/>
                    <a:gd name="connsiteY55" fmla="*/ 118624 h 1092304"/>
                    <a:gd name="connsiteX56" fmla="*/ 1014824 w 1090935"/>
                    <a:gd name="connsiteY56" fmla="*/ 250277 h 1092304"/>
                    <a:gd name="connsiteX57" fmla="*/ 1025794 w 1090935"/>
                    <a:gd name="connsiteY57" fmla="*/ 261248 h 1092304"/>
                    <a:gd name="connsiteX58" fmla="*/ 1036766 w 1090935"/>
                    <a:gd name="connsiteY58" fmla="*/ 250277 h 1092304"/>
                    <a:gd name="connsiteX59" fmla="*/ 1036766 w 1090935"/>
                    <a:gd name="connsiteY59" fmla="*/ 118624 h 1092304"/>
                    <a:gd name="connsiteX60" fmla="*/ 1061451 w 1090935"/>
                    <a:gd name="connsiteY60" fmla="*/ 118624 h 1092304"/>
                    <a:gd name="connsiteX61" fmla="*/ 1061451 w 1090935"/>
                    <a:gd name="connsiteY61" fmla="*/ 557466 h 1092304"/>
                    <a:gd name="connsiteX62" fmla="*/ 954483 w 1090935"/>
                    <a:gd name="connsiteY62" fmla="*/ 557466 h 1092304"/>
                    <a:gd name="connsiteX63" fmla="*/ 943511 w 1090935"/>
                    <a:gd name="connsiteY63" fmla="*/ 568437 h 1092304"/>
                    <a:gd name="connsiteX64" fmla="*/ 943511 w 1090935"/>
                    <a:gd name="connsiteY64" fmla="*/ 650720 h 1092304"/>
                    <a:gd name="connsiteX65" fmla="*/ 1003852 w 1090935"/>
                    <a:gd name="connsiteY65" fmla="*/ 711061 h 1092304"/>
                    <a:gd name="connsiteX66" fmla="*/ 1028538 w 1090935"/>
                    <a:gd name="connsiteY66" fmla="*/ 711061 h 1092304"/>
                    <a:gd name="connsiteX67" fmla="*/ 1088879 w 1090935"/>
                    <a:gd name="connsiteY67" fmla="*/ 650720 h 1092304"/>
                    <a:gd name="connsiteX68" fmla="*/ 1088879 w 1090935"/>
                    <a:gd name="connsiteY68" fmla="*/ 104911 h 1092304"/>
                    <a:gd name="connsiteX69" fmla="*/ 1088879 w 1090935"/>
                    <a:gd name="connsiteY69" fmla="*/ 102168 h 1092304"/>
                    <a:gd name="connsiteX70" fmla="*/ 1088879 w 1090935"/>
                    <a:gd name="connsiteY70" fmla="*/ 102168 h 1092304"/>
                    <a:gd name="connsiteX71" fmla="*/ 452557 w 1090935"/>
                    <a:gd name="connsiteY71" fmla="*/ 167994 h 1092304"/>
                    <a:gd name="connsiteX72" fmla="*/ 488212 w 1090935"/>
                    <a:gd name="connsiteY72" fmla="*/ 132338 h 1092304"/>
                    <a:gd name="connsiteX73" fmla="*/ 677464 w 1090935"/>
                    <a:gd name="connsiteY73" fmla="*/ 132338 h 1092304"/>
                    <a:gd name="connsiteX74" fmla="*/ 677464 w 1090935"/>
                    <a:gd name="connsiteY74" fmla="*/ 143309 h 1092304"/>
                    <a:gd name="connsiteX75" fmla="*/ 652778 w 1090935"/>
                    <a:gd name="connsiteY75" fmla="*/ 167994 h 1092304"/>
                    <a:gd name="connsiteX76" fmla="*/ 499184 w 1090935"/>
                    <a:gd name="connsiteY76" fmla="*/ 167994 h 1092304"/>
                    <a:gd name="connsiteX77" fmla="*/ 488212 w 1090935"/>
                    <a:gd name="connsiteY77" fmla="*/ 178965 h 1092304"/>
                    <a:gd name="connsiteX78" fmla="*/ 488212 w 1090935"/>
                    <a:gd name="connsiteY78" fmla="*/ 189936 h 1092304"/>
                    <a:gd name="connsiteX79" fmla="*/ 452557 w 1090935"/>
                    <a:gd name="connsiteY79" fmla="*/ 225592 h 1092304"/>
                    <a:gd name="connsiteX80" fmla="*/ 452557 w 1090935"/>
                    <a:gd name="connsiteY80" fmla="*/ 167994 h 1092304"/>
                    <a:gd name="connsiteX81" fmla="*/ 452557 w 1090935"/>
                    <a:gd name="connsiteY81" fmla="*/ 250277 h 1092304"/>
                    <a:gd name="connsiteX82" fmla="*/ 510154 w 1090935"/>
                    <a:gd name="connsiteY82" fmla="*/ 189936 h 1092304"/>
                    <a:gd name="connsiteX83" fmla="*/ 641807 w 1090935"/>
                    <a:gd name="connsiteY83" fmla="*/ 189936 h 1092304"/>
                    <a:gd name="connsiteX84" fmla="*/ 641807 w 1090935"/>
                    <a:gd name="connsiteY84" fmla="*/ 200907 h 1092304"/>
                    <a:gd name="connsiteX85" fmla="*/ 641807 w 1090935"/>
                    <a:gd name="connsiteY85" fmla="*/ 206393 h 1092304"/>
                    <a:gd name="connsiteX86" fmla="*/ 658264 w 1090935"/>
                    <a:gd name="connsiteY86" fmla="*/ 250277 h 1092304"/>
                    <a:gd name="connsiteX87" fmla="*/ 650036 w 1090935"/>
                    <a:gd name="connsiteY87" fmla="*/ 250277 h 1092304"/>
                    <a:gd name="connsiteX88" fmla="*/ 639064 w 1090935"/>
                    <a:gd name="connsiteY88" fmla="*/ 258505 h 1092304"/>
                    <a:gd name="connsiteX89" fmla="*/ 543068 w 1090935"/>
                    <a:gd name="connsiteY89" fmla="*/ 332560 h 1092304"/>
                    <a:gd name="connsiteX90" fmla="*/ 452557 w 1090935"/>
                    <a:gd name="connsiteY90" fmla="*/ 250277 h 1092304"/>
                    <a:gd name="connsiteX91" fmla="*/ 452557 w 1090935"/>
                    <a:gd name="connsiteY91" fmla="*/ 250277 h 1092304"/>
                    <a:gd name="connsiteX92" fmla="*/ 1020310 w 1090935"/>
                    <a:gd name="connsiteY92" fmla="*/ 36342 h 1092304"/>
                    <a:gd name="connsiteX93" fmla="*/ 1058708 w 1090935"/>
                    <a:gd name="connsiteY93" fmla="*/ 96682 h 1092304"/>
                    <a:gd name="connsiteX94" fmla="*/ 981910 w 1090935"/>
                    <a:gd name="connsiteY94" fmla="*/ 96682 h 1092304"/>
                    <a:gd name="connsiteX95" fmla="*/ 1020310 w 1090935"/>
                    <a:gd name="connsiteY95" fmla="*/ 36342 h 1092304"/>
                    <a:gd name="connsiteX96" fmla="*/ 381244 w 1090935"/>
                    <a:gd name="connsiteY96" fmla="*/ 285933 h 1092304"/>
                    <a:gd name="connsiteX97" fmla="*/ 213936 w 1090935"/>
                    <a:gd name="connsiteY97" fmla="*/ 285933 h 1092304"/>
                    <a:gd name="connsiteX98" fmla="*/ 213936 w 1090935"/>
                    <a:gd name="connsiteY98" fmla="*/ 25371 h 1092304"/>
                    <a:gd name="connsiteX99" fmla="*/ 381244 w 1090935"/>
                    <a:gd name="connsiteY99" fmla="*/ 25371 h 1092304"/>
                    <a:gd name="connsiteX100" fmla="*/ 381244 w 1090935"/>
                    <a:gd name="connsiteY100" fmla="*/ 285933 h 1092304"/>
                    <a:gd name="connsiteX101" fmla="*/ 24684 w 1090935"/>
                    <a:gd name="connsiteY101" fmla="*/ 321589 h 1092304"/>
                    <a:gd name="connsiteX102" fmla="*/ 24684 w 1090935"/>
                    <a:gd name="connsiteY102" fmla="*/ 25371 h 1092304"/>
                    <a:gd name="connsiteX103" fmla="*/ 191994 w 1090935"/>
                    <a:gd name="connsiteY103" fmla="*/ 25371 h 1092304"/>
                    <a:gd name="connsiteX104" fmla="*/ 191994 w 1090935"/>
                    <a:gd name="connsiteY104" fmla="*/ 285933 h 1092304"/>
                    <a:gd name="connsiteX105" fmla="*/ 60341 w 1090935"/>
                    <a:gd name="connsiteY105" fmla="*/ 285933 h 1092304"/>
                    <a:gd name="connsiteX106" fmla="*/ 49369 w 1090935"/>
                    <a:gd name="connsiteY106" fmla="*/ 296904 h 1092304"/>
                    <a:gd name="connsiteX107" fmla="*/ 60341 w 1090935"/>
                    <a:gd name="connsiteY107" fmla="*/ 307875 h 1092304"/>
                    <a:gd name="connsiteX108" fmla="*/ 381244 w 1090935"/>
                    <a:gd name="connsiteY108" fmla="*/ 307875 h 1092304"/>
                    <a:gd name="connsiteX109" fmla="*/ 381244 w 1090935"/>
                    <a:gd name="connsiteY109" fmla="*/ 318846 h 1092304"/>
                    <a:gd name="connsiteX110" fmla="*/ 370274 w 1090935"/>
                    <a:gd name="connsiteY110" fmla="*/ 329817 h 1092304"/>
                    <a:gd name="connsiteX111" fmla="*/ 35656 w 1090935"/>
                    <a:gd name="connsiteY111" fmla="*/ 329817 h 1092304"/>
                    <a:gd name="connsiteX112" fmla="*/ 24684 w 1090935"/>
                    <a:gd name="connsiteY112" fmla="*/ 321589 h 1092304"/>
                    <a:gd name="connsiteX113" fmla="*/ 24684 w 1090935"/>
                    <a:gd name="connsiteY113" fmla="*/ 321589 h 1092304"/>
                    <a:gd name="connsiteX114" fmla="*/ 142624 w 1090935"/>
                    <a:gd name="connsiteY114" fmla="*/ 381930 h 1092304"/>
                    <a:gd name="connsiteX115" fmla="*/ 142624 w 1090935"/>
                    <a:gd name="connsiteY115" fmla="*/ 357245 h 1092304"/>
                    <a:gd name="connsiteX116" fmla="*/ 178280 w 1090935"/>
                    <a:gd name="connsiteY116" fmla="*/ 357245 h 1092304"/>
                    <a:gd name="connsiteX117" fmla="*/ 178280 w 1090935"/>
                    <a:gd name="connsiteY117" fmla="*/ 417585 h 1092304"/>
                    <a:gd name="connsiteX118" fmla="*/ 142624 w 1090935"/>
                    <a:gd name="connsiteY118" fmla="*/ 381930 h 1092304"/>
                    <a:gd name="connsiteX119" fmla="*/ 142624 w 1090935"/>
                    <a:gd name="connsiteY119" fmla="*/ 381930 h 1092304"/>
                    <a:gd name="connsiteX120" fmla="*/ 463527 w 1090935"/>
                    <a:gd name="connsiteY120" fmla="*/ 1067620 h 1092304"/>
                    <a:gd name="connsiteX121" fmla="*/ 274277 w 1090935"/>
                    <a:gd name="connsiteY121" fmla="*/ 1067620 h 1092304"/>
                    <a:gd name="connsiteX122" fmla="*/ 331874 w 1090935"/>
                    <a:gd name="connsiteY122" fmla="*/ 1020993 h 1092304"/>
                    <a:gd name="connsiteX123" fmla="*/ 463527 w 1090935"/>
                    <a:gd name="connsiteY123" fmla="*/ 1020993 h 1092304"/>
                    <a:gd name="connsiteX124" fmla="*/ 463527 w 1090935"/>
                    <a:gd name="connsiteY124" fmla="*/ 1067620 h 1092304"/>
                    <a:gd name="connsiteX125" fmla="*/ 817344 w 1090935"/>
                    <a:gd name="connsiteY125" fmla="*/ 1067620 h 1092304"/>
                    <a:gd name="connsiteX126" fmla="*/ 628093 w 1090935"/>
                    <a:gd name="connsiteY126" fmla="*/ 1067620 h 1092304"/>
                    <a:gd name="connsiteX127" fmla="*/ 628093 w 1090935"/>
                    <a:gd name="connsiteY127" fmla="*/ 1020993 h 1092304"/>
                    <a:gd name="connsiteX128" fmla="*/ 759747 w 1090935"/>
                    <a:gd name="connsiteY128" fmla="*/ 1020993 h 1092304"/>
                    <a:gd name="connsiteX129" fmla="*/ 817344 w 1090935"/>
                    <a:gd name="connsiteY129" fmla="*/ 1067620 h 1092304"/>
                    <a:gd name="connsiteX130" fmla="*/ 817344 w 1090935"/>
                    <a:gd name="connsiteY130" fmla="*/ 1067620 h 1092304"/>
                    <a:gd name="connsiteX131" fmla="*/ 663750 w 1090935"/>
                    <a:gd name="connsiteY131" fmla="*/ 417585 h 1092304"/>
                    <a:gd name="connsiteX132" fmla="*/ 652778 w 1090935"/>
                    <a:gd name="connsiteY132" fmla="*/ 428557 h 1092304"/>
                    <a:gd name="connsiteX133" fmla="*/ 652778 w 1090935"/>
                    <a:gd name="connsiteY133" fmla="*/ 631521 h 1092304"/>
                    <a:gd name="connsiteX134" fmla="*/ 474498 w 1090935"/>
                    <a:gd name="connsiteY134" fmla="*/ 631521 h 1092304"/>
                    <a:gd name="connsiteX135" fmla="*/ 463527 w 1090935"/>
                    <a:gd name="connsiteY135" fmla="*/ 642492 h 1092304"/>
                    <a:gd name="connsiteX136" fmla="*/ 474498 w 1090935"/>
                    <a:gd name="connsiteY136" fmla="*/ 653463 h 1092304"/>
                    <a:gd name="connsiteX137" fmla="*/ 652778 w 1090935"/>
                    <a:gd name="connsiteY137" fmla="*/ 653463 h 1092304"/>
                    <a:gd name="connsiteX138" fmla="*/ 652778 w 1090935"/>
                    <a:gd name="connsiteY138" fmla="*/ 664434 h 1092304"/>
                    <a:gd name="connsiteX139" fmla="*/ 652778 w 1090935"/>
                    <a:gd name="connsiteY139" fmla="*/ 667177 h 1092304"/>
                    <a:gd name="connsiteX140" fmla="*/ 732319 w 1090935"/>
                    <a:gd name="connsiteY140" fmla="*/ 996308 h 1092304"/>
                    <a:gd name="connsiteX141" fmla="*/ 625351 w 1090935"/>
                    <a:gd name="connsiteY141" fmla="*/ 996308 h 1092304"/>
                    <a:gd name="connsiteX142" fmla="*/ 556781 w 1090935"/>
                    <a:gd name="connsiteY142" fmla="*/ 722032 h 1092304"/>
                    <a:gd name="connsiteX143" fmla="*/ 545810 w 1090935"/>
                    <a:gd name="connsiteY143" fmla="*/ 713804 h 1092304"/>
                    <a:gd name="connsiteX144" fmla="*/ 534840 w 1090935"/>
                    <a:gd name="connsiteY144" fmla="*/ 722032 h 1092304"/>
                    <a:gd name="connsiteX145" fmla="*/ 466270 w 1090935"/>
                    <a:gd name="connsiteY145" fmla="*/ 996308 h 1092304"/>
                    <a:gd name="connsiteX146" fmla="*/ 348332 w 1090935"/>
                    <a:gd name="connsiteY146" fmla="*/ 996308 h 1092304"/>
                    <a:gd name="connsiteX147" fmla="*/ 438843 w 1090935"/>
                    <a:gd name="connsiteY147" fmla="*/ 667177 h 1092304"/>
                    <a:gd name="connsiteX148" fmla="*/ 438843 w 1090935"/>
                    <a:gd name="connsiteY148" fmla="*/ 664434 h 1092304"/>
                    <a:gd name="connsiteX149" fmla="*/ 438843 w 1090935"/>
                    <a:gd name="connsiteY149" fmla="*/ 428557 h 1092304"/>
                    <a:gd name="connsiteX150" fmla="*/ 427871 w 1090935"/>
                    <a:gd name="connsiteY150" fmla="*/ 417585 h 1092304"/>
                    <a:gd name="connsiteX151" fmla="*/ 202964 w 1090935"/>
                    <a:gd name="connsiteY151" fmla="*/ 417585 h 1092304"/>
                    <a:gd name="connsiteX152" fmla="*/ 202964 w 1090935"/>
                    <a:gd name="connsiteY152" fmla="*/ 357245 h 1092304"/>
                    <a:gd name="connsiteX153" fmla="*/ 891399 w 1090935"/>
                    <a:gd name="connsiteY153" fmla="*/ 357245 h 1092304"/>
                    <a:gd name="connsiteX154" fmla="*/ 891399 w 1090935"/>
                    <a:gd name="connsiteY154" fmla="*/ 417585 h 1092304"/>
                    <a:gd name="connsiteX155" fmla="*/ 663750 w 1090935"/>
                    <a:gd name="connsiteY155" fmla="*/ 417585 h 1092304"/>
                    <a:gd name="connsiteX156" fmla="*/ 913341 w 1090935"/>
                    <a:gd name="connsiteY156" fmla="*/ 417585 h 1092304"/>
                    <a:gd name="connsiteX157" fmla="*/ 913341 w 1090935"/>
                    <a:gd name="connsiteY157" fmla="*/ 357245 h 1092304"/>
                    <a:gd name="connsiteX158" fmla="*/ 948997 w 1090935"/>
                    <a:gd name="connsiteY158" fmla="*/ 357245 h 1092304"/>
                    <a:gd name="connsiteX159" fmla="*/ 948997 w 1090935"/>
                    <a:gd name="connsiteY159" fmla="*/ 381930 h 1092304"/>
                    <a:gd name="connsiteX160" fmla="*/ 913341 w 1090935"/>
                    <a:gd name="connsiteY160" fmla="*/ 417585 h 1092304"/>
                    <a:gd name="connsiteX161" fmla="*/ 913341 w 1090935"/>
                    <a:gd name="connsiteY161" fmla="*/ 417585 h 1092304"/>
                    <a:gd name="connsiteX162" fmla="*/ 1066936 w 1090935"/>
                    <a:gd name="connsiteY162" fmla="*/ 582151 h 1092304"/>
                    <a:gd name="connsiteX163" fmla="*/ 1066936 w 1090935"/>
                    <a:gd name="connsiteY163" fmla="*/ 606836 h 1092304"/>
                    <a:gd name="connsiteX164" fmla="*/ 970939 w 1090935"/>
                    <a:gd name="connsiteY164" fmla="*/ 606836 h 1092304"/>
                    <a:gd name="connsiteX165" fmla="*/ 970939 w 1090935"/>
                    <a:gd name="connsiteY165" fmla="*/ 582151 h 1092304"/>
                    <a:gd name="connsiteX166" fmla="*/ 1066936 w 1090935"/>
                    <a:gd name="connsiteY166" fmla="*/ 582151 h 1092304"/>
                    <a:gd name="connsiteX167" fmla="*/ 1031280 w 1090935"/>
                    <a:gd name="connsiteY167" fmla="*/ 689119 h 1092304"/>
                    <a:gd name="connsiteX168" fmla="*/ 1006596 w 1090935"/>
                    <a:gd name="connsiteY168" fmla="*/ 689119 h 1092304"/>
                    <a:gd name="connsiteX169" fmla="*/ 970939 w 1090935"/>
                    <a:gd name="connsiteY169" fmla="*/ 653463 h 1092304"/>
                    <a:gd name="connsiteX170" fmla="*/ 970939 w 1090935"/>
                    <a:gd name="connsiteY170" fmla="*/ 628778 h 1092304"/>
                    <a:gd name="connsiteX171" fmla="*/ 1066936 w 1090935"/>
                    <a:gd name="connsiteY171" fmla="*/ 628778 h 1092304"/>
                    <a:gd name="connsiteX172" fmla="*/ 1066936 w 1090935"/>
                    <a:gd name="connsiteY172" fmla="*/ 653463 h 1092304"/>
                    <a:gd name="connsiteX173" fmla="*/ 1031280 w 1090935"/>
                    <a:gd name="connsiteY173" fmla="*/ 689119 h 1092304"/>
                    <a:gd name="connsiteX174" fmla="*/ 1031280 w 1090935"/>
                    <a:gd name="connsiteY174" fmla="*/ 689119 h 109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90935" h="1092304">
                      <a:moveTo>
                        <a:pt x="1088879" y="102168"/>
                      </a:moveTo>
                      <a:lnTo>
                        <a:pt x="1028538" y="6171"/>
                      </a:lnTo>
                      <a:cubicBezTo>
                        <a:pt x="1023052" y="-2057"/>
                        <a:pt x="1012080" y="-2057"/>
                        <a:pt x="1009338" y="6171"/>
                      </a:cubicBezTo>
                      <a:lnTo>
                        <a:pt x="948997" y="102168"/>
                      </a:lnTo>
                      <a:cubicBezTo>
                        <a:pt x="948997" y="104911"/>
                        <a:pt x="946255" y="104911"/>
                        <a:pt x="946255" y="107654"/>
                      </a:cubicBezTo>
                      <a:lnTo>
                        <a:pt x="946255" y="332560"/>
                      </a:lnTo>
                      <a:lnTo>
                        <a:pt x="614379" y="332560"/>
                      </a:lnTo>
                      <a:cubicBezTo>
                        <a:pt x="633579" y="318846"/>
                        <a:pt x="650036" y="296904"/>
                        <a:pt x="655520" y="272219"/>
                      </a:cubicBezTo>
                      <a:lnTo>
                        <a:pt x="671978" y="272219"/>
                      </a:lnTo>
                      <a:cubicBezTo>
                        <a:pt x="674720" y="272219"/>
                        <a:pt x="680206" y="269476"/>
                        <a:pt x="682948" y="266733"/>
                      </a:cubicBezTo>
                      <a:cubicBezTo>
                        <a:pt x="685692" y="263991"/>
                        <a:pt x="685692" y="258505"/>
                        <a:pt x="682948" y="255762"/>
                      </a:cubicBezTo>
                      <a:lnTo>
                        <a:pt x="661006" y="198164"/>
                      </a:lnTo>
                      <a:lnTo>
                        <a:pt x="661006" y="187193"/>
                      </a:lnTo>
                      <a:cubicBezTo>
                        <a:pt x="680206" y="181708"/>
                        <a:pt x="696662" y="162509"/>
                        <a:pt x="696662" y="140567"/>
                      </a:cubicBezTo>
                      <a:lnTo>
                        <a:pt x="696662" y="115881"/>
                      </a:lnTo>
                      <a:cubicBezTo>
                        <a:pt x="696662" y="110396"/>
                        <a:pt x="691178" y="104911"/>
                        <a:pt x="685692" y="104911"/>
                      </a:cubicBezTo>
                      <a:lnTo>
                        <a:pt x="482726" y="104911"/>
                      </a:lnTo>
                      <a:cubicBezTo>
                        <a:pt x="449813" y="104911"/>
                        <a:pt x="422385" y="132338"/>
                        <a:pt x="422385" y="165251"/>
                      </a:cubicBezTo>
                      <a:lnTo>
                        <a:pt x="422385" y="231078"/>
                      </a:lnTo>
                      <a:cubicBezTo>
                        <a:pt x="422385" y="272219"/>
                        <a:pt x="441585" y="307875"/>
                        <a:pt x="471756" y="329817"/>
                      </a:cubicBezTo>
                      <a:lnTo>
                        <a:pt x="397701" y="329817"/>
                      </a:lnTo>
                      <a:cubicBezTo>
                        <a:pt x="397701" y="327074"/>
                        <a:pt x="400443" y="321589"/>
                        <a:pt x="400443" y="318846"/>
                      </a:cubicBezTo>
                      <a:lnTo>
                        <a:pt x="400443" y="11657"/>
                      </a:lnTo>
                      <a:cubicBezTo>
                        <a:pt x="400443" y="6171"/>
                        <a:pt x="394958" y="686"/>
                        <a:pt x="389473" y="686"/>
                      </a:cubicBezTo>
                      <a:lnTo>
                        <a:pt x="10970" y="686"/>
                      </a:lnTo>
                      <a:cubicBezTo>
                        <a:pt x="5486" y="686"/>
                        <a:pt x="0" y="6171"/>
                        <a:pt x="0" y="11657"/>
                      </a:cubicBezTo>
                      <a:lnTo>
                        <a:pt x="0" y="318846"/>
                      </a:lnTo>
                      <a:cubicBezTo>
                        <a:pt x="0" y="338045"/>
                        <a:pt x="16456" y="354502"/>
                        <a:pt x="35656" y="354502"/>
                      </a:cubicBezTo>
                      <a:lnTo>
                        <a:pt x="117939" y="354502"/>
                      </a:lnTo>
                      <a:lnTo>
                        <a:pt x="117939" y="379187"/>
                      </a:lnTo>
                      <a:cubicBezTo>
                        <a:pt x="117939" y="412100"/>
                        <a:pt x="145366" y="439527"/>
                        <a:pt x="178280" y="439527"/>
                      </a:cubicBezTo>
                      <a:lnTo>
                        <a:pt x="414157" y="439527"/>
                      </a:lnTo>
                      <a:lnTo>
                        <a:pt x="414157" y="664434"/>
                      </a:lnTo>
                      <a:lnTo>
                        <a:pt x="320904" y="999051"/>
                      </a:lnTo>
                      <a:cubicBezTo>
                        <a:pt x="279763" y="1004537"/>
                        <a:pt x="246849" y="1040193"/>
                        <a:pt x="246849" y="1081334"/>
                      </a:cubicBezTo>
                      <a:cubicBezTo>
                        <a:pt x="246849" y="1086820"/>
                        <a:pt x="252335" y="1092305"/>
                        <a:pt x="257819" y="1092305"/>
                      </a:cubicBezTo>
                      <a:lnTo>
                        <a:pt x="471756" y="1092305"/>
                      </a:lnTo>
                      <a:cubicBezTo>
                        <a:pt x="477241" y="1092305"/>
                        <a:pt x="482726" y="1086820"/>
                        <a:pt x="482726" y="1081334"/>
                      </a:cubicBezTo>
                      <a:lnTo>
                        <a:pt x="482726" y="1010022"/>
                      </a:lnTo>
                      <a:lnTo>
                        <a:pt x="543068" y="774144"/>
                      </a:lnTo>
                      <a:lnTo>
                        <a:pt x="603409" y="1010022"/>
                      </a:lnTo>
                      <a:lnTo>
                        <a:pt x="603409" y="1078591"/>
                      </a:lnTo>
                      <a:cubicBezTo>
                        <a:pt x="603409" y="1084077"/>
                        <a:pt x="608895" y="1089562"/>
                        <a:pt x="614379" y="1089562"/>
                      </a:cubicBezTo>
                      <a:lnTo>
                        <a:pt x="828316" y="1089562"/>
                      </a:lnTo>
                      <a:cubicBezTo>
                        <a:pt x="833800" y="1089562"/>
                        <a:pt x="839286" y="1084077"/>
                        <a:pt x="839286" y="1078591"/>
                      </a:cubicBezTo>
                      <a:cubicBezTo>
                        <a:pt x="839286" y="1031964"/>
                        <a:pt x="800888" y="996308"/>
                        <a:pt x="757003" y="996308"/>
                      </a:cubicBezTo>
                      <a:lnTo>
                        <a:pt x="754261" y="996308"/>
                      </a:lnTo>
                      <a:lnTo>
                        <a:pt x="674720" y="661691"/>
                      </a:lnTo>
                      <a:lnTo>
                        <a:pt x="674720" y="436785"/>
                      </a:lnTo>
                      <a:lnTo>
                        <a:pt x="910599" y="436785"/>
                      </a:lnTo>
                      <a:cubicBezTo>
                        <a:pt x="924313" y="436785"/>
                        <a:pt x="935283" y="431299"/>
                        <a:pt x="946255" y="425814"/>
                      </a:cubicBezTo>
                      <a:lnTo>
                        <a:pt x="946255" y="521810"/>
                      </a:lnTo>
                      <a:cubicBezTo>
                        <a:pt x="946255" y="527296"/>
                        <a:pt x="951741" y="532782"/>
                        <a:pt x="957225" y="532782"/>
                      </a:cubicBezTo>
                      <a:cubicBezTo>
                        <a:pt x="962711" y="532782"/>
                        <a:pt x="968197" y="527296"/>
                        <a:pt x="968197" y="521810"/>
                      </a:cubicBezTo>
                      <a:lnTo>
                        <a:pt x="968197" y="118624"/>
                      </a:lnTo>
                      <a:lnTo>
                        <a:pt x="1014824" y="118624"/>
                      </a:lnTo>
                      <a:lnTo>
                        <a:pt x="1014824" y="250277"/>
                      </a:lnTo>
                      <a:cubicBezTo>
                        <a:pt x="1014824" y="255762"/>
                        <a:pt x="1020310" y="261248"/>
                        <a:pt x="1025794" y="261248"/>
                      </a:cubicBezTo>
                      <a:cubicBezTo>
                        <a:pt x="1031280" y="261248"/>
                        <a:pt x="1036766" y="255762"/>
                        <a:pt x="1036766" y="250277"/>
                      </a:cubicBezTo>
                      <a:lnTo>
                        <a:pt x="1036766" y="118624"/>
                      </a:lnTo>
                      <a:lnTo>
                        <a:pt x="1061451" y="118624"/>
                      </a:lnTo>
                      <a:lnTo>
                        <a:pt x="1061451" y="557466"/>
                      </a:lnTo>
                      <a:lnTo>
                        <a:pt x="954483" y="557466"/>
                      </a:lnTo>
                      <a:cubicBezTo>
                        <a:pt x="948997" y="557466"/>
                        <a:pt x="943511" y="562952"/>
                        <a:pt x="943511" y="568437"/>
                      </a:cubicBezTo>
                      <a:lnTo>
                        <a:pt x="943511" y="650720"/>
                      </a:lnTo>
                      <a:cubicBezTo>
                        <a:pt x="943511" y="683634"/>
                        <a:pt x="970939" y="711061"/>
                        <a:pt x="1003852" y="711061"/>
                      </a:cubicBezTo>
                      <a:lnTo>
                        <a:pt x="1028538" y="711061"/>
                      </a:lnTo>
                      <a:cubicBezTo>
                        <a:pt x="1061451" y="711061"/>
                        <a:pt x="1088879" y="683634"/>
                        <a:pt x="1088879" y="650720"/>
                      </a:cubicBezTo>
                      <a:lnTo>
                        <a:pt x="1088879" y="104911"/>
                      </a:lnTo>
                      <a:cubicBezTo>
                        <a:pt x="1091621" y="104911"/>
                        <a:pt x="1091621" y="104911"/>
                        <a:pt x="1088879" y="102168"/>
                      </a:cubicBezTo>
                      <a:lnTo>
                        <a:pt x="1088879" y="102168"/>
                      </a:lnTo>
                      <a:close/>
                      <a:moveTo>
                        <a:pt x="452557" y="167994"/>
                      </a:moveTo>
                      <a:cubicBezTo>
                        <a:pt x="452557" y="148795"/>
                        <a:pt x="469013" y="132338"/>
                        <a:pt x="488212" y="132338"/>
                      </a:cubicBezTo>
                      <a:lnTo>
                        <a:pt x="677464" y="132338"/>
                      </a:lnTo>
                      <a:lnTo>
                        <a:pt x="677464" y="143309"/>
                      </a:lnTo>
                      <a:cubicBezTo>
                        <a:pt x="677464" y="157023"/>
                        <a:pt x="666492" y="167994"/>
                        <a:pt x="652778" y="167994"/>
                      </a:cubicBezTo>
                      <a:lnTo>
                        <a:pt x="499184" y="167994"/>
                      </a:lnTo>
                      <a:cubicBezTo>
                        <a:pt x="493698" y="167994"/>
                        <a:pt x="488212" y="173480"/>
                        <a:pt x="488212" y="178965"/>
                      </a:cubicBezTo>
                      <a:lnTo>
                        <a:pt x="488212" y="189936"/>
                      </a:lnTo>
                      <a:cubicBezTo>
                        <a:pt x="488212" y="209136"/>
                        <a:pt x="471756" y="225592"/>
                        <a:pt x="452557" y="225592"/>
                      </a:cubicBezTo>
                      <a:lnTo>
                        <a:pt x="452557" y="167994"/>
                      </a:lnTo>
                      <a:close/>
                      <a:moveTo>
                        <a:pt x="452557" y="250277"/>
                      </a:moveTo>
                      <a:cubicBezTo>
                        <a:pt x="485470" y="250277"/>
                        <a:pt x="510154" y="222849"/>
                        <a:pt x="510154" y="189936"/>
                      </a:cubicBezTo>
                      <a:lnTo>
                        <a:pt x="641807" y="189936"/>
                      </a:lnTo>
                      <a:lnTo>
                        <a:pt x="641807" y="200907"/>
                      </a:lnTo>
                      <a:cubicBezTo>
                        <a:pt x="641807" y="203650"/>
                        <a:pt x="641807" y="203650"/>
                        <a:pt x="641807" y="206393"/>
                      </a:cubicBezTo>
                      <a:lnTo>
                        <a:pt x="658264" y="250277"/>
                      </a:lnTo>
                      <a:lnTo>
                        <a:pt x="650036" y="250277"/>
                      </a:lnTo>
                      <a:cubicBezTo>
                        <a:pt x="644550" y="250277"/>
                        <a:pt x="639064" y="253020"/>
                        <a:pt x="639064" y="258505"/>
                      </a:cubicBezTo>
                      <a:cubicBezTo>
                        <a:pt x="628093" y="302389"/>
                        <a:pt x="589695" y="332560"/>
                        <a:pt x="543068" y="332560"/>
                      </a:cubicBezTo>
                      <a:cubicBezTo>
                        <a:pt x="499184" y="332560"/>
                        <a:pt x="460785" y="296904"/>
                        <a:pt x="452557" y="250277"/>
                      </a:cubicBezTo>
                      <a:lnTo>
                        <a:pt x="452557" y="250277"/>
                      </a:lnTo>
                      <a:close/>
                      <a:moveTo>
                        <a:pt x="1020310" y="36342"/>
                      </a:moveTo>
                      <a:lnTo>
                        <a:pt x="1058708" y="96682"/>
                      </a:lnTo>
                      <a:lnTo>
                        <a:pt x="981910" y="96682"/>
                      </a:lnTo>
                      <a:lnTo>
                        <a:pt x="1020310" y="36342"/>
                      </a:lnTo>
                      <a:close/>
                      <a:moveTo>
                        <a:pt x="381244" y="285933"/>
                      </a:moveTo>
                      <a:lnTo>
                        <a:pt x="213936" y="285933"/>
                      </a:lnTo>
                      <a:lnTo>
                        <a:pt x="213936" y="25371"/>
                      </a:lnTo>
                      <a:lnTo>
                        <a:pt x="381244" y="25371"/>
                      </a:lnTo>
                      <a:lnTo>
                        <a:pt x="381244" y="285933"/>
                      </a:lnTo>
                      <a:close/>
                      <a:moveTo>
                        <a:pt x="24684" y="321589"/>
                      </a:moveTo>
                      <a:lnTo>
                        <a:pt x="24684" y="25371"/>
                      </a:lnTo>
                      <a:lnTo>
                        <a:pt x="191994" y="25371"/>
                      </a:lnTo>
                      <a:lnTo>
                        <a:pt x="191994" y="285933"/>
                      </a:lnTo>
                      <a:lnTo>
                        <a:pt x="60341" y="285933"/>
                      </a:lnTo>
                      <a:cubicBezTo>
                        <a:pt x="54855" y="285933"/>
                        <a:pt x="49369" y="291418"/>
                        <a:pt x="49369" y="296904"/>
                      </a:cubicBezTo>
                      <a:cubicBezTo>
                        <a:pt x="49369" y="302389"/>
                        <a:pt x="54855" y="307875"/>
                        <a:pt x="60341" y="307875"/>
                      </a:cubicBezTo>
                      <a:lnTo>
                        <a:pt x="381244" y="307875"/>
                      </a:lnTo>
                      <a:lnTo>
                        <a:pt x="381244" y="318846"/>
                      </a:lnTo>
                      <a:cubicBezTo>
                        <a:pt x="381244" y="324332"/>
                        <a:pt x="375759" y="329817"/>
                        <a:pt x="370274" y="329817"/>
                      </a:cubicBezTo>
                      <a:lnTo>
                        <a:pt x="35656" y="329817"/>
                      </a:lnTo>
                      <a:cubicBezTo>
                        <a:pt x="30170" y="332560"/>
                        <a:pt x="24684" y="327074"/>
                        <a:pt x="24684" y="321589"/>
                      </a:cubicBezTo>
                      <a:lnTo>
                        <a:pt x="24684" y="321589"/>
                      </a:lnTo>
                      <a:close/>
                      <a:moveTo>
                        <a:pt x="142624" y="381930"/>
                      </a:moveTo>
                      <a:lnTo>
                        <a:pt x="142624" y="357245"/>
                      </a:lnTo>
                      <a:lnTo>
                        <a:pt x="178280" y="357245"/>
                      </a:lnTo>
                      <a:lnTo>
                        <a:pt x="178280" y="417585"/>
                      </a:lnTo>
                      <a:cubicBezTo>
                        <a:pt x="159080" y="417585"/>
                        <a:pt x="142624" y="401129"/>
                        <a:pt x="142624" y="381930"/>
                      </a:cubicBezTo>
                      <a:lnTo>
                        <a:pt x="142624" y="381930"/>
                      </a:lnTo>
                      <a:close/>
                      <a:moveTo>
                        <a:pt x="463527" y="1067620"/>
                      </a:moveTo>
                      <a:lnTo>
                        <a:pt x="274277" y="1067620"/>
                      </a:lnTo>
                      <a:cubicBezTo>
                        <a:pt x="279763" y="1040193"/>
                        <a:pt x="304447" y="1020993"/>
                        <a:pt x="331874" y="1020993"/>
                      </a:cubicBezTo>
                      <a:lnTo>
                        <a:pt x="463527" y="1020993"/>
                      </a:lnTo>
                      <a:lnTo>
                        <a:pt x="463527" y="1067620"/>
                      </a:lnTo>
                      <a:close/>
                      <a:moveTo>
                        <a:pt x="817344" y="1067620"/>
                      </a:moveTo>
                      <a:lnTo>
                        <a:pt x="628093" y="1067620"/>
                      </a:lnTo>
                      <a:lnTo>
                        <a:pt x="628093" y="1020993"/>
                      </a:lnTo>
                      <a:lnTo>
                        <a:pt x="759747" y="1020993"/>
                      </a:lnTo>
                      <a:cubicBezTo>
                        <a:pt x="787175" y="1020993"/>
                        <a:pt x="811858" y="1042935"/>
                        <a:pt x="817344" y="1067620"/>
                      </a:cubicBezTo>
                      <a:lnTo>
                        <a:pt x="817344" y="1067620"/>
                      </a:lnTo>
                      <a:close/>
                      <a:moveTo>
                        <a:pt x="663750" y="417585"/>
                      </a:moveTo>
                      <a:cubicBezTo>
                        <a:pt x="658264" y="417585"/>
                        <a:pt x="652778" y="423071"/>
                        <a:pt x="652778" y="428557"/>
                      </a:cubicBezTo>
                      <a:lnTo>
                        <a:pt x="652778" y="631521"/>
                      </a:lnTo>
                      <a:lnTo>
                        <a:pt x="474498" y="631521"/>
                      </a:lnTo>
                      <a:cubicBezTo>
                        <a:pt x="469013" y="631521"/>
                        <a:pt x="463527" y="637006"/>
                        <a:pt x="463527" y="642492"/>
                      </a:cubicBezTo>
                      <a:cubicBezTo>
                        <a:pt x="463527" y="647978"/>
                        <a:pt x="469013" y="653463"/>
                        <a:pt x="474498" y="653463"/>
                      </a:cubicBezTo>
                      <a:lnTo>
                        <a:pt x="652778" y="653463"/>
                      </a:lnTo>
                      <a:lnTo>
                        <a:pt x="652778" y="664434"/>
                      </a:lnTo>
                      <a:cubicBezTo>
                        <a:pt x="652778" y="664434"/>
                        <a:pt x="652778" y="667177"/>
                        <a:pt x="652778" y="667177"/>
                      </a:cubicBezTo>
                      <a:lnTo>
                        <a:pt x="732319" y="996308"/>
                      </a:lnTo>
                      <a:lnTo>
                        <a:pt x="625351" y="996308"/>
                      </a:lnTo>
                      <a:lnTo>
                        <a:pt x="556781" y="722032"/>
                      </a:lnTo>
                      <a:cubicBezTo>
                        <a:pt x="556781" y="716547"/>
                        <a:pt x="551296" y="713804"/>
                        <a:pt x="545810" y="713804"/>
                      </a:cubicBezTo>
                      <a:cubicBezTo>
                        <a:pt x="540326" y="713804"/>
                        <a:pt x="534840" y="716547"/>
                        <a:pt x="534840" y="722032"/>
                      </a:cubicBezTo>
                      <a:lnTo>
                        <a:pt x="466270" y="996308"/>
                      </a:lnTo>
                      <a:lnTo>
                        <a:pt x="348332" y="996308"/>
                      </a:lnTo>
                      <a:lnTo>
                        <a:pt x="438843" y="667177"/>
                      </a:lnTo>
                      <a:cubicBezTo>
                        <a:pt x="438843" y="667177"/>
                        <a:pt x="438843" y="664434"/>
                        <a:pt x="438843" y="664434"/>
                      </a:cubicBezTo>
                      <a:lnTo>
                        <a:pt x="438843" y="428557"/>
                      </a:lnTo>
                      <a:cubicBezTo>
                        <a:pt x="438843" y="423071"/>
                        <a:pt x="433357" y="417585"/>
                        <a:pt x="427871" y="417585"/>
                      </a:cubicBezTo>
                      <a:lnTo>
                        <a:pt x="202964" y="417585"/>
                      </a:lnTo>
                      <a:lnTo>
                        <a:pt x="202964" y="357245"/>
                      </a:lnTo>
                      <a:lnTo>
                        <a:pt x="891399" y="357245"/>
                      </a:lnTo>
                      <a:lnTo>
                        <a:pt x="891399" y="417585"/>
                      </a:lnTo>
                      <a:lnTo>
                        <a:pt x="663750" y="417585"/>
                      </a:lnTo>
                      <a:close/>
                      <a:moveTo>
                        <a:pt x="913341" y="417585"/>
                      </a:moveTo>
                      <a:lnTo>
                        <a:pt x="913341" y="357245"/>
                      </a:lnTo>
                      <a:lnTo>
                        <a:pt x="948997" y="357245"/>
                      </a:lnTo>
                      <a:lnTo>
                        <a:pt x="948997" y="381930"/>
                      </a:lnTo>
                      <a:cubicBezTo>
                        <a:pt x="948997" y="401129"/>
                        <a:pt x="932541" y="417585"/>
                        <a:pt x="913341" y="417585"/>
                      </a:cubicBezTo>
                      <a:lnTo>
                        <a:pt x="913341" y="417585"/>
                      </a:lnTo>
                      <a:close/>
                      <a:moveTo>
                        <a:pt x="1066936" y="582151"/>
                      </a:moveTo>
                      <a:lnTo>
                        <a:pt x="1066936" y="606836"/>
                      </a:lnTo>
                      <a:lnTo>
                        <a:pt x="970939" y="606836"/>
                      </a:lnTo>
                      <a:lnTo>
                        <a:pt x="970939" y="582151"/>
                      </a:lnTo>
                      <a:lnTo>
                        <a:pt x="1066936" y="582151"/>
                      </a:lnTo>
                      <a:close/>
                      <a:moveTo>
                        <a:pt x="1031280" y="689119"/>
                      </a:moveTo>
                      <a:lnTo>
                        <a:pt x="1006596" y="689119"/>
                      </a:lnTo>
                      <a:cubicBezTo>
                        <a:pt x="987396" y="689119"/>
                        <a:pt x="970939" y="672662"/>
                        <a:pt x="970939" y="653463"/>
                      </a:cubicBezTo>
                      <a:lnTo>
                        <a:pt x="970939" y="628778"/>
                      </a:lnTo>
                      <a:lnTo>
                        <a:pt x="1066936" y="628778"/>
                      </a:lnTo>
                      <a:lnTo>
                        <a:pt x="1066936" y="653463"/>
                      </a:lnTo>
                      <a:cubicBezTo>
                        <a:pt x="1066936" y="672662"/>
                        <a:pt x="1053222" y="689119"/>
                        <a:pt x="1031280" y="689119"/>
                      </a:cubicBezTo>
                      <a:lnTo>
                        <a:pt x="1031280" y="689119"/>
                      </a:lnTo>
                      <a:close/>
                    </a:path>
                  </a:pathLst>
                </a:custGeom>
                <a:grpFill/>
                <a:ln w="27426" cap="flat">
                  <a:noFill/>
                  <a:prstDash val="solid"/>
                  <a:miter/>
                </a:ln>
              </p:spPr>
              <p:txBody>
                <a:bodyPr rtlCol="0" anchor="ctr"/>
                <a:lstStyle/>
                <a:p>
                  <a:pPr algn="l" rtl="0"/>
                  <a:endParaRPr lang="en-US"/>
                </a:p>
              </p:txBody>
            </p:sp>
          </p:grpSp>
          <p:sp>
            <p:nvSpPr>
              <p:cNvPr id="197" name="Freeform 196">
                <a:extLst>
                  <a:ext uri="{FF2B5EF4-FFF2-40B4-BE49-F238E27FC236}">
                    <a16:creationId xmlns:a16="http://schemas.microsoft.com/office/drawing/2014/main" id="{6E9B6222-8712-C7ED-2663-1D2024D2EFF4}"/>
                  </a:ext>
                </a:extLst>
              </p:cNvPr>
              <p:cNvSpPr/>
              <p:nvPr/>
            </p:nvSpPr>
            <p:spPr>
              <a:xfrm>
                <a:off x="7624966" y="3971001"/>
                <a:ext cx="21941" cy="58311"/>
              </a:xfrm>
              <a:custGeom>
                <a:avLst/>
                <a:gdLst>
                  <a:gd name="connsiteX0" fmla="*/ 21942 w 21941"/>
                  <a:gd name="connsiteY0" fmla="*/ 46627 h 58311"/>
                  <a:gd name="connsiteX1" fmla="*/ 21942 w 21941"/>
                  <a:gd name="connsiteY1" fmla="*/ 10971 h 58311"/>
                  <a:gd name="connsiteX2" fmla="*/ 10972 w 21941"/>
                  <a:gd name="connsiteY2" fmla="*/ 0 h 58311"/>
                  <a:gd name="connsiteX3" fmla="*/ 0 w 21941"/>
                  <a:gd name="connsiteY3" fmla="*/ 10971 h 58311"/>
                  <a:gd name="connsiteX4" fmla="*/ 0 w 21941"/>
                  <a:gd name="connsiteY4" fmla="*/ 46627 h 58311"/>
                  <a:gd name="connsiteX5" fmla="*/ 10972 w 21941"/>
                  <a:gd name="connsiteY5" fmla="*/ 57598 h 58311"/>
                  <a:gd name="connsiteX6" fmla="*/ 21942 w 21941"/>
                  <a:gd name="connsiteY6" fmla="*/ 46627 h 58311"/>
                  <a:gd name="connsiteX7" fmla="*/ 21942 w 21941"/>
                  <a:gd name="connsiteY7" fmla="*/ 46627 h 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58311">
                    <a:moveTo>
                      <a:pt x="21942" y="46627"/>
                    </a:moveTo>
                    <a:lnTo>
                      <a:pt x="21942" y="10971"/>
                    </a:lnTo>
                    <a:cubicBezTo>
                      <a:pt x="21942" y="5485"/>
                      <a:pt x="16456" y="0"/>
                      <a:pt x="10972" y="0"/>
                    </a:cubicBezTo>
                    <a:cubicBezTo>
                      <a:pt x="5486" y="0"/>
                      <a:pt x="0" y="5485"/>
                      <a:pt x="0" y="10971"/>
                    </a:cubicBezTo>
                    <a:lnTo>
                      <a:pt x="0" y="46627"/>
                    </a:lnTo>
                    <a:cubicBezTo>
                      <a:pt x="0" y="52112"/>
                      <a:pt x="5486" y="57598"/>
                      <a:pt x="10972" y="57598"/>
                    </a:cubicBezTo>
                    <a:cubicBezTo>
                      <a:pt x="16456" y="60341"/>
                      <a:pt x="21942" y="54855"/>
                      <a:pt x="21942" y="46627"/>
                    </a:cubicBezTo>
                    <a:lnTo>
                      <a:pt x="21942" y="46627"/>
                    </a:lnTo>
                    <a:close/>
                  </a:path>
                </a:pathLst>
              </a:custGeom>
              <a:grpFill/>
              <a:ln w="27426" cap="flat">
                <a:noFill/>
                <a:prstDash val="solid"/>
                <a:miter/>
              </a:ln>
            </p:spPr>
            <p:txBody>
              <a:bodyPr rtlCol="0" anchor="ctr"/>
              <a:lstStyle/>
              <a:p>
                <a:pPr algn="l" rtl="0"/>
                <a:endParaRPr lang="en-US"/>
              </a:p>
            </p:txBody>
          </p:sp>
          <p:sp>
            <p:nvSpPr>
              <p:cNvPr id="198" name="Freeform 197">
                <a:extLst>
                  <a:ext uri="{FF2B5EF4-FFF2-40B4-BE49-F238E27FC236}">
                    <a16:creationId xmlns:a16="http://schemas.microsoft.com/office/drawing/2014/main" id="{7646CC04-C665-AF2F-D1D4-7BFB1ECBCA8C}"/>
                  </a:ext>
                </a:extLst>
              </p:cNvPr>
              <p:cNvSpPr/>
              <p:nvPr/>
            </p:nvSpPr>
            <p:spPr>
              <a:xfrm>
                <a:off x="6651284" y="373512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pPr algn="l" rtl="0"/>
                <a:endParaRPr lang="en-US"/>
              </a:p>
            </p:txBody>
          </p:sp>
          <p:sp>
            <p:nvSpPr>
              <p:cNvPr id="199" name="Freeform 198">
                <a:extLst>
                  <a:ext uri="{FF2B5EF4-FFF2-40B4-BE49-F238E27FC236}">
                    <a16:creationId xmlns:a16="http://schemas.microsoft.com/office/drawing/2014/main" id="{DAD54120-AE0F-C706-CF8A-16749F9BDD88}"/>
                  </a:ext>
                </a:extLst>
              </p:cNvPr>
              <p:cNvSpPr/>
              <p:nvPr/>
            </p:nvSpPr>
            <p:spPr>
              <a:xfrm>
                <a:off x="6651284" y="3784493"/>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6"/>
                      <a:pt x="117939" y="10971"/>
                    </a:cubicBezTo>
                    <a:cubicBezTo>
                      <a:pt x="117939" y="5485"/>
                      <a:pt x="112453" y="0"/>
                      <a:pt x="106969" y="0"/>
                    </a:cubicBezTo>
                    <a:lnTo>
                      <a:pt x="10972" y="0"/>
                    </a:lnTo>
                    <a:cubicBezTo>
                      <a:pt x="5486" y="0"/>
                      <a:pt x="0" y="5485"/>
                      <a:pt x="0" y="10971"/>
                    </a:cubicBezTo>
                    <a:cubicBezTo>
                      <a:pt x="0" y="16456"/>
                      <a:pt x="2742" y="21942"/>
                      <a:pt x="10972" y="21942"/>
                    </a:cubicBezTo>
                    <a:lnTo>
                      <a:pt x="10972" y="21942"/>
                    </a:lnTo>
                    <a:close/>
                  </a:path>
                </a:pathLst>
              </a:custGeom>
              <a:grpFill/>
              <a:ln w="27426" cap="flat">
                <a:noFill/>
                <a:prstDash val="solid"/>
                <a:miter/>
              </a:ln>
            </p:spPr>
            <p:txBody>
              <a:bodyPr rtlCol="0" anchor="ctr"/>
              <a:lstStyle/>
              <a:p>
                <a:pPr algn="l" rtl="0"/>
                <a:endParaRPr lang="en-US"/>
              </a:p>
            </p:txBody>
          </p:sp>
          <p:sp>
            <p:nvSpPr>
              <p:cNvPr id="200" name="Freeform 199">
                <a:extLst>
                  <a:ext uri="{FF2B5EF4-FFF2-40B4-BE49-F238E27FC236}">
                    <a16:creationId xmlns:a16="http://schemas.microsoft.com/office/drawing/2014/main" id="{6CF05655-35EC-DA89-B62E-B50B4518FF43}"/>
                  </a:ext>
                </a:extLst>
              </p:cNvPr>
              <p:cNvSpPr/>
              <p:nvPr/>
            </p:nvSpPr>
            <p:spPr>
              <a:xfrm>
                <a:off x="6651284" y="3831120"/>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pPr algn="l" rtl="0"/>
                <a:endParaRPr lang="en-US"/>
              </a:p>
            </p:txBody>
          </p:sp>
          <p:sp>
            <p:nvSpPr>
              <p:cNvPr id="201" name="Freeform 200">
                <a:extLst>
                  <a:ext uri="{FF2B5EF4-FFF2-40B4-BE49-F238E27FC236}">
                    <a16:creationId xmlns:a16="http://schemas.microsoft.com/office/drawing/2014/main" id="{4D03E8EF-A4FF-1185-A3C5-C5D98E52A14D}"/>
                  </a:ext>
                </a:extLst>
              </p:cNvPr>
              <p:cNvSpPr/>
              <p:nvPr/>
            </p:nvSpPr>
            <p:spPr>
              <a:xfrm>
                <a:off x="6651284" y="3877747"/>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pPr algn="l" rtl="0"/>
                <a:endParaRPr lang="en-US"/>
              </a:p>
            </p:txBody>
          </p:sp>
          <p:sp>
            <p:nvSpPr>
              <p:cNvPr id="202" name="Freeform 201">
                <a:extLst>
                  <a:ext uri="{FF2B5EF4-FFF2-40B4-BE49-F238E27FC236}">
                    <a16:creationId xmlns:a16="http://schemas.microsoft.com/office/drawing/2014/main" id="{9C18147A-A4AD-A682-E050-3BB03DA57A62}"/>
                  </a:ext>
                </a:extLst>
              </p:cNvPr>
              <p:cNvSpPr/>
              <p:nvPr/>
            </p:nvSpPr>
            <p:spPr>
              <a:xfrm>
                <a:off x="6651284" y="392437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6"/>
                      <a:pt x="112453" y="0"/>
                      <a:pt x="106969" y="0"/>
                    </a:cubicBezTo>
                    <a:lnTo>
                      <a:pt x="10972" y="0"/>
                    </a:lnTo>
                    <a:cubicBezTo>
                      <a:pt x="5486" y="0"/>
                      <a:pt x="0" y="5486"/>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pPr algn="l" rtl="0"/>
                <a:endParaRPr lang="en-US"/>
              </a:p>
            </p:txBody>
          </p:sp>
          <p:sp>
            <p:nvSpPr>
              <p:cNvPr id="203" name="Freeform 202">
                <a:extLst>
                  <a:ext uri="{FF2B5EF4-FFF2-40B4-BE49-F238E27FC236}">
                    <a16:creationId xmlns:a16="http://schemas.microsoft.com/office/drawing/2014/main" id="{1D809CD9-0436-34BF-1189-8A477283FAA8}"/>
                  </a:ext>
                </a:extLst>
              </p:cNvPr>
              <p:cNvSpPr/>
              <p:nvPr/>
            </p:nvSpPr>
            <p:spPr>
              <a:xfrm>
                <a:off x="6840535" y="373512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pPr algn="l" rtl="0"/>
                <a:endParaRPr lang="en-US"/>
              </a:p>
            </p:txBody>
          </p:sp>
          <p:sp>
            <p:nvSpPr>
              <p:cNvPr id="204" name="Freeform 203">
                <a:extLst>
                  <a:ext uri="{FF2B5EF4-FFF2-40B4-BE49-F238E27FC236}">
                    <a16:creationId xmlns:a16="http://schemas.microsoft.com/office/drawing/2014/main" id="{726E6179-F415-F8ED-6117-30BC784EE39C}"/>
                  </a:ext>
                </a:extLst>
              </p:cNvPr>
              <p:cNvSpPr/>
              <p:nvPr/>
            </p:nvSpPr>
            <p:spPr>
              <a:xfrm>
                <a:off x="6840535" y="3784493"/>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6"/>
                      <a:pt x="117939" y="10971"/>
                    </a:cubicBezTo>
                    <a:cubicBezTo>
                      <a:pt x="117939" y="5485"/>
                      <a:pt x="112453" y="0"/>
                      <a:pt x="106967" y="0"/>
                    </a:cubicBezTo>
                    <a:lnTo>
                      <a:pt x="10970" y="0"/>
                    </a:lnTo>
                    <a:cubicBezTo>
                      <a:pt x="5484" y="0"/>
                      <a:pt x="0" y="5485"/>
                      <a:pt x="0" y="10971"/>
                    </a:cubicBezTo>
                    <a:cubicBezTo>
                      <a:pt x="0" y="16456"/>
                      <a:pt x="5484" y="21942"/>
                      <a:pt x="10970" y="21942"/>
                    </a:cubicBezTo>
                    <a:lnTo>
                      <a:pt x="10970" y="21942"/>
                    </a:lnTo>
                    <a:close/>
                  </a:path>
                </a:pathLst>
              </a:custGeom>
              <a:grpFill/>
              <a:ln w="27426" cap="flat">
                <a:noFill/>
                <a:prstDash val="solid"/>
                <a:miter/>
              </a:ln>
            </p:spPr>
            <p:txBody>
              <a:bodyPr rtlCol="0" anchor="ctr"/>
              <a:lstStyle/>
              <a:p>
                <a:pPr algn="l" rtl="0"/>
                <a:endParaRPr lang="en-US"/>
              </a:p>
            </p:txBody>
          </p:sp>
          <p:sp>
            <p:nvSpPr>
              <p:cNvPr id="205" name="Freeform 204">
                <a:extLst>
                  <a:ext uri="{FF2B5EF4-FFF2-40B4-BE49-F238E27FC236}">
                    <a16:creationId xmlns:a16="http://schemas.microsoft.com/office/drawing/2014/main" id="{E061A449-F223-F907-18E4-1B52A9A49D88}"/>
                  </a:ext>
                </a:extLst>
              </p:cNvPr>
              <p:cNvSpPr/>
              <p:nvPr/>
            </p:nvSpPr>
            <p:spPr>
              <a:xfrm>
                <a:off x="6840535" y="3831120"/>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pPr algn="l" rtl="0"/>
                <a:endParaRPr lang="en-US"/>
              </a:p>
            </p:txBody>
          </p:sp>
          <p:sp>
            <p:nvSpPr>
              <p:cNvPr id="206" name="Freeform 205">
                <a:extLst>
                  <a:ext uri="{FF2B5EF4-FFF2-40B4-BE49-F238E27FC236}">
                    <a16:creationId xmlns:a16="http://schemas.microsoft.com/office/drawing/2014/main" id="{BEFB7D4A-2368-35A6-1373-D6C78D9EDBAD}"/>
                  </a:ext>
                </a:extLst>
              </p:cNvPr>
              <p:cNvSpPr/>
              <p:nvPr/>
            </p:nvSpPr>
            <p:spPr>
              <a:xfrm>
                <a:off x="6840535" y="3877747"/>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pPr algn="l" rtl="0"/>
                <a:endParaRPr lang="en-US"/>
              </a:p>
            </p:txBody>
          </p:sp>
          <p:sp>
            <p:nvSpPr>
              <p:cNvPr id="207" name="Freeform 206">
                <a:extLst>
                  <a:ext uri="{FF2B5EF4-FFF2-40B4-BE49-F238E27FC236}">
                    <a16:creationId xmlns:a16="http://schemas.microsoft.com/office/drawing/2014/main" id="{8D1339B8-A5DF-7C9B-8513-EEF55BD22263}"/>
                  </a:ext>
                </a:extLst>
              </p:cNvPr>
              <p:cNvSpPr/>
              <p:nvPr/>
            </p:nvSpPr>
            <p:spPr>
              <a:xfrm>
                <a:off x="6840535" y="392437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6"/>
                      <a:pt x="112453" y="0"/>
                      <a:pt x="106967" y="0"/>
                    </a:cubicBezTo>
                    <a:lnTo>
                      <a:pt x="10970" y="0"/>
                    </a:lnTo>
                    <a:cubicBezTo>
                      <a:pt x="5484" y="0"/>
                      <a:pt x="0" y="5486"/>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pPr algn="l" rtl="0"/>
                <a:endParaRPr lang="en-US"/>
              </a:p>
            </p:txBody>
          </p:sp>
          <p:sp>
            <p:nvSpPr>
              <p:cNvPr id="208" name="Freeform 207">
                <a:extLst>
                  <a:ext uri="{FF2B5EF4-FFF2-40B4-BE49-F238E27FC236}">
                    <a16:creationId xmlns:a16="http://schemas.microsoft.com/office/drawing/2014/main" id="{87E3DC0F-7BA8-4FA0-1069-68F78E68C5D8}"/>
                  </a:ext>
                </a:extLst>
              </p:cNvPr>
              <p:cNvSpPr/>
              <p:nvPr/>
            </p:nvSpPr>
            <p:spPr>
              <a:xfrm>
                <a:off x="6673225" y="4138309"/>
                <a:ext cx="22655" cy="175537"/>
              </a:xfrm>
              <a:custGeom>
                <a:avLst/>
                <a:gdLst>
                  <a:gd name="connsiteX0" fmla="*/ 10972 w 22655"/>
                  <a:gd name="connsiteY0" fmla="*/ 0 h 175537"/>
                  <a:gd name="connsiteX1" fmla="*/ 0 w 22655"/>
                  <a:gd name="connsiteY1" fmla="*/ 10971 h 175537"/>
                  <a:gd name="connsiteX2" fmla="*/ 0 w 22655"/>
                  <a:gd name="connsiteY2" fmla="*/ 164566 h 175537"/>
                  <a:gd name="connsiteX3" fmla="*/ 10972 w 22655"/>
                  <a:gd name="connsiteY3" fmla="*/ 175537 h 175537"/>
                  <a:gd name="connsiteX4" fmla="*/ 21942 w 22655"/>
                  <a:gd name="connsiteY4" fmla="*/ 164566 h 175537"/>
                  <a:gd name="connsiteX5" fmla="*/ 21942 w 22655"/>
                  <a:gd name="connsiteY5" fmla="*/ 10971 h 175537"/>
                  <a:gd name="connsiteX6" fmla="*/ 10972 w 22655"/>
                  <a:gd name="connsiteY6" fmla="*/ 0 h 175537"/>
                  <a:gd name="connsiteX7" fmla="*/ 10972 w 22655"/>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55" h="175537">
                    <a:moveTo>
                      <a:pt x="10972" y="0"/>
                    </a:moveTo>
                    <a:cubicBezTo>
                      <a:pt x="5486" y="0"/>
                      <a:pt x="0" y="5485"/>
                      <a:pt x="0" y="10971"/>
                    </a:cubicBezTo>
                    <a:lnTo>
                      <a:pt x="0" y="164566"/>
                    </a:lnTo>
                    <a:cubicBezTo>
                      <a:pt x="0" y="170051"/>
                      <a:pt x="5486" y="175537"/>
                      <a:pt x="10972" y="175537"/>
                    </a:cubicBezTo>
                    <a:cubicBezTo>
                      <a:pt x="16458" y="175537"/>
                      <a:pt x="21942" y="170051"/>
                      <a:pt x="21942" y="164566"/>
                    </a:cubicBezTo>
                    <a:lnTo>
                      <a:pt x="21942" y="10971"/>
                    </a:lnTo>
                    <a:cubicBezTo>
                      <a:pt x="24686" y="5485"/>
                      <a:pt x="19200" y="0"/>
                      <a:pt x="10972" y="0"/>
                    </a:cubicBezTo>
                    <a:lnTo>
                      <a:pt x="10972" y="0"/>
                    </a:lnTo>
                    <a:close/>
                  </a:path>
                </a:pathLst>
              </a:custGeom>
              <a:grpFill/>
              <a:ln w="27426" cap="flat">
                <a:noFill/>
                <a:prstDash val="solid"/>
                <a:miter/>
              </a:ln>
            </p:spPr>
            <p:txBody>
              <a:bodyPr rtlCol="0" anchor="ctr"/>
              <a:lstStyle/>
              <a:p>
                <a:pPr algn="l" rtl="0"/>
                <a:endParaRPr lang="en-US"/>
              </a:p>
            </p:txBody>
          </p:sp>
          <p:sp>
            <p:nvSpPr>
              <p:cNvPr id="209" name="Freeform 208">
                <a:extLst>
                  <a:ext uri="{FF2B5EF4-FFF2-40B4-BE49-F238E27FC236}">
                    <a16:creationId xmlns:a16="http://schemas.microsoft.com/office/drawing/2014/main" id="{AB839EF7-BCA9-0881-0F05-AE32618DF175}"/>
                  </a:ext>
                </a:extLst>
              </p:cNvPr>
              <p:cNvSpPr/>
              <p:nvPr/>
            </p:nvSpPr>
            <p:spPr>
              <a:xfrm>
                <a:off x="6675969" y="433853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pPr algn="l" rtl="0"/>
                <a:endParaRPr lang="en-US"/>
              </a:p>
            </p:txBody>
          </p:sp>
          <p:sp>
            <p:nvSpPr>
              <p:cNvPr id="210" name="Freeform 209">
                <a:extLst>
                  <a:ext uri="{FF2B5EF4-FFF2-40B4-BE49-F238E27FC236}">
                    <a16:creationId xmlns:a16="http://schemas.microsoft.com/office/drawing/2014/main" id="{4B027190-B352-6F6C-8F49-9F0061AA9E12}"/>
                  </a:ext>
                </a:extLst>
              </p:cNvPr>
              <p:cNvSpPr/>
              <p:nvPr/>
            </p:nvSpPr>
            <p:spPr>
              <a:xfrm>
                <a:off x="6675969" y="438790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6"/>
                      <a:pt x="16456" y="21942"/>
                      <a:pt x="10970" y="21942"/>
                    </a:cubicBezTo>
                    <a:cubicBezTo>
                      <a:pt x="5484" y="21942"/>
                      <a:pt x="0" y="16456"/>
                      <a:pt x="0" y="10971"/>
                    </a:cubicBezTo>
                    <a:cubicBezTo>
                      <a:pt x="0" y="5485"/>
                      <a:pt x="5484" y="0"/>
                      <a:pt x="10970" y="0"/>
                    </a:cubicBezTo>
                    <a:cubicBezTo>
                      <a:pt x="16456" y="0"/>
                      <a:pt x="21942" y="2743"/>
                      <a:pt x="21942" y="10971"/>
                    </a:cubicBezTo>
                    <a:lnTo>
                      <a:pt x="21942" y="10971"/>
                    </a:lnTo>
                    <a:close/>
                  </a:path>
                </a:pathLst>
              </a:custGeom>
              <a:grpFill/>
              <a:ln w="27426" cap="flat">
                <a:noFill/>
                <a:prstDash val="solid"/>
                <a:miter/>
              </a:ln>
            </p:spPr>
            <p:txBody>
              <a:bodyPr rtlCol="0" anchor="ctr"/>
              <a:lstStyle/>
              <a:p>
                <a:pPr algn="l" rtl="0"/>
                <a:endParaRPr lang="en-US"/>
              </a:p>
            </p:txBody>
          </p:sp>
          <p:sp>
            <p:nvSpPr>
              <p:cNvPr id="211" name="Freeform 210">
                <a:extLst>
                  <a:ext uri="{FF2B5EF4-FFF2-40B4-BE49-F238E27FC236}">
                    <a16:creationId xmlns:a16="http://schemas.microsoft.com/office/drawing/2014/main" id="{DC2A80BE-70CA-0EBD-1FF4-FD16992217C2}"/>
                  </a:ext>
                </a:extLst>
              </p:cNvPr>
              <p:cNvSpPr/>
              <p:nvPr/>
            </p:nvSpPr>
            <p:spPr>
              <a:xfrm>
                <a:off x="6758252" y="4184936"/>
                <a:ext cx="21941" cy="175537"/>
              </a:xfrm>
              <a:custGeom>
                <a:avLst/>
                <a:gdLst>
                  <a:gd name="connsiteX0" fmla="*/ 10970 w 21941"/>
                  <a:gd name="connsiteY0" fmla="*/ 0 h 175537"/>
                  <a:gd name="connsiteX1" fmla="*/ 0 w 21941"/>
                  <a:gd name="connsiteY1" fmla="*/ 10971 h 175537"/>
                  <a:gd name="connsiteX2" fmla="*/ 0 w 21941"/>
                  <a:gd name="connsiteY2" fmla="*/ 164566 h 175537"/>
                  <a:gd name="connsiteX3" fmla="*/ 10970 w 21941"/>
                  <a:gd name="connsiteY3" fmla="*/ 175537 h 175537"/>
                  <a:gd name="connsiteX4" fmla="*/ 21942 w 21941"/>
                  <a:gd name="connsiteY4" fmla="*/ 164566 h 175537"/>
                  <a:gd name="connsiteX5" fmla="*/ 21942 w 21941"/>
                  <a:gd name="connsiteY5" fmla="*/ 10971 h 175537"/>
                  <a:gd name="connsiteX6" fmla="*/ 10970 w 21941"/>
                  <a:gd name="connsiteY6" fmla="*/ 0 h 175537"/>
                  <a:gd name="connsiteX7" fmla="*/ 10970 w 21941"/>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0"/>
                    </a:moveTo>
                    <a:cubicBezTo>
                      <a:pt x="5484" y="0"/>
                      <a:pt x="0" y="5486"/>
                      <a:pt x="0" y="10971"/>
                    </a:cubicBezTo>
                    <a:lnTo>
                      <a:pt x="0" y="164566"/>
                    </a:lnTo>
                    <a:cubicBezTo>
                      <a:pt x="0" y="170052"/>
                      <a:pt x="5484" y="175537"/>
                      <a:pt x="10970" y="175537"/>
                    </a:cubicBezTo>
                    <a:cubicBezTo>
                      <a:pt x="16456" y="175537"/>
                      <a:pt x="21942" y="170052"/>
                      <a:pt x="21942" y="164566"/>
                    </a:cubicBezTo>
                    <a:lnTo>
                      <a:pt x="21942" y="10971"/>
                    </a:lnTo>
                    <a:cubicBezTo>
                      <a:pt x="21942" y="5486"/>
                      <a:pt x="16456" y="0"/>
                      <a:pt x="10970" y="0"/>
                    </a:cubicBezTo>
                    <a:lnTo>
                      <a:pt x="10970" y="0"/>
                    </a:lnTo>
                    <a:close/>
                  </a:path>
                </a:pathLst>
              </a:custGeom>
              <a:grpFill/>
              <a:ln w="27426" cap="flat">
                <a:noFill/>
                <a:prstDash val="solid"/>
                <a:miter/>
              </a:ln>
            </p:spPr>
            <p:txBody>
              <a:bodyPr rtlCol="0" anchor="ctr"/>
              <a:lstStyle/>
              <a:p>
                <a:pPr algn="l" rtl="0"/>
                <a:endParaRPr lang="en-US"/>
              </a:p>
            </p:txBody>
          </p:sp>
          <p:sp>
            <p:nvSpPr>
              <p:cNvPr id="212" name="Freeform 211">
                <a:extLst>
                  <a:ext uri="{FF2B5EF4-FFF2-40B4-BE49-F238E27FC236}">
                    <a16:creationId xmlns:a16="http://schemas.microsoft.com/office/drawing/2014/main" id="{FA2F779C-3C34-1B38-6AFB-00D820A6DEE7}"/>
                  </a:ext>
                </a:extLst>
              </p:cNvPr>
              <p:cNvSpPr/>
              <p:nvPr/>
            </p:nvSpPr>
            <p:spPr>
              <a:xfrm>
                <a:off x="6758252" y="4387187"/>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4" y="22656"/>
                      <a:pt x="0" y="17170"/>
                      <a:pt x="0" y="11684"/>
                    </a:cubicBezTo>
                    <a:cubicBezTo>
                      <a:pt x="0" y="6199"/>
                      <a:pt x="5484" y="714"/>
                      <a:pt x="10970" y="714"/>
                    </a:cubicBezTo>
                    <a:cubicBezTo>
                      <a:pt x="16456" y="-2029"/>
                      <a:pt x="21942" y="3456"/>
                      <a:pt x="21942" y="11684"/>
                    </a:cubicBezTo>
                    <a:lnTo>
                      <a:pt x="21942" y="11684"/>
                    </a:lnTo>
                    <a:close/>
                  </a:path>
                </a:pathLst>
              </a:custGeom>
              <a:grpFill/>
              <a:ln w="27426" cap="flat">
                <a:noFill/>
                <a:prstDash val="solid"/>
                <a:miter/>
              </a:ln>
            </p:spPr>
            <p:txBody>
              <a:bodyPr rtlCol="0" anchor="ctr"/>
              <a:lstStyle/>
              <a:p>
                <a:pPr algn="l" rtl="0"/>
                <a:endParaRPr lang="en-US"/>
              </a:p>
            </p:txBody>
          </p:sp>
          <p:sp>
            <p:nvSpPr>
              <p:cNvPr id="213" name="Freeform 212">
                <a:extLst>
                  <a:ext uri="{FF2B5EF4-FFF2-40B4-BE49-F238E27FC236}">
                    <a16:creationId xmlns:a16="http://schemas.microsoft.com/office/drawing/2014/main" id="{44F13354-92E6-A32A-712E-18364FC56732}"/>
                  </a:ext>
                </a:extLst>
              </p:cNvPr>
              <p:cNvSpPr/>
              <p:nvPr/>
            </p:nvSpPr>
            <p:spPr>
              <a:xfrm>
                <a:off x="6840535" y="4234306"/>
                <a:ext cx="21941" cy="175537"/>
              </a:xfrm>
              <a:custGeom>
                <a:avLst/>
                <a:gdLst>
                  <a:gd name="connsiteX0" fmla="*/ 10970 w 21941"/>
                  <a:gd name="connsiteY0" fmla="*/ 175537 h 175537"/>
                  <a:gd name="connsiteX1" fmla="*/ 21942 w 21941"/>
                  <a:gd name="connsiteY1" fmla="*/ 164566 h 175537"/>
                  <a:gd name="connsiteX2" fmla="*/ 21942 w 21941"/>
                  <a:gd name="connsiteY2" fmla="*/ 10971 h 175537"/>
                  <a:gd name="connsiteX3" fmla="*/ 10970 w 21941"/>
                  <a:gd name="connsiteY3" fmla="*/ 0 h 175537"/>
                  <a:gd name="connsiteX4" fmla="*/ 0 w 21941"/>
                  <a:gd name="connsiteY4" fmla="*/ 10971 h 175537"/>
                  <a:gd name="connsiteX5" fmla="*/ 0 w 21941"/>
                  <a:gd name="connsiteY5" fmla="*/ 164566 h 175537"/>
                  <a:gd name="connsiteX6" fmla="*/ 10970 w 21941"/>
                  <a:gd name="connsiteY6" fmla="*/ 175537 h 175537"/>
                  <a:gd name="connsiteX7" fmla="*/ 10970 w 21941"/>
                  <a:gd name="connsiteY7" fmla="*/ 175537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175537"/>
                    </a:moveTo>
                    <a:cubicBezTo>
                      <a:pt x="16456" y="175537"/>
                      <a:pt x="21942" y="170051"/>
                      <a:pt x="21942" y="164566"/>
                    </a:cubicBezTo>
                    <a:lnTo>
                      <a:pt x="21942" y="10971"/>
                    </a:lnTo>
                    <a:cubicBezTo>
                      <a:pt x="21942" y="5485"/>
                      <a:pt x="16456" y="0"/>
                      <a:pt x="10970" y="0"/>
                    </a:cubicBezTo>
                    <a:cubicBezTo>
                      <a:pt x="5484" y="0"/>
                      <a:pt x="0" y="5485"/>
                      <a:pt x="0" y="10971"/>
                    </a:cubicBezTo>
                    <a:lnTo>
                      <a:pt x="0" y="164566"/>
                    </a:lnTo>
                    <a:cubicBezTo>
                      <a:pt x="0" y="170051"/>
                      <a:pt x="5484" y="175537"/>
                      <a:pt x="10970" y="175537"/>
                    </a:cubicBezTo>
                    <a:lnTo>
                      <a:pt x="10970" y="175537"/>
                    </a:lnTo>
                    <a:close/>
                  </a:path>
                </a:pathLst>
              </a:custGeom>
              <a:grpFill/>
              <a:ln w="27426" cap="flat">
                <a:noFill/>
                <a:prstDash val="solid"/>
                <a:miter/>
              </a:ln>
            </p:spPr>
            <p:txBody>
              <a:bodyPr rtlCol="0" anchor="ctr"/>
              <a:lstStyle/>
              <a:p>
                <a:pPr algn="l" rtl="0"/>
                <a:endParaRPr lang="en-US"/>
              </a:p>
            </p:txBody>
          </p:sp>
          <p:sp>
            <p:nvSpPr>
              <p:cNvPr id="214" name="Freeform 213">
                <a:extLst>
                  <a:ext uri="{FF2B5EF4-FFF2-40B4-BE49-F238E27FC236}">
                    <a16:creationId xmlns:a16="http://schemas.microsoft.com/office/drawing/2014/main" id="{69FC32FE-7EB0-2DBC-2518-C3C407AE0DC0}"/>
                  </a:ext>
                </a:extLst>
              </p:cNvPr>
              <p:cNvSpPr/>
              <p:nvPr/>
            </p:nvSpPr>
            <p:spPr>
              <a:xfrm>
                <a:off x="6840535"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pPr algn="l" rtl="0"/>
                <a:endParaRPr lang="en-US"/>
              </a:p>
            </p:txBody>
          </p:sp>
          <p:sp>
            <p:nvSpPr>
              <p:cNvPr id="216" name="Freeform 215">
                <a:extLst>
                  <a:ext uri="{FF2B5EF4-FFF2-40B4-BE49-F238E27FC236}">
                    <a16:creationId xmlns:a16="http://schemas.microsoft.com/office/drawing/2014/main" id="{73B3355F-184A-2BA6-252A-79E05F73C2DD}"/>
                  </a:ext>
                </a:extLst>
              </p:cNvPr>
              <p:cNvSpPr/>
              <p:nvPr/>
            </p:nvSpPr>
            <p:spPr>
              <a:xfrm>
                <a:off x="6758252"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pPr algn="l" rtl="0"/>
                <a:endParaRPr lang="en-US"/>
              </a:p>
            </p:txBody>
          </p:sp>
          <p:sp>
            <p:nvSpPr>
              <p:cNvPr id="217" name="Freeform 216">
                <a:extLst>
                  <a:ext uri="{FF2B5EF4-FFF2-40B4-BE49-F238E27FC236}">
                    <a16:creationId xmlns:a16="http://schemas.microsoft.com/office/drawing/2014/main" id="{E563FC3A-EC2E-9FE1-9B52-76C281CE631F}"/>
                  </a:ext>
                </a:extLst>
              </p:cNvPr>
              <p:cNvSpPr/>
              <p:nvPr/>
            </p:nvSpPr>
            <p:spPr>
              <a:xfrm>
                <a:off x="6675969"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pPr algn="l" rtl="0"/>
                <a:endParaRPr lang="en-US"/>
              </a:p>
            </p:txBody>
          </p:sp>
        </p:grpSp>
      </p:grpSp>
      <p:sp>
        <p:nvSpPr>
          <p:cNvPr id="332" name="Rectangle 331">
            <a:extLst>
              <a:ext uri="{FF2B5EF4-FFF2-40B4-BE49-F238E27FC236}">
                <a16:creationId xmlns:a16="http://schemas.microsoft.com/office/drawing/2014/main" id="{4AD1CC34-EF04-776A-97D1-6B2C495C81FB}"/>
              </a:ext>
            </a:extLst>
          </p:cNvPr>
          <p:cNvSpPr/>
          <p:nvPr/>
        </p:nvSpPr>
        <p:spPr>
          <a:xfrm>
            <a:off x="1" y="0"/>
            <a:ext cx="4192538"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476057" y="521641"/>
            <a:ext cx="3240426" cy="606775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dirty="0">
                <a:solidFill>
                  <a:schemeClr val="bg1"/>
                </a:solidFill>
              </a:rPr>
              <a:t>Importancia de la comunicación en crisis</a:t>
            </a:r>
          </a:p>
        </p:txBody>
      </p:sp>
      <p:sp>
        <p:nvSpPr>
          <p:cNvPr id="215" name="Rectangle 214">
            <a:extLst>
              <a:ext uri="{FF2B5EF4-FFF2-40B4-BE49-F238E27FC236}">
                <a16:creationId xmlns:a16="http://schemas.microsoft.com/office/drawing/2014/main" id="{13AFE945-1351-4152-C7FB-365CFAADD6FC}"/>
              </a:ext>
            </a:extLst>
          </p:cNvPr>
          <p:cNvSpPr/>
          <p:nvPr/>
        </p:nvSpPr>
        <p:spPr>
          <a:xfrm>
            <a:off x="474265" y="231620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pic>
        <p:nvPicPr>
          <p:cNvPr id="3" name="Picture 2" descr="Icon  Description automatically generated">
            <a:extLst>
              <a:ext uri="{FF2B5EF4-FFF2-40B4-BE49-F238E27FC236}">
                <a16:creationId xmlns:a16="http://schemas.microsoft.com/office/drawing/2014/main" id="{ED827608-8BEA-2849-C9B3-1358FD68C059}"/>
              </a:ext>
            </a:extLst>
          </p:cNvPr>
          <p:cNvPicPr/>
          <p:nvPr/>
        </p:nvPicPr>
        <p:blipFill rotWithShape="1">
          <a:blip r:embed="rId2" cstate="screen">
            <a:extLst>
              <a:ext uri="{28A0092B-C50C-407E-A947-70E740481C1C}">
                <a14:useLocalDpi xmlns:a14="http://schemas.microsoft.com/office/drawing/2010/main"/>
              </a:ext>
            </a:extLst>
          </a:blip>
          <a:srcRect l="18944" t="-17643" r="9491" b="40286"/>
          <a:stretch/>
        </p:blipFill>
        <p:spPr>
          <a:xfrm>
            <a:off x="149134" y="2637782"/>
            <a:ext cx="4250484" cy="4220217"/>
          </a:xfrm>
          <a:prstGeom prst="rect">
            <a:avLst/>
          </a:prstGeom>
        </p:spPr>
      </p:pic>
    </p:spTree>
    <p:extLst>
      <p:ext uri="{BB962C8B-B14F-4D97-AF65-F5344CB8AC3E}">
        <p14:creationId xmlns:p14="http://schemas.microsoft.com/office/powerpoint/2010/main" val="238202155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49">
            <a:extLst>
              <a:ext uri="{FF2B5EF4-FFF2-40B4-BE49-F238E27FC236}">
                <a16:creationId xmlns:a16="http://schemas.microsoft.com/office/drawing/2014/main" id="{D757A3B3-349A-E58F-6AEE-8284F535B134}"/>
              </a:ext>
            </a:extLst>
          </p:cNvPr>
          <p:cNvSpPr txBox="1"/>
          <p:nvPr/>
        </p:nvSpPr>
        <p:spPr>
          <a:xfrm>
            <a:off x="6159908" y="837186"/>
            <a:ext cx="5578549" cy="5851667"/>
          </a:xfrm>
          <a:prstGeom prst="rect">
            <a:avLst/>
          </a:prstGeom>
          <a:noFill/>
        </p:spPr>
        <p:txBody>
          <a:bodyPr wrap="square" numCol="1" rtlCol="0" anchor="t">
            <a:spAutoFit/>
          </a:bodyPr>
          <a:lstStyle/>
          <a:p>
            <a:pPr algn="l" rtl="0">
              <a:lnSpc>
                <a:spcPts val="2240"/>
              </a:lnSpc>
              <a:defRPr/>
            </a:pPr>
            <a:r>
              <a:rPr lang="en-GB" sz="2200" b="1" dirty="0">
                <a:solidFill>
                  <a:srgbClr val="F16924"/>
                </a:solidFill>
                <a:ea typeface="Lato Light" panose="020F0502020204030203" pitchFamily="34" charset="0"/>
                <a:cs typeface="Lato Light" panose="020F0502020204030203" pitchFamily="34" charset="0"/>
              </a:rPr>
              <a:t>Analisis de los interesados</a:t>
            </a:r>
          </a:p>
          <a:p>
            <a:pPr algn="l" rtl="0">
              <a:lnSpc>
                <a:spcPts val="2240"/>
              </a:lnSpc>
              <a:defRPr/>
            </a:pPr>
            <a:r>
              <a:rPr lang="en-GB" sz="2200" dirty="0">
                <a:solidFill>
                  <a:srgbClr val="595959"/>
                </a:solidFill>
                <a:ea typeface="Lato Light" panose="020F0502020204030203" pitchFamily="34" charset="0"/>
                <a:cs typeface="Lato Light" panose="020F0502020204030203" pitchFamily="34" charset="0"/>
              </a:rPr>
              <a:t>Sepa con quién necesita comunicarse (consulte la sección sobre Análisis de las partes interesadas)</a:t>
            </a:r>
          </a:p>
          <a:p>
            <a:pPr algn="l" rtl="0">
              <a:lnSpc>
                <a:spcPct val="150000"/>
              </a:lnSpc>
              <a:defRPr/>
            </a:pPr>
            <a:endParaRPr lang="en-GB" sz="2200" dirty="0">
              <a:solidFill>
                <a:srgbClr val="595959"/>
              </a:solidFill>
              <a:ea typeface="Lato Light" panose="020F0502020204030203" pitchFamily="34" charset="0"/>
              <a:cs typeface="Lato Light" panose="020F0502020204030203" pitchFamily="34" charset="0"/>
            </a:endParaRPr>
          </a:p>
          <a:p>
            <a:pPr algn="l" rtl="0">
              <a:lnSpc>
                <a:spcPts val="2240"/>
              </a:lnSpc>
              <a:defRPr/>
            </a:pPr>
            <a:r>
              <a:rPr lang="en-GB" sz="2200" b="1" dirty="0">
                <a:solidFill>
                  <a:srgbClr val="F16924"/>
                </a:solidFill>
                <a:ea typeface="Lato Light" panose="020F0502020204030203" pitchFamily="34" charset="0"/>
                <a:cs typeface="Lato Light" panose="020F0502020204030203" pitchFamily="34" charset="0"/>
              </a:rPr>
              <a:t>Aclarar responsabilidades</a:t>
            </a:r>
          </a:p>
          <a:p>
            <a:pPr algn="l" rtl="0">
              <a:lnSpc>
                <a:spcPts val="2240"/>
              </a:lnSpc>
              <a:defRPr/>
            </a:pPr>
            <a:r>
              <a:rPr lang="en-GB" sz="2200" dirty="0">
                <a:solidFill>
                  <a:srgbClr val="595959"/>
                </a:solidFill>
                <a:ea typeface="Lato Light" panose="020F0502020204030203" pitchFamily="34" charset="0"/>
                <a:cs typeface="Lato Light" panose="020F0502020204030203" pitchFamily="34" charset="0"/>
              </a:rPr>
              <a:t>Determinar claramente quién puede comunicarse con quién</a:t>
            </a:r>
          </a:p>
          <a:p>
            <a:pPr algn="l" rtl="0">
              <a:lnSpc>
                <a:spcPct val="150000"/>
              </a:lnSpc>
              <a:defRPr/>
            </a:pPr>
            <a:endParaRPr lang="en-GB" sz="2200" dirty="0">
              <a:solidFill>
                <a:srgbClr val="595959"/>
              </a:solidFill>
              <a:ea typeface="Lato Light" panose="020F0502020204030203" pitchFamily="34" charset="0"/>
              <a:cs typeface="Lato Light" panose="020F0502020204030203" pitchFamily="34" charset="0"/>
            </a:endParaRPr>
          </a:p>
          <a:p>
            <a:pPr algn="l" rtl="0">
              <a:lnSpc>
                <a:spcPts val="2240"/>
              </a:lnSpc>
              <a:defRPr/>
            </a:pPr>
            <a:r>
              <a:rPr lang="en-GB" sz="2200" b="1" dirty="0">
                <a:solidFill>
                  <a:srgbClr val="F16924"/>
                </a:solidFill>
                <a:ea typeface="Lato Light" panose="020F0502020204030203" pitchFamily="34" charset="0"/>
                <a:cs typeface="Lato Light" panose="020F0502020204030203" pitchFamily="34" charset="0"/>
              </a:rPr>
              <a:t>Empoderar a la gente</a:t>
            </a:r>
          </a:p>
          <a:p>
            <a:pPr algn="l" rtl="0">
              <a:lnSpc>
                <a:spcPts val="2240"/>
              </a:lnSpc>
              <a:defRPr/>
            </a:pPr>
            <a:r>
              <a:rPr lang="en-GB" sz="2200" dirty="0">
                <a:solidFill>
                  <a:srgbClr val="595959"/>
                </a:solidFill>
                <a:ea typeface="Lato Light" panose="020F0502020204030203" pitchFamily="34" charset="0"/>
                <a:cs typeface="Lato Light" panose="020F0502020204030203" pitchFamily="34" charset="0"/>
              </a:rPr>
              <a:t>Capacitar a las personas relevantes en la estrategia de comunicación</a:t>
            </a:r>
          </a:p>
          <a:p>
            <a:pPr algn="l" rtl="0">
              <a:lnSpc>
                <a:spcPct val="150000"/>
              </a:lnSpc>
              <a:defRPr/>
            </a:pPr>
            <a:endParaRPr lang="en-GB" sz="2200" dirty="0">
              <a:solidFill>
                <a:srgbClr val="595959"/>
              </a:solidFill>
              <a:ea typeface="Lato Light" panose="020F0502020204030203" pitchFamily="34" charset="0"/>
              <a:cs typeface="Lato Light" panose="020F0502020204030203" pitchFamily="34" charset="0"/>
            </a:endParaRPr>
          </a:p>
          <a:p>
            <a:pPr algn="l" rtl="0">
              <a:lnSpc>
                <a:spcPts val="2240"/>
              </a:lnSpc>
              <a:defRPr/>
            </a:pPr>
            <a:r>
              <a:rPr lang="en-GB" sz="2200" b="1" dirty="0">
                <a:solidFill>
                  <a:srgbClr val="F16924"/>
                </a:solidFill>
                <a:ea typeface="Lato Light" panose="020F0502020204030203" pitchFamily="34" charset="0"/>
                <a:cs typeface="Lato Light" panose="020F0502020204030203" pitchFamily="34" charset="0"/>
              </a:rPr>
              <a:t>preparar materiales</a:t>
            </a:r>
          </a:p>
          <a:p>
            <a:pPr algn="l" rtl="0">
              <a:lnSpc>
                <a:spcPts val="2240"/>
              </a:lnSpc>
              <a:defRPr/>
            </a:pPr>
            <a:r>
              <a:rPr lang="en-GB" sz="2200" dirty="0">
                <a:solidFill>
                  <a:srgbClr val="595959"/>
                </a:solidFill>
                <a:ea typeface="Lato Light" panose="020F0502020204030203" pitchFamily="34" charset="0"/>
                <a:cs typeface="Lato Light" panose="020F0502020204030203" pitchFamily="34" charset="0"/>
              </a:rPr>
              <a:t>Actualice la información relevante sobre su empresa con anticipación, que también puede ser relevante durante la crisis y elabore kits de comunicación.</a:t>
            </a:r>
          </a:p>
          <a:p>
            <a:pPr algn="l" rtl="0">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p:txBody>
      </p:sp>
      <p:sp>
        <p:nvSpPr>
          <p:cNvPr id="65" name="Rectangle 64">
            <a:extLst>
              <a:ext uri="{FF2B5EF4-FFF2-40B4-BE49-F238E27FC236}">
                <a16:creationId xmlns:a16="http://schemas.microsoft.com/office/drawing/2014/main" id="{AF40216C-D6F3-F306-3BA4-29DF71354095}"/>
              </a:ext>
            </a:extLst>
          </p:cNvPr>
          <p:cNvSpPr/>
          <p:nvPr/>
        </p:nvSpPr>
        <p:spPr>
          <a:xfrm>
            <a:off x="351337" y="0"/>
            <a:ext cx="5105433"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69" name="Text Placeholder 3">
            <a:extLst>
              <a:ext uri="{FF2B5EF4-FFF2-40B4-BE49-F238E27FC236}">
                <a16:creationId xmlns:a16="http://schemas.microsoft.com/office/drawing/2014/main" id="{A00325A7-0669-3AFE-FDAA-A3FA9F9AABB7}"/>
              </a:ext>
            </a:extLst>
          </p:cNvPr>
          <p:cNvSpPr>
            <a:spLocks noGrp="1"/>
          </p:cNvSpPr>
          <p:nvPr>
            <p:ph type="body" sz="quarter" idx="16"/>
          </p:nvPr>
        </p:nvSpPr>
        <p:spPr>
          <a:xfrm>
            <a:off x="688814" y="550490"/>
            <a:ext cx="3654315" cy="3041709"/>
          </a:xfrm>
        </p:spPr>
        <p:txBody>
          <a:bodyPr>
            <a:normAutofit/>
          </a:bodyPr>
          <a:lstStyle/>
          <a:p>
            <a:pPr algn="l" rtl="0"/>
            <a:r>
              <a:rPr lang="en-GB" dirty="0">
                <a:solidFill>
                  <a:schemeClr val="bg1"/>
                </a:solidFill>
              </a:rPr>
              <a:t>Prepárese para la comunicación</a:t>
            </a:r>
            <a:r>
              <a:rPr lang="en-GB" b="1" dirty="0">
                <a:solidFill>
                  <a:schemeClr val="bg1"/>
                </a:solidFill>
              </a:rPr>
              <a:t>ANTES DE</a:t>
            </a:r>
            <a:r>
              <a:rPr lang="en-GB" dirty="0">
                <a:solidFill>
                  <a:schemeClr val="bg1"/>
                </a:solidFill>
              </a:rPr>
              <a:t>una crisis</a:t>
            </a:r>
          </a:p>
          <a:p>
            <a:pPr algn="l" rtl="0"/>
            <a:endParaRPr lang="en-US" dirty="0"/>
          </a:p>
        </p:txBody>
      </p:sp>
      <p:grpSp>
        <p:nvGrpSpPr>
          <p:cNvPr id="71" name="Group 70">
            <a:extLst>
              <a:ext uri="{FF2B5EF4-FFF2-40B4-BE49-F238E27FC236}">
                <a16:creationId xmlns:a16="http://schemas.microsoft.com/office/drawing/2014/main" id="{417EDDE8-3EF8-2D15-C593-67EE955D566C}"/>
              </a:ext>
            </a:extLst>
          </p:cNvPr>
          <p:cNvGrpSpPr/>
          <p:nvPr/>
        </p:nvGrpSpPr>
        <p:grpSpPr>
          <a:xfrm>
            <a:off x="5108697" y="761340"/>
            <a:ext cx="701992" cy="701724"/>
            <a:chOff x="7037107" y="1407878"/>
            <a:chExt cx="701992" cy="701724"/>
          </a:xfrm>
        </p:grpSpPr>
        <p:sp>
          <p:nvSpPr>
            <p:cNvPr id="72" name="Freeform 71">
              <a:extLst>
                <a:ext uri="{FF2B5EF4-FFF2-40B4-BE49-F238E27FC236}">
                  <a16:creationId xmlns:a16="http://schemas.microsoft.com/office/drawing/2014/main" id="{98095F9C-2D50-BB58-C922-BA7BC79ECCAD}"/>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73" name="Freeform 72">
              <a:extLst>
                <a:ext uri="{FF2B5EF4-FFF2-40B4-BE49-F238E27FC236}">
                  <a16:creationId xmlns:a16="http://schemas.microsoft.com/office/drawing/2014/main" id="{07C391F8-3B5F-EE57-ACDE-0C45CCDE5EC7}"/>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74" name="TextBox 73">
              <a:extLst>
                <a:ext uri="{FF2B5EF4-FFF2-40B4-BE49-F238E27FC236}">
                  <a16:creationId xmlns:a16="http://schemas.microsoft.com/office/drawing/2014/main" id="{0C99CBC8-55E0-4EF9-F2B0-2A7229140B67}"/>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cxnSp>
        <p:nvCxnSpPr>
          <p:cNvPr id="76" name="Straight Connector 75">
            <a:extLst>
              <a:ext uri="{FF2B5EF4-FFF2-40B4-BE49-F238E27FC236}">
                <a16:creationId xmlns:a16="http://schemas.microsoft.com/office/drawing/2014/main" id="{F97680B3-A51B-00CC-60AD-B35BE7DB5730}"/>
              </a:ext>
            </a:extLst>
          </p:cNvPr>
          <p:cNvCxnSpPr>
            <a:cxnSpLocks/>
          </p:cNvCxnSpPr>
          <p:nvPr/>
        </p:nvCxnSpPr>
        <p:spPr>
          <a:xfrm>
            <a:off x="5456770" y="4670330"/>
            <a:ext cx="673523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61F7FA56-B03C-81F6-BE0E-2704DE19540A}"/>
              </a:ext>
            </a:extLst>
          </p:cNvPr>
          <p:cNvGrpSpPr/>
          <p:nvPr/>
        </p:nvGrpSpPr>
        <p:grpSpPr>
          <a:xfrm>
            <a:off x="5108697" y="2083827"/>
            <a:ext cx="701992" cy="701724"/>
            <a:chOff x="7037107" y="1407878"/>
            <a:chExt cx="701992" cy="701724"/>
          </a:xfrm>
        </p:grpSpPr>
        <p:sp>
          <p:nvSpPr>
            <p:cNvPr id="80" name="Freeform 79">
              <a:extLst>
                <a:ext uri="{FF2B5EF4-FFF2-40B4-BE49-F238E27FC236}">
                  <a16:creationId xmlns:a16="http://schemas.microsoft.com/office/drawing/2014/main" id="{AF46E66D-E6A0-1987-B05D-A2CE70685DAF}"/>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81" name="Freeform 80">
              <a:extLst>
                <a:ext uri="{FF2B5EF4-FFF2-40B4-BE49-F238E27FC236}">
                  <a16:creationId xmlns:a16="http://schemas.microsoft.com/office/drawing/2014/main" id="{85DA42FA-8CA0-338C-83AA-614E0F934049}"/>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82" name="TextBox 81">
              <a:extLst>
                <a:ext uri="{FF2B5EF4-FFF2-40B4-BE49-F238E27FC236}">
                  <a16:creationId xmlns:a16="http://schemas.microsoft.com/office/drawing/2014/main" id="{12106801-C2C7-8E46-397C-96E4A1EB230D}"/>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83" name="Group 82">
            <a:extLst>
              <a:ext uri="{FF2B5EF4-FFF2-40B4-BE49-F238E27FC236}">
                <a16:creationId xmlns:a16="http://schemas.microsoft.com/office/drawing/2014/main" id="{75A57721-777F-D1A0-CB43-D8CB08A5B899}"/>
              </a:ext>
            </a:extLst>
          </p:cNvPr>
          <p:cNvGrpSpPr/>
          <p:nvPr/>
        </p:nvGrpSpPr>
        <p:grpSpPr>
          <a:xfrm>
            <a:off x="5108697" y="3456445"/>
            <a:ext cx="701992" cy="701724"/>
            <a:chOff x="7037107" y="1407878"/>
            <a:chExt cx="701992" cy="701724"/>
          </a:xfrm>
        </p:grpSpPr>
        <p:sp>
          <p:nvSpPr>
            <p:cNvPr id="84" name="Freeform 83">
              <a:extLst>
                <a:ext uri="{FF2B5EF4-FFF2-40B4-BE49-F238E27FC236}">
                  <a16:creationId xmlns:a16="http://schemas.microsoft.com/office/drawing/2014/main" id="{ECF8D7B7-1411-C7E3-6DE1-A975704BD391}"/>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85" name="Freeform 84">
              <a:extLst>
                <a:ext uri="{FF2B5EF4-FFF2-40B4-BE49-F238E27FC236}">
                  <a16:creationId xmlns:a16="http://schemas.microsoft.com/office/drawing/2014/main" id="{40D11EB8-0496-080F-40D0-06CEA2D2659B}"/>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86" name="TextBox 85">
              <a:extLst>
                <a:ext uri="{FF2B5EF4-FFF2-40B4-BE49-F238E27FC236}">
                  <a16:creationId xmlns:a16="http://schemas.microsoft.com/office/drawing/2014/main" id="{122A56BA-D6CF-12BA-C3F6-911549DF82E2}"/>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87" name="Group 86">
            <a:extLst>
              <a:ext uri="{FF2B5EF4-FFF2-40B4-BE49-F238E27FC236}">
                <a16:creationId xmlns:a16="http://schemas.microsoft.com/office/drawing/2014/main" id="{A4927791-10A8-A9A8-3503-B9E95739B9CF}"/>
              </a:ext>
            </a:extLst>
          </p:cNvPr>
          <p:cNvGrpSpPr/>
          <p:nvPr/>
        </p:nvGrpSpPr>
        <p:grpSpPr>
          <a:xfrm>
            <a:off x="5108697" y="4798308"/>
            <a:ext cx="701992" cy="701724"/>
            <a:chOff x="7037107" y="1407878"/>
            <a:chExt cx="701992" cy="701724"/>
          </a:xfrm>
        </p:grpSpPr>
        <p:sp>
          <p:nvSpPr>
            <p:cNvPr id="88" name="Freeform 87">
              <a:extLst>
                <a:ext uri="{FF2B5EF4-FFF2-40B4-BE49-F238E27FC236}">
                  <a16:creationId xmlns:a16="http://schemas.microsoft.com/office/drawing/2014/main" id="{9CB37A8D-E0C6-DA20-9EF8-EB65E31195C6}"/>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89" name="Freeform 88">
              <a:extLst>
                <a:ext uri="{FF2B5EF4-FFF2-40B4-BE49-F238E27FC236}">
                  <a16:creationId xmlns:a16="http://schemas.microsoft.com/office/drawing/2014/main" id="{C42DB063-DFC6-3B81-2E91-713463015762}"/>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90" name="TextBox 89">
              <a:extLst>
                <a:ext uri="{FF2B5EF4-FFF2-40B4-BE49-F238E27FC236}">
                  <a16:creationId xmlns:a16="http://schemas.microsoft.com/office/drawing/2014/main" id="{9FA189D2-3675-3BF2-B140-2F43E499CDC3}"/>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sp>
        <p:nvSpPr>
          <p:cNvPr id="2" name="Text Placeholder 2">
            <a:extLst>
              <a:ext uri="{FF2B5EF4-FFF2-40B4-BE49-F238E27FC236}">
                <a16:creationId xmlns:a16="http://schemas.microsoft.com/office/drawing/2014/main" id="{046B1680-4210-0AD3-D76D-79A564F0B15B}"/>
              </a:ext>
            </a:extLst>
          </p:cNvPr>
          <p:cNvSpPr txBox="1">
            <a:spLocks/>
          </p:cNvSpPr>
          <p:nvPr/>
        </p:nvSpPr>
        <p:spPr>
          <a:xfrm>
            <a:off x="692494" y="3062178"/>
            <a:ext cx="4117214" cy="4261580"/>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r>
              <a:rPr lang="en-US" dirty="0">
                <a:solidFill>
                  <a:schemeClr val="bg1"/>
                </a:solidFill>
              </a:rPr>
              <a:t>En una crisis, la comunicación con las partes interesadas es un tema extremadamente importante. Porque en el transcurso del ciclo de vida de una empresa, es </a:t>
            </a:r>
            <a:r>
              <a:rPr lang="en-US" dirty="0" err="1">
                <a:solidFill>
                  <a:schemeClr val="bg1"/>
                </a:solidFill>
              </a:rPr>
              <a:t>casi</a:t>
            </a:r>
            <a:r>
              <a:rPr lang="en-US" dirty="0">
                <a:solidFill>
                  <a:schemeClr val="bg1"/>
                </a:solidFill>
              </a:rPr>
              <a:t> SECURE  que ocurra la crisis. Una empresa definitivamente debe prepararse antes de una crisis.</a:t>
            </a:r>
          </a:p>
          <a:p>
            <a:pPr marL="12700" indent="-12700" algn="l" rtl="0"/>
            <a:r>
              <a:rPr lang="en-US" dirty="0">
                <a:solidFill>
                  <a:schemeClr val="bg1"/>
                </a:solidFill>
              </a:rPr>
              <a:t> </a:t>
            </a:r>
          </a:p>
          <a:p>
            <a:pPr marL="12700" indent="-12700" algn="l" rtl="0"/>
            <a:r>
              <a:rPr lang="en-US" dirty="0">
                <a:solidFill>
                  <a:schemeClr val="bg1"/>
                </a:solidFill>
              </a:rPr>
              <a:t>Y: Construir un "Banco de Buena Voluntad" con partes interesadas positivas por adelantado</a:t>
            </a:r>
          </a:p>
          <a:p>
            <a:pPr marL="12700" indent="-12700" algn="l" rtl="0"/>
            <a:endParaRPr lang="en-US" dirty="0">
              <a:solidFill>
                <a:schemeClr val="bg1"/>
              </a:solidFill>
            </a:endParaRPr>
          </a:p>
        </p:txBody>
      </p:sp>
      <p:sp>
        <p:nvSpPr>
          <p:cNvPr id="4" name="Rectangle 3">
            <a:extLst>
              <a:ext uri="{FF2B5EF4-FFF2-40B4-BE49-F238E27FC236}">
                <a16:creationId xmlns:a16="http://schemas.microsoft.com/office/drawing/2014/main" id="{CC45B7D4-2E3F-83EC-3AED-84EAFD560075}"/>
              </a:ext>
            </a:extLst>
          </p:cNvPr>
          <p:cNvSpPr/>
          <p:nvPr/>
        </p:nvSpPr>
        <p:spPr>
          <a:xfrm>
            <a:off x="793240" y="2337471"/>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cxnSp>
        <p:nvCxnSpPr>
          <p:cNvPr id="7" name="Straight Connector 6">
            <a:extLst>
              <a:ext uri="{FF2B5EF4-FFF2-40B4-BE49-F238E27FC236}">
                <a16:creationId xmlns:a16="http://schemas.microsoft.com/office/drawing/2014/main" id="{AD972B35-57DF-D042-0CE8-AAA42335288B}"/>
              </a:ext>
            </a:extLst>
          </p:cNvPr>
          <p:cNvCxnSpPr>
            <a:cxnSpLocks/>
          </p:cNvCxnSpPr>
          <p:nvPr/>
        </p:nvCxnSpPr>
        <p:spPr>
          <a:xfrm>
            <a:off x="5456770" y="3274828"/>
            <a:ext cx="673523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ECD1B48-9863-6C06-BC63-4EAC5377C182}"/>
              </a:ext>
            </a:extLst>
          </p:cNvPr>
          <p:cNvCxnSpPr>
            <a:cxnSpLocks/>
          </p:cNvCxnSpPr>
          <p:nvPr/>
        </p:nvCxnSpPr>
        <p:spPr>
          <a:xfrm>
            <a:off x="5456770" y="1909409"/>
            <a:ext cx="673523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459826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6107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4" name="Text Placeholder 2">
            <a:extLst>
              <a:ext uri="{FF2B5EF4-FFF2-40B4-BE49-F238E27FC236}">
                <a16:creationId xmlns:a16="http://schemas.microsoft.com/office/drawing/2014/main" id="{E14E7544-3E64-27D1-24B3-C598C4FF7AD7}"/>
              </a:ext>
            </a:extLst>
          </p:cNvPr>
          <p:cNvSpPr txBox="1">
            <a:spLocks/>
          </p:cNvSpPr>
          <p:nvPr/>
        </p:nvSpPr>
        <p:spPr>
          <a:xfrm>
            <a:off x="6160847" y="406400"/>
            <a:ext cx="5624753" cy="1799036"/>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r>
              <a:rPr lang="en-US" dirty="0">
                <a:solidFill>
                  <a:schemeClr val="bg1"/>
                </a:solidFill>
              </a:rPr>
              <a:t>Crear un plan de comunicación INDEPENDIENTE pero INTEGRADO con el</a:t>
            </a:r>
            <a:r>
              <a:rPr lang="en-US" dirty="0" err="1">
                <a:solidFill>
                  <a:schemeClr val="bg1"/>
                </a:solidFill>
              </a:rPr>
              <a:t>de la organización</a:t>
            </a:r>
            <a:r>
              <a:rPr lang="en-US" dirty="0">
                <a:solidFill>
                  <a:schemeClr val="bg1"/>
                </a:solidFill>
              </a:rPr>
              <a:t>planes operativos y de negocio y continuidad.</a:t>
            </a: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530825" y="282511"/>
            <a:ext cx="5437049"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Prepárese para la comunicación</a:t>
            </a:r>
            <a:r>
              <a:rPr lang="en-GB" b="1" dirty="0">
                <a:solidFill>
                  <a:schemeClr val="bg1"/>
                </a:solidFill>
              </a:rPr>
              <a:t>ANTES DE</a:t>
            </a:r>
            <a:r>
              <a:rPr lang="en-GB" dirty="0">
                <a:solidFill>
                  <a:schemeClr val="bg1"/>
                </a:solidFill>
              </a:rPr>
              <a:t>una crisis</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5424072" y="858511"/>
            <a:ext cx="118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grpSp>
        <p:nvGrpSpPr>
          <p:cNvPr id="125" name="Group 124">
            <a:extLst>
              <a:ext uri="{FF2B5EF4-FFF2-40B4-BE49-F238E27FC236}">
                <a16:creationId xmlns:a16="http://schemas.microsoft.com/office/drawing/2014/main" id="{D59F4555-67E3-BEC3-8307-83F8DD3F8604}"/>
              </a:ext>
            </a:extLst>
          </p:cNvPr>
          <p:cNvGrpSpPr/>
          <p:nvPr/>
        </p:nvGrpSpPr>
        <p:grpSpPr>
          <a:xfrm>
            <a:off x="704942" y="2001960"/>
            <a:ext cx="10652423" cy="4674793"/>
            <a:chOff x="700047" y="2156480"/>
            <a:chExt cx="10961127" cy="4810267"/>
          </a:xfrm>
        </p:grpSpPr>
        <p:cxnSp>
          <p:nvCxnSpPr>
            <p:cNvPr id="60" name="Straight Connector 59">
              <a:extLst>
                <a:ext uri="{FF2B5EF4-FFF2-40B4-BE49-F238E27FC236}">
                  <a16:creationId xmlns:a16="http://schemas.microsoft.com/office/drawing/2014/main" id="{2BACD4A3-70E1-AE2F-A73B-1B767DED7A71}"/>
                </a:ext>
              </a:extLst>
            </p:cNvPr>
            <p:cNvCxnSpPr/>
            <p:nvPr/>
          </p:nvCxnSpPr>
          <p:spPr>
            <a:xfrm>
              <a:off x="6795806" y="2959036"/>
              <a:ext cx="1048319" cy="0"/>
            </a:xfrm>
            <a:prstGeom prst="line">
              <a:avLst/>
            </a:prstGeom>
            <a:ln w="1905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CED557A5-5A12-BF08-FF4C-0D2FD1116128}"/>
                </a:ext>
              </a:extLst>
            </p:cNvPr>
            <p:cNvCxnSpPr>
              <a:cxnSpLocks/>
            </p:cNvCxnSpPr>
            <p:nvPr/>
          </p:nvCxnSpPr>
          <p:spPr>
            <a:xfrm flipV="1">
              <a:off x="7557934" y="4450304"/>
              <a:ext cx="1052898" cy="3904"/>
            </a:xfrm>
            <a:prstGeom prst="line">
              <a:avLst/>
            </a:prstGeom>
            <a:ln w="1905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060D10B-DDCB-508B-1D56-9AC8082A1EEE}"/>
                </a:ext>
              </a:extLst>
            </p:cNvPr>
            <p:cNvCxnSpPr>
              <a:cxnSpLocks/>
            </p:cNvCxnSpPr>
            <p:nvPr/>
          </p:nvCxnSpPr>
          <p:spPr>
            <a:xfrm>
              <a:off x="6424851" y="5943390"/>
              <a:ext cx="1438909" cy="0"/>
            </a:xfrm>
            <a:prstGeom prst="line">
              <a:avLst/>
            </a:prstGeom>
            <a:ln w="19050">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63" name="Freeform 400">
              <a:extLst>
                <a:ext uri="{FF2B5EF4-FFF2-40B4-BE49-F238E27FC236}">
                  <a16:creationId xmlns:a16="http://schemas.microsoft.com/office/drawing/2014/main" id="{8AE71028-54A9-2DB2-951B-578B3A9B1160}"/>
                </a:ext>
              </a:extLst>
            </p:cNvPr>
            <p:cNvSpPr>
              <a:spLocks noChangeArrowheads="1"/>
            </p:cNvSpPr>
            <p:nvPr/>
          </p:nvSpPr>
          <p:spPr bwMode="auto">
            <a:xfrm rot="10800000">
              <a:off x="5939856" y="4461815"/>
              <a:ext cx="1647697" cy="2267602"/>
            </a:xfrm>
            <a:custGeom>
              <a:avLst/>
              <a:gdLst>
                <a:gd name="T0" fmla="*/ 3597 w 3598"/>
                <a:gd name="T1" fmla="*/ 4951 h 4952"/>
                <a:gd name="T2" fmla="*/ 3597 w 3598"/>
                <a:gd name="T3" fmla="*/ 4951 h 4952"/>
                <a:gd name="T4" fmla="*/ 3597 w 3598"/>
                <a:gd name="T5" fmla="*/ 2078 h 4952"/>
                <a:gd name="T6" fmla="*/ 1103 w 3598"/>
                <a:gd name="T7" fmla="*/ 642 h 4952"/>
                <a:gd name="T8" fmla="*/ 1103 w 3598"/>
                <a:gd name="T9" fmla="*/ 642 h 4952"/>
                <a:gd name="T10" fmla="*/ 1103 w 3598"/>
                <a:gd name="T11" fmla="*/ 3515 h 4952"/>
                <a:gd name="T12" fmla="*/ 3597 w 3598"/>
                <a:gd name="T13" fmla="*/ 4951 h 4952"/>
              </a:gdLst>
              <a:ahLst/>
              <a:cxnLst>
                <a:cxn ang="0">
                  <a:pos x="T0" y="T1"/>
                </a:cxn>
                <a:cxn ang="0">
                  <a:pos x="T2" y="T3"/>
                </a:cxn>
                <a:cxn ang="0">
                  <a:pos x="T4" y="T5"/>
                </a:cxn>
                <a:cxn ang="0">
                  <a:pos x="T6" y="T7"/>
                </a:cxn>
                <a:cxn ang="0">
                  <a:pos x="T8" y="T9"/>
                </a:cxn>
                <a:cxn ang="0">
                  <a:pos x="T10" y="T11"/>
                </a:cxn>
                <a:cxn ang="0">
                  <a:pos x="T12" y="T13"/>
                </a:cxn>
              </a:cxnLst>
              <a:rect l="0" t="0" r="r" b="b"/>
              <a:pathLst>
                <a:path w="3598" h="4952">
                  <a:moveTo>
                    <a:pt x="3597" y="4951"/>
                  </a:moveTo>
                  <a:lnTo>
                    <a:pt x="3597" y="4951"/>
                  </a:lnTo>
                  <a:cubicBezTo>
                    <a:pt x="3597" y="2078"/>
                    <a:pt x="3597" y="2078"/>
                    <a:pt x="3597" y="2078"/>
                  </a:cubicBezTo>
                  <a:cubicBezTo>
                    <a:pt x="3588" y="804"/>
                    <a:pt x="2205" y="0"/>
                    <a:pt x="1103" y="642"/>
                  </a:cubicBezTo>
                  <a:lnTo>
                    <a:pt x="1103" y="642"/>
                  </a:lnTo>
                  <a:cubicBezTo>
                    <a:pt x="0" y="1283"/>
                    <a:pt x="0" y="2882"/>
                    <a:pt x="1103" y="3515"/>
                  </a:cubicBezTo>
                  <a:cubicBezTo>
                    <a:pt x="3597" y="4951"/>
                    <a:pt x="3597" y="4951"/>
                    <a:pt x="3597" y="4951"/>
                  </a:cubicBezTo>
                </a:path>
              </a:pathLst>
            </a:custGeom>
            <a:solidFill>
              <a:srgbClr val="F16924"/>
            </a:solidFill>
            <a:ln w="22680" cap="flat">
              <a:noFill/>
              <a:round/>
              <a:headEnd/>
              <a:tailEnd/>
            </a:ln>
            <a:effectLst/>
          </p:spPr>
          <p:txBody>
            <a:bodyPr wrap="none" anchor="ctr"/>
            <a:lstStyle/>
            <a:p>
              <a:pPr algn="l" rtl="0"/>
              <a:endParaRPr lang="es-MX" sz="2200" dirty="0">
                <a:latin typeface="Calibri" panose="020F0502020204030204" pitchFamily="34" charset="0"/>
                <a:cs typeface="Calibri" panose="020F0502020204030204" pitchFamily="34" charset="0"/>
              </a:endParaRPr>
            </a:p>
          </p:txBody>
        </p:sp>
        <p:sp>
          <p:nvSpPr>
            <p:cNvPr id="64" name="Freeform 400">
              <a:extLst>
                <a:ext uri="{FF2B5EF4-FFF2-40B4-BE49-F238E27FC236}">
                  <a16:creationId xmlns:a16="http://schemas.microsoft.com/office/drawing/2014/main" id="{F203C847-EE0D-F1DF-C119-397114516B59}"/>
                </a:ext>
              </a:extLst>
            </p:cNvPr>
            <p:cNvSpPr>
              <a:spLocks noChangeArrowheads="1"/>
            </p:cNvSpPr>
            <p:nvPr/>
          </p:nvSpPr>
          <p:spPr bwMode="auto">
            <a:xfrm rot="18000000">
              <a:off x="3659853" y="3450953"/>
              <a:ext cx="1647697" cy="2267601"/>
            </a:xfrm>
            <a:custGeom>
              <a:avLst/>
              <a:gdLst>
                <a:gd name="T0" fmla="*/ 3597 w 3598"/>
                <a:gd name="T1" fmla="*/ 4951 h 4952"/>
                <a:gd name="T2" fmla="*/ 3597 w 3598"/>
                <a:gd name="T3" fmla="*/ 4951 h 4952"/>
                <a:gd name="T4" fmla="*/ 3597 w 3598"/>
                <a:gd name="T5" fmla="*/ 2078 h 4952"/>
                <a:gd name="T6" fmla="*/ 1103 w 3598"/>
                <a:gd name="T7" fmla="*/ 642 h 4952"/>
                <a:gd name="T8" fmla="*/ 1103 w 3598"/>
                <a:gd name="T9" fmla="*/ 642 h 4952"/>
                <a:gd name="T10" fmla="*/ 1103 w 3598"/>
                <a:gd name="T11" fmla="*/ 3515 h 4952"/>
                <a:gd name="T12" fmla="*/ 3597 w 3598"/>
                <a:gd name="T13" fmla="*/ 4951 h 4952"/>
              </a:gdLst>
              <a:ahLst/>
              <a:cxnLst>
                <a:cxn ang="0">
                  <a:pos x="T0" y="T1"/>
                </a:cxn>
                <a:cxn ang="0">
                  <a:pos x="T2" y="T3"/>
                </a:cxn>
                <a:cxn ang="0">
                  <a:pos x="T4" y="T5"/>
                </a:cxn>
                <a:cxn ang="0">
                  <a:pos x="T6" y="T7"/>
                </a:cxn>
                <a:cxn ang="0">
                  <a:pos x="T8" y="T9"/>
                </a:cxn>
                <a:cxn ang="0">
                  <a:pos x="T10" y="T11"/>
                </a:cxn>
                <a:cxn ang="0">
                  <a:pos x="T12" y="T13"/>
                </a:cxn>
              </a:cxnLst>
              <a:rect l="0" t="0" r="r" b="b"/>
              <a:pathLst>
                <a:path w="3598" h="4952">
                  <a:moveTo>
                    <a:pt x="3597" y="4951"/>
                  </a:moveTo>
                  <a:lnTo>
                    <a:pt x="3597" y="4951"/>
                  </a:lnTo>
                  <a:cubicBezTo>
                    <a:pt x="3597" y="2078"/>
                    <a:pt x="3597" y="2078"/>
                    <a:pt x="3597" y="2078"/>
                  </a:cubicBezTo>
                  <a:cubicBezTo>
                    <a:pt x="3588" y="804"/>
                    <a:pt x="2205" y="0"/>
                    <a:pt x="1103" y="642"/>
                  </a:cubicBezTo>
                  <a:lnTo>
                    <a:pt x="1103" y="642"/>
                  </a:lnTo>
                  <a:cubicBezTo>
                    <a:pt x="0" y="1283"/>
                    <a:pt x="0" y="2882"/>
                    <a:pt x="1103" y="3515"/>
                  </a:cubicBezTo>
                  <a:cubicBezTo>
                    <a:pt x="3597" y="4951"/>
                    <a:pt x="3597" y="4951"/>
                    <a:pt x="3597" y="4951"/>
                  </a:cubicBezTo>
                </a:path>
              </a:pathLst>
            </a:custGeom>
            <a:solidFill>
              <a:srgbClr val="B41F7A"/>
            </a:solidFill>
            <a:ln w="22680" cap="flat">
              <a:noFill/>
              <a:round/>
              <a:headEnd/>
              <a:tailEnd/>
            </a:ln>
            <a:effectLst/>
          </p:spPr>
          <p:txBody>
            <a:bodyPr wrap="none" anchor="ctr"/>
            <a:lstStyle/>
            <a:p>
              <a:pPr algn="l" rtl="0"/>
              <a:endParaRPr lang="es-MX" sz="2200" dirty="0">
                <a:latin typeface="Calibri" panose="020F0502020204030204" pitchFamily="34" charset="0"/>
                <a:cs typeface="Calibri" panose="020F0502020204030204" pitchFamily="34" charset="0"/>
              </a:endParaRPr>
            </a:p>
          </p:txBody>
        </p:sp>
        <p:sp>
          <p:nvSpPr>
            <p:cNvPr id="65" name="Freeform 400">
              <a:extLst>
                <a:ext uri="{FF2B5EF4-FFF2-40B4-BE49-F238E27FC236}">
                  <a16:creationId xmlns:a16="http://schemas.microsoft.com/office/drawing/2014/main" id="{C27D637E-D86E-8794-B9FF-B6728DAF4E8D}"/>
                </a:ext>
              </a:extLst>
            </p:cNvPr>
            <p:cNvSpPr>
              <a:spLocks noChangeArrowheads="1"/>
            </p:cNvSpPr>
            <p:nvPr/>
          </p:nvSpPr>
          <p:spPr bwMode="auto">
            <a:xfrm rot="3600000">
              <a:off x="5669611" y="1990698"/>
              <a:ext cx="1647697" cy="2267601"/>
            </a:xfrm>
            <a:custGeom>
              <a:avLst/>
              <a:gdLst>
                <a:gd name="T0" fmla="*/ 3597 w 3598"/>
                <a:gd name="T1" fmla="*/ 4951 h 4952"/>
                <a:gd name="T2" fmla="*/ 3597 w 3598"/>
                <a:gd name="T3" fmla="*/ 4951 h 4952"/>
                <a:gd name="T4" fmla="*/ 3597 w 3598"/>
                <a:gd name="T5" fmla="*/ 2078 h 4952"/>
                <a:gd name="T6" fmla="*/ 1103 w 3598"/>
                <a:gd name="T7" fmla="*/ 642 h 4952"/>
                <a:gd name="T8" fmla="*/ 1103 w 3598"/>
                <a:gd name="T9" fmla="*/ 642 h 4952"/>
                <a:gd name="T10" fmla="*/ 1103 w 3598"/>
                <a:gd name="T11" fmla="*/ 3515 h 4952"/>
                <a:gd name="T12" fmla="*/ 3597 w 3598"/>
                <a:gd name="T13" fmla="*/ 4951 h 4952"/>
              </a:gdLst>
              <a:ahLst/>
              <a:cxnLst>
                <a:cxn ang="0">
                  <a:pos x="T0" y="T1"/>
                </a:cxn>
                <a:cxn ang="0">
                  <a:pos x="T2" y="T3"/>
                </a:cxn>
                <a:cxn ang="0">
                  <a:pos x="T4" y="T5"/>
                </a:cxn>
                <a:cxn ang="0">
                  <a:pos x="T6" y="T7"/>
                </a:cxn>
                <a:cxn ang="0">
                  <a:pos x="T8" y="T9"/>
                </a:cxn>
                <a:cxn ang="0">
                  <a:pos x="T10" y="T11"/>
                </a:cxn>
                <a:cxn ang="0">
                  <a:pos x="T12" y="T13"/>
                </a:cxn>
              </a:cxnLst>
              <a:rect l="0" t="0" r="r" b="b"/>
              <a:pathLst>
                <a:path w="3598" h="4952">
                  <a:moveTo>
                    <a:pt x="3597" y="4951"/>
                  </a:moveTo>
                  <a:lnTo>
                    <a:pt x="3597" y="4951"/>
                  </a:lnTo>
                  <a:cubicBezTo>
                    <a:pt x="3597" y="2078"/>
                    <a:pt x="3597" y="2078"/>
                    <a:pt x="3597" y="2078"/>
                  </a:cubicBezTo>
                  <a:cubicBezTo>
                    <a:pt x="3588" y="804"/>
                    <a:pt x="2205" y="0"/>
                    <a:pt x="1103" y="642"/>
                  </a:cubicBezTo>
                  <a:lnTo>
                    <a:pt x="1103" y="642"/>
                  </a:lnTo>
                  <a:cubicBezTo>
                    <a:pt x="0" y="1283"/>
                    <a:pt x="0" y="2882"/>
                    <a:pt x="1103" y="3515"/>
                  </a:cubicBezTo>
                  <a:cubicBezTo>
                    <a:pt x="3597" y="4951"/>
                    <a:pt x="3597" y="4951"/>
                    <a:pt x="3597" y="4951"/>
                  </a:cubicBezTo>
                </a:path>
              </a:pathLst>
            </a:custGeom>
            <a:solidFill>
              <a:srgbClr val="B41F7A"/>
            </a:solidFill>
            <a:ln w="22680" cap="flat">
              <a:noFill/>
              <a:round/>
              <a:headEnd/>
              <a:tailEnd/>
            </a:ln>
            <a:effectLst/>
          </p:spPr>
          <p:txBody>
            <a:bodyPr wrap="none" anchor="ctr"/>
            <a:lstStyle/>
            <a:p>
              <a:pPr algn="l" rtl="0"/>
              <a:endParaRPr lang="es-MX" sz="2200" dirty="0">
                <a:latin typeface="Calibri" panose="020F0502020204030204" pitchFamily="34" charset="0"/>
                <a:cs typeface="Calibri" panose="020F0502020204030204" pitchFamily="34" charset="0"/>
              </a:endParaRPr>
            </a:p>
          </p:txBody>
        </p:sp>
        <p:sp>
          <p:nvSpPr>
            <p:cNvPr id="66" name="Freeform 394">
              <a:extLst>
                <a:ext uri="{FF2B5EF4-FFF2-40B4-BE49-F238E27FC236}">
                  <a16:creationId xmlns:a16="http://schemas.microsoft.com/office/drawing/2014/main" id="{1D4393A1-2CC7-A04C-7091-4FABEB570FA6}"/>
                </a:ext>
              </a:extLst>
            </p:cNvPr>
            <p:cNvSpPr>
              <a:spLocks noChangeArrowheads="1"/>
            </p:cNvSpPr>
            <p:nvPr/>
          </p:nvSpPr>
          <p:spPr bwMode="auto">
            <a:xfrm>
              <a:off x="5905529" y="3485138"/>
              <a:ext cx="2283756" cy="1898082"/>
            </a:xfrm>
            <a:custGeom>
              <a:avLst/>
              <a:gdLst>
                <a:gd name="T0" fmla="*/ 0 w 4987"/>
                <a:gd name="T1" fmla="*/ 2050 h 4147"/>
                <a:gd name="T2" fmla="*/ 0 w 4987"/>
                <a:gd name="T3" fmla="*/ 2050 h 4147"/>
                <a:gd name="T4" fmla="*/ 2474 w 4987"/>
                <a:gd name="T5" fmla="*/ 3504 h 4147"/>
                <a:gd name="T6" fmla="*/ 4977 w 4987"/>
                <a:gd name="T7" fmla="*/ 2086 h 4147"/>
                <a:gd name="T8" fmla="*/ 4977 w 4987"/>
                <a:gd name="T9" fmla="*/ 2086 h 4147"/>
                <a:gd name="T10" fmla="*/ 2492 w 4987"/>
                <a:gd name="T11" fmla="*/ 632 h 4147"/>
                <a:gd name="T12" fmla="*/ 0 w 4987"/>
                <a:gd name="T13" fmla="*/ 2050 h 4147"/>
              </a:gdLst>
              <a:ahLst/>
              <a:cxnLst>
                <a:cxn ang="0">
                  <a:pos x="T0" y="T1"/>
                </a:cxn>
                <a:cxn ang="0">
                  <a:pos x="T2" y="T3"/>
                </a:cxn>
                <a:cxn ang="0">
                  <a:pos x="T4" y="T5"/>
                </a:cxn>
                <a:cxn ang="0">
                  <a:pos x="T6" y="T7"/>
                </a:cxn>
                <a:cxn ang="0">
                  <a:pos x="T8" y="T9"/>
                </a:cxn>
                <a:cxn ang="0">
                  <a:pos x="T10" y="T11"/>
                </a:cxn>
                <a:cxn ang="0">
                  <a:pos x="T12" y="T13"/>
                </a:cxn>
              </a:cxnLst>
              <a:rect l="0" t="0" r="r" b="b"/>
              <a:pathLst>
                <a:path w="4987" h="4147">
                  <a:moveTo>
                    <a:pt x="0" y="2050"/>
                  </a:moveTo>
                  <a:lnTo>
                    <a:pt x="0" y="2050"/>
                  </a:lnTo>
                  <a:cubicBezTo>
                    <a:pt x="2474" y="3504"/>
                    <a:pt x="2474" y="3504"/>
                    <a:pt x="2474" y="3504"/>
                  </a:cubicBezTo>
                  <a:cubicBezTo>
                    <a:pt x="3577" y="4146"/>
                    <a:pt x="4968" y="3360"/>
                    <a:pt x="4977" y="2086"/>
                  </a:cubicBezTo>
                  <a:lnTo>
                    <a:pt x="4977" y="2086"/>
                  </a:lnTo>
                  <a:cubicBezTo>
                    <a:pt x="4986" y="803"/>
                    <a:pt x="3604" y="0"/>
                    <a:pt x="2492" y="632"/>
                  </a:cubicBezTo>
                  <a:cubicBezTo>
                    <a:pt x="0" y="2050"/>
                    <a:pt x="0" y="2050"/>
                    <a:pt x="0" y="2050"/>
                  </a:cubicBezTo>
                </a:path>
              </a:pathLst>
            </a:custGeom>
            <a:solidFill>
              <a:srgbClr val="7F1C58"/>
            </a:solidFill>
            <a:ln w="22680" cap="flat">
              <a:noFill/>
              <a:round/>
              <a:headEnd/>
              <a:tailEnd/>
            </a:ln>
            <a:effectLst/>
          </p:spPr>
          <p:txBody>
            <a:bodyPr wrap="none" anchor="ctr"/>
            <a:lstStyle/>
            <a:p>
              <a:pPr algn="l" rtl="0"/>
              <a:endParaRPr lang="es-MX" sz="2200">
                <a:latin typeface="Calibri" panose="020F0502020204030204" pitchFamily="34" charset="0"/>
                <a:cs typeface="Calibri" panose="020F0502020204030204" pitchFamily="34" charset="0"/>
              </a:endParaRPr>
            </a:p>
          </p:txBody>
        </p:sp>
        <p:sp>
          <p:nvSpPr>
            <p:cNvPr id="67" name="Freeform 397">
              <a:extLst>
                <a:ext uri="{FF2B5EF4-FFF2-40B4-BE49-F238E27FC236}">
                  <a16:creationId xmlns:a16="http://schemas.microsoft.com/office/drawing/2014/main" id="{445B7913-BAD9-8B43-2120-40A44BEC35E2}"/>
                </a:ext>
              </a:extLst>
            </p:cNvPr>
            <p:cNvSpPr>
              <a:spLocks noChangeArrowheads="1"/>
            </p:cNvSpPr>
            <p:nvPr/>
          </p:nvSpPr>
          <p:spPr bwMode="auto">
            <a:xfrm>
              <a:off x="4255360" y="4441105"/>
              <a:ext cx="1647697" cy="2267603"/>
            </a:xfrm>
            <a:custGeom>
              <a:avLst/>
              <a:gdLst>
                <a:gd name="T0" fmla="*/ 3588 w 3598"/>
                <a:gd name="T1" fmla="*/ 0 h 4952"/>
                <a:gd name="T2" fmla="*/ 3588 w 3598"/>
                <a:gd name="T3" fmla="*/ 0 h 4952"/>
                <a:gd name="T4" fmla="*/ 1103 w 3598"/>
                <a:gd name="T5" fmla="*/ 1445 h 4952"/>
                <a:gd name="T6" fmla="*/ 1103 w 3598"/>
                <a:gd name="T7" fmla="*/ 4319 h 4952"/>
                <a:gd name="T8" fmla="*/ 1103 w 3598"/>
                <a:gd name="T9" fmla="*/ 4319 h 4952"/>
                <a:gd name="T10" fmla="*/ 3597 w 3598"/>
                <a:gd name="T11" fmla="*/ 2873 h 4952"/>
                <a:gd name="T12" fmla="*/ 3588 w 3598"/>
                <a:gd name="T13" fmla="*/ 0 h 4952"/>
              </a:gdLst>
              <a:ahLst/>
              <a:cxnLst>
                <a:cxn ang="0">
                  <a:pos x="T0" y="T1"/>
                </a:cxn>
                <a:cxn ang="0">
                  <a:pos x="T2" y="T3"/>
                </a:cxn>
                <a:cxn ang="0">
                  <a:pos x="T4" y="T5"/>
                </a:cxn>
                <a:cxn ang="0">
                  <a:pos x="T6" y="T7"/>
                </a:cxn>
                <a:cxn ang="0">
                  <a:pos x="T8" y="T9"/>
                </a:cxn>
                <a:cxn ang="0">
                  <a:pos x="T10" y="T11"/>
                </a:cxn>
                <a:cxn ang="0">
                  <a:pos x="T12" y="T13"/>
                </a:cxn>
              </a:cxnLst>
              <a:rect l="0" t="0" r="r" b="b"/>
              <a:pathLst>
                <a:path w="3598" h="4952">
                  <a:moveTo>
                    <a:pt x="3588" y="0"/>
                  </a:moveTo>
                  <a:lnTo>
                    <a:pt x="3588" y="0"/>
                  </a:lnTo>
                  <a:cubicBezTo>
                    <a:pt x="1103" y="1445"/>
                    <a:pt x="1103" y="1445"/>
                    <a:pt x="1103" y="1445"/>
                  </a:cubicBezTo>
                  <a:cubicBezTo>
                    <a:pt x="0" y="2087"/>
                    <a:pt x="0" y="3677"/>
                    <a:pt x="1103" y="4319"/>
                  </a:cubicBezTo>
                  <a:lnTo>
                    <a:pt x="1103" y="4319"/>
                  </a:lnTo>
                  <a:cubicBezTo>
                    <a:pt x="2214" y="4951"/>
                    <a:pt x="3597" y="4147"/>
                    <a:pt x="3597" y="2873"/>
                  </a:cubicBezTo>
                  <a:cubicBezTo>
                    <a:pt x="3588" y="0"/>
                    <a:pt x="3588" y="0"/>
                    <a:pt x="3588" y="0"/>
                  </a:cubicBezTo>
                </a:path>
              </a:pathLst>
            </a:custGeom>
            <a:solidFill>
              <a:srgbClr val="EDA13E"/>
            </a:solidFill>
            <a:ln w="22680" cap="flat">
              <a:noFill/>
              <a:round/>
              <a:headEnd/>
              <a:tailEnd/>
            </a:ln>
            <a:effectLst/>
          </p:spPr>
          <p:txBody>
            <a:bodyPr wrap="none" anchor="ctr"/>
            <a:lstStyle/>
            <a:p>
              <a:pPr algn="l" rtl="0"/>
              <a:endParaRPr lang="es-MX" sz="2200">
                <a:latin typeface="Calibri" panose="020F0502020204030204" pitchFamily="34" charset="0"/>
                <a:cs typeface="Calibri" panose="020F0502020204030204" pitchFamily="34" charset="0"/>
              </a:endParaRPr>
            </a:p>
          </p:txBody>
        </p:sp>
        <p:sp>
          <p:nvSpPr>
            <p:cNvPr id="68" name="Freeform 399">
              <a:extLst>
                <a:ext uri="{FF2B5EF4-FFF2-40B4-BE49-F238E27FC236}">
                  <a16:creationId xmlns:a16="http://schemas.microsoft.com/office/drawing/2014/main" id="{DC8D8BE4-FD34-199C-3EA1-5FAAE69F25CB}"/>
                </a:ext>
              </a:extLst>
            </p:cNvPr>
            <p:cNvSpPr>
              <a:spLocks noChangeArrowheads="1"/>
            </p:cNvSpPr>
            <p:nvPr/>
          </p:nvSpPr>
          <p:spPr bwMode="auto">
            <a:xfrm>
              <a:off x="4257832" y="2156480"/>
              <a:ext cx="1647697" cy="2267602"/>
            </a:xfrm>
            <a:custGeom>
              <a:avLst/>
              <a:gdLst>
                <a:gd name="T0" fmla="*/ 3597 w 3598"/>
                <a:gd name="T1" fmla="*/ 4951 h 4952"/>
                <a:gd name="T2" fmla="*/ 3597 w 3598"/>
                <a:gd name="T3" fmla="*/ 4951 h 4952"/>
                <a:gd name="T4" fmla="*/ 3597 w 3598"/>
                <a:gd name="T5" fmla="*/ 2078 h 4952"/>
                <a:gd name="T6" fmla="*/ 1103 w 3598"/>
                <a:gd name="T7" fmla="*/ 642 h 4952"/>
                <a:gd name="T8" fmla="*/ 1103 w 3598"/>
                <a:gd name="T9" fmla="*/ 642 h 4952"/>
                <a:gd name="T10" fmla="*/ 1103 w 3598"/>
                <a:gd name="T11" fmla="*/ 3515 h 4952"/>
                <a:gd name="T12" fmla="*/ 3597 w 3598"/>
                <a:gd name="T13" fmla="*/ 4951 h 4952"/>
              </a:gdLst>
              <a:ahLst/>
              <a:cxnLst>
                <a:cxn ang="0">
                  <a:pos x="T0" y="T1"/>
                </a:cxn>
                <a:cxn ang="0">
                  <a:pos x="T2" y="T3"/>
                </a:cxn>
                <a:cxn ang="0">
                  <a:pos x="T4" y="T5"/>
                </a:cxn>
                <a:cxn ang="0">
                  <a:pos x="T6" y="T7"/>
                </a:cxn>
                <a:cxn ang="0">
                  <a:pos x="T8" y="T9"/>
                </a:cxn>
                <a:cxn ang="0">
                  <a:pos x="T10" y="T11"/>
                </a:cxn>
                <a:cxn ang="0">
                  <a:pos x="T12" y="T13"/>
                </a:cxn>
              </a:cxnLst>
              <a:rect l="0" t="0" r="r" b="b"/>
              <a:pathLst>
                <a:path w="3598" h="4952">
                  <a:moveTo>
                    <a:pt x="3597" y="4951"/>
                  </a:moveTo>
                  <a:lnTo>
                    <a:pt x="3597" y="4951"/>
                  </a:lnTo>
                  <a:cubicBezTo>
                    <a:pt x="3597" y="2078"/>
                    <a:pt x="3597" y="2078"/>
                    <a:pt x="3597" y="2078"/>
                  </a:cubicBezTo>
                  <a:cubicBezTo>
                    <a:pt x="3588" y="804"/>
                    <a:pt x="2205" y="0"/>
                    <a:pt x="1103" y="642"/>
                  </a:cubicBezTo>
                  <a:lnTo>
                    <a:pt x="1103" y="642"/>
                  </a:lnTo>
                  <a:cubicBezTo>
                    <a:pt x="0" y="1283"/>
                    <a:pt x="0" y="2882"/>
                    <a:pt x="1103" y="3515"/>
                  </a:cubicBezTo>
                  <a:cubicBezTo>
                    <a:pt x="3597" y="4951"/>
                    <a:pt x="3597" y="4951"/>
                    <a:pt x="3597" y="4951"/>
                  </a:cubicBezTo>
                </a:path>
              </a:pathLst>
            </a:custGeom>
            <a:solidFill>
              <a:srgbClr val="F16924"/>
            </a:solidFill>
            <a:ln>
              <a:noFill/>
            </a:ln>
            <a:effectLst/>
          </p:spPr>
          <p:txBody>
            <a:bodyPr wrap="none" anchor="ctr"/>
            <a:lstStyle/>
            <a:p>
              <a:pPr algn="l" rtl="0"/>
              <a:endParaRPr lang="es-MX" sz="2200">
                <a:latin typeface="Calibri" panose="020F0502020204030204" pitchFamily="34" charset="0"/>
                <a:cs typeface="Calibri" panose="020F0502020204030204" pitchFamily="34" charset="0"/>
              </a:endParaRPr>
            </a:p>
          </p:txBody>
        </p:sp>
        <p:sp>
          <p:nvSpPr>
            <p:cNvPr id="69" name="Google Shape;264;p9">
              <a:extLst>
                <a:ext uri="{FF2B5EF4-FFF2-40B4-BE49-F238E27FC236}">
                  <a16:creationId xmlns:a16="http://schemas.microsoft.com/office/drawing/2014/main" id="{2D96C5ED-E474-A071-571D-0273CA2C8C1C}"/>
                </a:ext>
              </a:extLst>
            </p:cNvPr>
            <p:cNvSpPr txBox="1"/>
            <p:nvPr/>
          </p:nvSpPr>
          <p:spPr>
            <a:xfrm>
              <a:off x="7863759" y="2796450"/>
              <a:ext cx="3206222" cy="922092"/>
            </a:xfrm>
            <a:prstGeom prst="rect">
              <a:avLst/>
            </a:prstGeom>
            <a:noFill/>
            <a:ln>
              <a:noFill/>
            </a:ln>
          </p:spPr>
          <p:txBody>
            <a:bodyPr spcFirstLastPara="1" wrap="square" lIns="91425" tIns="45700" rIns="91425" bIns="45700" anchor="t" anchorCtr="0">
              <a:noAutofit/>
            </a:bodyPr>
            <a:lstStyle/>
            <a:p>
              <a:pPr lvl="0" algn="l" rtl="0">
                <a:lnSpc>
                  <a:spcPts val="2020"/>
                </a:lnSpc>
                <a:buClr>
                  <a:srgbClr val="000000"/>
                </a:buClr>
                <a:buSzPts val="3600"/>
              </a:pPr>
              <a:r>
                <a:rPr lang="en-US" sz="2100" b="1" dirty="0">
                  <a:solidFill>
                    <a:srgbClr val="B41F7A"/>
                  </a:solidFill>
                  <a:latin typeface="Calibri" panose="020F0502020204030204" pitchFamily="34" charset="0"/>
                  <a:ea typeface="Lato"/>
                  <a:cs typeface="Calibri" panose="020F0502020204030204" pitchFamily="34" charset="0"/>
                  <a:sym typeface="Lato"/>
                </a:rPr>
                <a:t>Prepárese para la comunicación de crisis antes de que la crisis sea crítica</a:t>
              </a:r>
            </a:p>
          </p:txBody>
        </p:sp>
        <p:sp>
          <p:nvSpPr>
            <p:cNvPr id="70" name="Text Placeholder 2">
              <a:extLst>
                <a:ext uri="{FF2B5EF4-FFF2-40B4-BE49-F238E27FC236}">
                  <a16:creationId xmlns:a16="http://schemas.microsoft.com/office/drawing/2014/main" id="{10213E99-F594-C43A-1629-3757E55C1144}"/>
                </a:ext>
              </a:extLst>
            </p:cNvPr>
            <p:cNvSpPr txBox="1">
              <a:spLocks/>
            </p:cNvSpPr>
            <p:nvPr/>
          </p:nvSpPr>
          <p:spPr>
            <a:xfrm>
              <a:off x="6514371" y="2589528"/>
              <a:ext cx="813649" cy="13065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None/>
              </a:pPr>
              <a:r>
                <a:rPr lang="en-US" sz="4000" dirty="0">
                  <a:solidFill>
                    <a:schemeClr val="bg1"/>
                  </a:solidFill>
                </a:rPr>
                <a:t>01</a:t>
              </a:r>
            </a:p>
          </p:txBody>
        </p:sp>
        <p:grpSp>
          <p:nvGrpSpPr>
            <p:cNvPr id="71" name="Graphic 3">
              <a:extLst>
                <a:ext uri="{FF2B5EF4-FFF2-40B4-BE49-F238E27FC236}">
                  <a16:creationId xmlns:a16="http://schemas.microsoft.com/office/drawing/2014/main" id="{286854FC-D95D-324F-AE78-539AF6E51275}"/>
                </a:ext>
              </a:extLst>
            </p:cNvPr>
            <p:cNvGrpSpPr/>
            <p:nvPr/>
          </p:nvGrpSpPr>
          <p:grpSpPr>
            <a:xfrm>
              <a:off x="6062744" y="3189495"/>
              <a:ext cx="704267" cy="702372"/>
              <a:chOff x="2489340" y="369316"/>
              <a:chExt cx="1020309" cy="1017564"/>
            </a:xfrm>
            <a:solidFill>
              <a:schemeClr val="bg1"/>
            </a:solidFill>
          </p:grpSpPr>
          <p:grpSp>
            <p:nvGrpSpPr>
              <p:cNvPr id="72" name="Graphic 3">
                <a:extLst>
                  <a:ext uri="{FF2B5EF4-FFF2-40B4-BE49-F238E27FC236}">
                    <a16:creationId xmlns:a16="http://schemas.microsoft.com/office/drawing/2014/main" id="{8F15D959-0444-2B4B-06F8-5EF4F635222B}"/>
                  </a:ext>
                </a:extLst>
              </p:cNvPr>
              <p:cNvGrpSpPr/>
              <p:nvPr/>
            </p:nvGrpSpPr>
            <p:grpSpPr>
              <a:xfrm>
                <a:off x="2489340" y="369316"/>
                <a:ext cx="1020309" cy="1017564"/>
                <a:chOff x="2489340" y="369316"/>
                <a:chExt cx="1020309" cy="1017564"/>
              </a:xfrm>
              <a:grpFill/>
            </p:grpSpPr>
            <p:sp>
              <p:nvSpPr>
                <p:cNvPr id="74" name="Freeform 73">
                  <a:extLst>
                    <a:ext uri="{FF2B5EF4-FFF2-40B4-BE49-F238E27FC236}">
                      <a16:creationId xmlns:a16="http://schemas.microsoft.com/office/drawing/2014/main" id="{7F5A26C3-3B1D-578C-9868-38CDCB6B3FF6}"/>
                    </a:ext>
                  </a:extLst>
                </p:cNvPr>
                <p:cNvSpPr/>
                <p:nvPr/>
              </p:nvSpPr>
              <p:spPr>
                <a:xfrm>
                  <a:off x="2489340" y="369316"/>
                  <a:ext cx="1020309" cy="1017564"/>
                </a:xfrm>
                <a:custGeom>
                  <a:avLst/>
                  <a:gdLst>
                    <a:gd name="connsiteX0" fmla="*/ 896885 w 1020309"/>
                    <a:gd name="connsiteY0" fmla="*/ 677462 h 1017564"/>
                    <a:gd name="connsiteX1" fmla="*/ 874943 w 1020309"/>
                    <a:gd name="connsiteY1" fmla="*/ 677462 h 1017564"/>
                    <a:gd name="connsiteX2" fmla="*/ 839287 w 1020309"/>
                    <a:gd name="connsiteY2" fmla="*/ 595179 h 1017564"/>
                    <a:gd name="connsiteX3" fmla="*/ 729576 w 1020309"/>
                    <a:gd name="connsiteY3" fmla="*/ 523868 h 1017564"/>
                    <a:gd name="connsiteX4" fmla="*/ 641808 w 1020309"/>
                    <a:gd name="connsiteY4" fmla="*/ 523868 h 1017564"/>
                    <a:gd name="connsiteX5" fmla="*/ 641808 w 1020309"/>
                    <a:gd name="connsiteY5" fmla="*/ 337360 h 1017564"/>
                    <a:gd name="connsiteX6" fmla="*/ 625351 w 1020309"/>
                    <a:gd name="connsiteY6" fmla="*/ 320903 h 1017564"/>
                    <a:gd name="connsiteX7" fmla="*/ 534840 w 1020309"/>
                    <a:gd name="connsiteY7" fmla="*/ 320903 h 1017564"/>
                    <a:gd name="connsiteX8" fmla="*/ 397701 w 1020309"/>
                    <a:gd name="connsiteY8" fmla="*/ 213936 h 1017564"/>
                    <a:gd name="connsiteX9" fmla="*/ 438843 w 1020309"/>
                    <a:gd name="connsiteY9" fmla="*/ 117939 h 1017564"/>
                    <a:gd name="connsiteX10" fmla="*/ 320904 w 1020309"/>
                    <a:gd name="connsiteY10" fmla="*/ 0 h 1017564"/>
                    <a:gd name="connsiteX11" fmla="*/ 202965 w 1020309"/>
                    <a:gd name="connsiteY11" fmla="*/ 117939 h 1017564"/>
                    <a:gd name="connsiteX12" fmla="*/ 244107 w 1020309"/>
                    <a:gd name="connsiteY12" fmla="*/ 213936 h 1017564"/>
                    <a:gd name="connsiteX13" fmla="*/ 106968 w 1020309"/>
                    <a:gd name="connsiteY13" fmla="*/ 320903 h 1017564"/>
                    <a:gd name="connsiteX14" fmla="*/ 16457 w 1020309"/>
                    <a:gd name="connsiteY14" fmla="*/ 320903 h 1017564"/>
                    <a:gd name="connsiteX15" fmla="*/ 0 w 1020309"/>
                    <a:gd name="connsiteY15" fmla="*/ 337360 h 1017564"/>
                    <a:gd name="connsiteX16" fmla="*/ 0 w 1020309"/>
                    <a:gd name="connsiteY16" fmla="*/ 880427 h 1017564"/>
                    <a:gd name="connsiteX17" fmla="*/ 16457 w 1020309"/>
                    <a:gd name="connsiteY17" fmla="*/ 896883 h 1017564"/>
                    <a:gd name="connsiteX18" fmla="*/ 32913 w 1020309"/>
                    <a:gd name="connsiteY18" fmla="*/ 896883 h 1017564"/>
                    <a:gd name="connsiteX19" fmla="*/ 32913 w 1020309"/>
                    <a:gd name="connsiteY19" fmla="*/ 913340 h 1017564"/>
                    <a:gd name="connsiteX20" fmla="*/ 85026 w 1020309"/>
                    <a:gd name="connsiteY20" fmla="*/ 965452 h 1017564"/>
                    <a:gd name="connsiteX21" fmla="*/ 183765 w 1020309"/>
                    <a:gd name="connsiteY21" fmla="*/ 965452 h 1017564"/>
                    <a:gd name="connsiteX22" fmla="*/ 271534 w 1020309"/>
                    <a:gd name="connsiteY22" fmla="*/ 1017565 h 1017564"/>
                    <a:gd name="connsiteX23" fmla="*/ 359303 w 1020309"/>
                    <a:gd name="connsiteY23" fmla="*/ 965452 h 1017564"/>
                    <a:gd name="connsiteX24" fmla="*/ 726833 w 1020309"/>
                    <a:gd name="connsiteY24" fmla="*/ 965452 h 1017564"/>
                    <a:gd name="connsiteX25" fmla="*/ 814602 w 1020309"/>
                    <a:gd name="connsiteY25" fmla="*/ 1017565 h 1017564"/>
                    <a:gd name="connsiteX26" fmla="*/ 902371 w 1020309"/>
                    <a:gd name="connsiteY26" fmla="*/ 965452 h 1017564"/>
                    <a:gd name="connsiteX27" fmla="*/ 968197 w 1020309"/>
                    <a:gd name="connsiteY27" fmla="*/ 965452 h 1017564"/>
                    <a:gd name="connsiteX28" fmla="*/ 1020309 w 1020309"/>
                    <a:gd name="connsiteY28" fmla="*/ 913340 h 1017564"/>
                    <a:gd name="connsiteX29" fmla="*/ 1020309 w 1020309"/>
                    <a:gd name="connsiteY29" fmla="*/ 795401 h 1017564"/>
                    <a:gd name="connsiteX30" fmla="*/ 896885 w 1020309"/>
                    <a:gd name="connsiteY30" fmla="*/ 677462 h 1017564"/>
                    <a:gd name="connsiteX31" fmla="*/ 896885 w 1020309"/>
                    <a:gd name="connsiteY31" fmla="*/ 677462 h 1017564"/>
                    <a:gd name="connsiteX32" fmla="*/ 710377 w 1020309"/>
                    <a:gd name="connsiteY32" fmla="*/ 559524 h 1017564"/>
                    <a:gd name="connsiteX33" fmla="*/ 729576 w 1020309"/>
                    <a:gd name="connsiteY33" fmla="*/ 559524 h 1017564"/>
                    <a:gd name="connsiteX34" fmla="*/ 806374 w 1020309"/>
                    <a:gd name="connsiteY34" fmla="*/ 608893 h 1017564"/>
                    <a:gd name="connsiteX35" fmla="*/ 836544 w 1020309"/>
                    <a:gd name="connsiteY35" fmla="*/ 677462 h 1017564"/>
                    <a:gd name="connsiteX36" fmla="*/ 726833 w 1020309"/>
                    <a:gd name="connsiteY36" fmla="*/ 677462 h 1017564"/>
                    <a:gd name="connsiteX37" fmla="*/ 710377 w 1020309"/>
                    <a:gd name="connsiteY37" fmla="*/ 661006 h 1017564"/>
                    <a:gd name="connsiteX38" fmla="*/ 710377 w 1020309"/>
                    <a:gd name="connsiteY38" fmla="*/ 559524 h 1017564"/>
                    <a:gd name="connsiteX39" fmla="*/ 540325 w 1020309"/>
                    <a:gd name="connsiteY39" fmla="*/ 438842 h 1017564"/>
                    <a:gd name="connsiteX40" fmla="*/ 455300 w 1020309"/>
                    <a:gd name="connsiteY40" fmla="*/ 438842 h 1017564"/>
                    <a:gd name="connsiteX41" fmla="*/ 444328 w 1020309"/>
                    <a:gd name="connsiteY41" fmla="*/ 353816 h 1017564"/>
                    <a:gd name="connsiteX42" fmla="*/ 515640 w 1020309"/>
                    <a:gd name="connsiteY42" fmla="*/ 353816 h 1017564"/>
                    <a:gd name="connsiteX43" fmla="*/ 540325 w 1020309"/>
                    <a:gd name="connsiteY43" fmla="*/ 438842 h 1017564"/>
                    <a:gd name="connsiteX44" fmla="*/ 540325 w 1020309"/>
                    <a:gd name="connsiteY44" fmla="*/ 438842 h 1017564"/>
                    <a:gd name="connsiteX45" fmla="*/ 340103 w 1020309"/>
                    <a:gd name="connsiteY45" fmla="*/ 559524 h 1017564"/>
                    <a:gd name="connsiteX46" fmla="*/ 340103 w 1020309"/>
                    <a:gd name="connsiteY46" fmla="*/ 474498 h 1017564"/>
                    <a:gd name="connsiteX47" fmla="*/ 425129 w 1020309"/>
                    <a:gd name="connsiteY47" fmla="*/ 474498 h 1017564"/>
                    <a:gd name="connsiteX48" fmla="*/ 414158 w 1020309"/>
                    <a:gd name="connsiteY48" fmla="*/ 559524 h 1017564"/>
                    <a:gd name="connsiteX49" fmla="*/ 340103 w 1020309"/>
                    <a:gd name="connsiteY49" fmla="*/ 559524 h 1017564"/>
                    <a:gd name="connsiteX50" fmla="*/ 400444 w 1020309"/>
                    <a:gd name="connsiteY50" fmla="*/ 592437 h 1017564"/>
                    <a:gd name="connsiteX51" fmla="*/ 337360 w 1020309"/>
                    <a:gd name="connsiteY51" fmla="*/ 674719 h 1017564"/>
                    <a:gd name="connsiteX52" fmla="*/ 337360 w 1020309"/>
                    <a:gd name="connsiteY52" fmla="*/ 592437 h 1017564"/>
                    <a:gd name="connsiteX53" fmla="*/ 400444 w 1020309"/>
                    <a:gd name="connsiteY53" fmla="*/ 592437 h 1017564"/>
                    <a:gd name="connsiteX54" fmla="*/ 340103 w 1020309"/>
                    <a:gd name="connsiteY54" fmla="*/ 438842 h 1017564"/>
                    <a:gd name="connsiteX55" fmla="*/ 340103 w 1020309"/>
                    <a:gd name="connsiteY55" fmla="*/ 353816 h 1017564"/>
                    <a:gd name="connsiteX56" fmla="*/ 414158 w 1020309"/>
                    <a:gd name="connsiteY56" fmla="*/ 353816 h 1017564"/>
                    <a:gd name="connsiteX57" fmla="*/ 425129 w 1020309"/>
                    <a:gd name="connsiteY57" fmla="*/ 438842 h 1017564"/>
                    <a:gd name="connsiteX58" fmla="*/ 340103 w 1020309"/>
                    <a:gd name="connsiteY58" fmla="*/ 438842 h 1017564"/>
                    <a:gd name="connsiteX59" fmla="*/ 436100 w 1020309"/>
                    <a:gd name="connsiteY59" fmla="*/ 592437 h 1017564"/>
                    <a:gd name="connsiteX60" fmla="*/ 493698 w 1020309"/>
                    <a:gd name="connsiteY60" fmla="*/ 592437 h 1017564"/>
                    <a:gd name="connsiteX61" fmla="*/ 400444 w 1020309"/>
                    <a:gd name="connsiteY61" fmla="*/ 661006 h 1017564"/>
                    <a:gd name="connsiteX62" fmla="*/ 436100 w 1020309"/>
                    <a:gd name="connsiteY62" fmla="*/ 592437 h 1017564"/>
                    <a:gd name="connsiteX63" fmla="*/ 436100 w 1020309"/>
                    <a:gd name="connsiteY63" fmla="*/ 592437 h 1017564"/>
                    <a:gd name="connsiteX64" fmla="*/ 447071 w 1020309"/>
                    <a:gd name="connsiteY64" fmla="*/ 559524 h 1017564"/>
                    <a:gd name="connsiteX65" fmla="*/ 458042 w 1020309"/>
                    <a:gd name="connsiteY65" fmla="*/ 474498 h 1017564"/>
                    <a:gd name="connsiteX66" fmla="*/ 543068 w 1020309"/>
                    <a:gd name="connsiteY66" fmla="*/ 474498 h 1017564"/>
                    <a:gd name="connsiteX67" fmla="*/ 518383 w 1020309"/>
                    <a:gd name="connsiteY67" fmla="*/ 559524 h 1017564"/>
                    <a:gd name="connsiteX68" fmla="*/ 447071 w 1020309"/>
                    <a:gd name="connsiteY68" fmla="*/ 559524 h 1017564"/>
                    <a:gd name="connsiteX69" fmla="*/ 496441 w 1020309"/>
                    <a:gd name="connsiteY69" fmla="*/ 320903 h 1017564"/>
                    <a:gd name="connsiteX70" fmla="*/ 438843 w 1020309"/>
                    <a:gd name="connsiteY70" fmla="*/ 320903 h 1017564"/>
                    <a:gd name="connsiteX71" fmla="*/ 405930 w 1020309"/>
                    <a:gd name="connsiteY71" fmla="*/ 252334 h 1017564"/>
                    <a:gd name="connsiteX72" fmla="*/ 496441 w 1020309"/>
                    <a:gd name="connsiteY72" fmla="*/ 320903 h 1017564"/>
                    <a:gd name="connsiteX73" fmla="*/ 496441 w 1020309"/>
                    <a:gd name="connsiteY73" fmla="*/ 320903 h 1017564"/>
                    <a:gd name="connsiteX74" fmla="*/ 400444 w 1020309"/>
                    <a:gd name="connsiteY74" fmla="*/ 320903 h 1017564"/>
                    <a:gd name="connsiteX75" fmla="*/ 337360 w 1020309"/>
                    <a:gd name="connsiteY75" fmla="*/ 320903 h 1017564"/>
                    <a:gd name="connsiteX76" fmla="*/ 337360 w 1020309"/>
                    <a:gd name="connsiteY76" fmla="*/ 293475 h 1017564"/>
                    <a:gd name="connsiteX77" fmla="*/ 364788 w 1020309"/>
                    <a:gd name="connsiteY77" fmla="*/ 260562 h 1017564"/>
                    <a:gd name="connsiteX78" fmla="*/ 400444 w 1020309"/>
                    <a:gd name="connsiteY78" fmla="*/ 320903 h 1017564"/>
                    <a:gd name="connsiteX79" fmla="*/ 400444 w 1020309"/>
                    <a:gd name="connsiteY79" fmla="*/ 320903 h 1017564"/>
                    <a:gd name="connsiteX80" fmla="*/ 235878 w 1020309"/>
                    <a:gd name="connsiteY80" fmla="*/ 117939 h 1017564"/>
                    <a:gd name="connsiteX81" fmla="*/ 320904 w 1020309"/>
                    <a:gd name="connsiteY81" fmla="*/ 32913 h 1017564"/>
                    <a:gd name="connsiteX82" fmla="*/ 405930 w 1020309"/>
                    <a:gd name="connsiteY82" fmla="*/ 117939 h 1017564"/>
                    <a:gd name="connsiteX83" fmla="*/ 356560 w 1020309"/>
                    <a:gd name="connsiteY83" fmla="*/ 213936 h 1017564"/>
                    <a:gd name="connsiteX84" fmla="*/ 356560 w 1020309"/>
                    <a:gd name="connsiteY84" fmla="*/ 213936 h 1017564"/>
                    <a:gd name="connsiteX85" fmla="*/ 320904 w 1020309"/>
                    <a:gd name="connsiteY85" fmla="*/ 260562 h 1017564"/>
                    <a:gd name="connsiteX86" fmla="*/ 285248 w 1020309"/>
                    <a:gd name="connsiteY86" fmla="*/ 213936 h 1017564"/>
                    <a:gd name="connsiteX87" fmla="*/ 285248 w 1020309"/>
                    <a:gd name="connsiteY87" fmla="*/ 213936 h 1017564"/>
                    <a:gd name="connsiteX88" fmla="*/ 235878 w 1020309"/>
                    <a:gd name="connsiteY88" fmla="*/ 117939 h 1017564"/>
                    <a:gd name="connsiteX89" fmla="*/ 235878 w 1020309"/>
                    <a:gd name="connsiteY89" fmla="*/ 117939 h 1017564"/>
                    <a:gd name="connsiteX90" fmla="*/ 277020 w 1020309"/>
                    <a:gd name="connsiteY90" fmla="*/ 260562 h 1017564"/>
                    <a:gd name="connsiteX91" fmla="*/ 304447 w 1020309"/>
                    <a:gd name="connsiteY91" fmla="*/ 293475 h 1017564"/>
                    <a:gd name="connsiteX92" fmla="*/ 304447 w 1020309"/>
                    <a:gd name="connsiteY92" fmla="*/ 320903 h 1017564"/>
                    <a:gd name="connsiteX93" fmla="*/ 241364 w 1020309"/>
                    <a:gd name="connsiteY93" fmla="*/ 320903 h 1017564"/>
                    <a:gd name="connsiteX94" fmla="*/ 277020 w 1020309"/>
                    <a:gd name="connsiteY94" fmla="*/ 260562 h 1017564"/>
                    <a:gd name="connsiteX95" fmla="*/ 277020 w 1020309"/>
                    <a:gd name="connsiteY95" fmla="*/ 260562 h 1017564"/>
                    <a:gd name="connsiteX96" fmla="*/ 233135 w 1020309"/>
                    <a:gd name="connsiteY96" fmla="*/ 559524 h 1017564"/>
                    <a:gd name="connsiteX97" fmla="*/ 222164 w 1020309"/>
                    <a:gd name="connsiteY97" fmla="*/ 474498 h 1017564"/>
                    <a:gd name="connsiteX98" fmla="*/ 307190 w 1020309"/>
                    <a:gd name="connsiteY98" fmla="*/ 474498 h 1017564"/>
                    <a:gd name="connsiteX99" fmla="*/ 307190 w 1020309"/>
                    <a:gd name="connsiteY99" fmla="*/ 559524 h 1017564"/>
                    <a:gd name="connsiteX100" fmla="*/ 233135 w 1020309"/>
                    <a:gd name="connsiteY100" fmla="*/ 559524 h 1017564"/>
                    <a:gd name="connsiteX101" fmla="*/ 304447 w 1020309"/>
                    <a:gd name="connsiteY101" fmla="*/ 592437 h 1017564"/>
                    <a:gd name="connsiteX102" fmla="*/ 304447 w 1020309"/>
                    <a:gd name="connsiteY102" fmla="*/ 674719 h 1017564"/>
                    <a:gd name="connsiteX103" fmla="*/ 241364 w 1020309"/>
                    <a:gd name="connsiteY103" fmla="*/ 592437 h 1017564"/>
                    <a:gd name="connsiteX104" fmla="*/ 304447 w 1020309"/>
                    <a:gd name="connsiteY104" fmla="*/ 592437 h 1017564"/>
                    <a:gd name="connsiteX105" fmla="*/ 205708 w 1020309"/>
                    <a:gd name="connsiteY105" fmla="*/ 592437 h 1017564"/>
                    <a:gd name="connsiteX106" fmla="*/ 238621 w 1020309"/>
                    <a:gd name="connsiteY106" fmla="*/ 661006 h 1017564"/>
                    <a:gd name="connsiteX107" fmla="*/ 145367 w 1020309"/>
                    <a:gd name="connsiteY107" fmla="*/ 592437 h 1017564"/>
                    <a:gd name="connsiteX108" fmla="*/ 205708 w 1020309"/>
                    <a:gd name="connsiteY108" fmla="*/ 592437 h 1017564"/>
                    <a:gd name="connsiteX109" fmla="*/ 126167 w 1020309"/>
                    <a:gd name="connsiteY109" fmla="*/ 559524 h 1017564"/>
                    <a:gd name="connsiteX110" fmla="*/ 101482 w 1020309"/>
                    <a:gd name="connsiteY110" fmla="*/ 474498 h 1017564"/>
                    <a:gd name="connsiteX111" fmla="*/ 186508 w 1020309"/>
                    <a:gd name="connsiteY111" fmla="*/ 474498 h 1017564"/>
                    <a:gd name="connsiteX112" fmla="*/ 197479 w 1020309"/>
                    <a:gd name="connsiteY112" fmla="*/ 559524 h 1017564"/>
                    <a:gd name="connsiteX113" fmla="*/ 126167 w 1020309"/>
                    <a:gd name="connsiteY113" fmla="*/ 559524 h 1017564"/>
                    <a:gd name="connsiteX114" fmla="*/ 219421 w 1020309"/>
                    <a:gd name="connsiteY114" fmla="*/ 438842 h 1017564"/>
                    <a:gd name="connsiteX115" fmla="*/ 230393 w 1020309"/>
                    <a:gd name="connsiteY115" fmla="*/ 353816 h 1017564"/>
                    <a:gd name="connsiteX116" fmla="*/ 304447 w 1020309"/>
                    <a:gd name="connsiteY116" fmla="*/ 353816 h 1017564"/>
                    <a:gd name="connsiteX117" fmla="*/ 304447 w 1020309"/>
                    <a:gd name="connsiteY117" fmla="*/ 438842 h 1017564"/>
                    <a:gd name="connsiteX118" fmla="*/ 219421 w 1020309"/>
                    <a:gd name="connsiteY118" fmla="*/ 438842 h 1017564"/>
                    <a:gd name="connsiteX119" fmla="*/ 241364 w 1020309"/>
                    <a:gd name="connsiteY119" fmla="*/ 252334 h 1017564"/>
                    <a:gd name="connsiteX120" fmla="*/ 208450 w 1020309"/>
                    <a:gd name="connsiteY120" fmla="*/ 320903 h 1017564"/>
                    <a:gd name="connsiteX121" fmla="*/ 150852 w 1020309"/>
                    <a:gd name="connsiteY121" fmla="*/ 320903 h 1017564"/>
                    <a:gd name="connsiteX122" fmla="*/ 241364 w 1020309"/>
                    <a:gd name="connsiteY122" fmla="*/ 252334 h 1017564"/>
                    <a:gd name="connsiteX123" fmla="*/ 241364 w 1020309"/>
                    <a:gd name="connsiteY123" fmla="*/ 252334 h 1017564"/>
                    <a:gd name="connsiteX124" fmla="*/ 126167 w 1020309"/>
                    <a:gd name="connsiteY124" fmla="*/ 353816 h 1017564"/>
                    <a:gd name="connsiteX125" fmla="*/ 197479 w 1020309"/>
                    <a:gd name="connsiteY125" fmla="*/ 353816 h 1017564"/>
                    <a:gd name="connsiteX126" fmla="*/ 186508 w 1020309"/>
                    <a:gd name="connsiteY126" fmla="*/ 438842 h 1017564"/>
                    <a:gd name="connsiteX127" fmla="*/ 101482 w 1020309"/>
                    <a:gd name="connsiteY127" fmla="*/ 438842 h 1017564"/>
                    <a:gd name="connsiteX128" fmla="*/ 126167 w 1020309"/>
                    <a:gd name="connsiteY128" fmla="*/ 353816 h 1017564"/>
                    <a:gd name="connsiteX129" fmla="*/ 126167 w 1020309"/>
                    <a:gd name="connsiteY129" fmla="*/ 353816 h 1017564"/>
                    <a:gd name="connsiteX130" fmla="*/ 32913 w 1020309"/>
                    <a:gd name="connsiteY130" fmla="*/ 353816 h 1017564"/>
                    <a:gd name="connsiteX131" fmla="*/ 87768 w 1020309"/>
                    <a:gd name="connsiteY131" fmla="*/ 353816 h 1017564"/>
                    <a:gd name="connsiteX132" fmla="*/ 65827 w 1020309"/>
                    <a:gd name="connsiteY132" fmla="*/ 455298 h 1017564"/>
                    <a:gd name="connsiteX133" fmla="*/ 320904 w 1020309"/>
                    <a:gd name="connsiteY133" fmla="*/ 710375 h 1017564"/>
                    <a:gd name="connsiteX134" fmla="*/ 575981 w 1020309"/>
                    <a:gd name="connsiteY134" fmla="*/ 455298 h 1017564"/>
                    <a:gd name="connsiteX135" fmla="*/ 554039 w 1020309"/>
                    <a:gd name="connsiteY135" fmla="*/ 353816 h 1017564"/>
                    <a:gd name="connsiteX136" fmla="*/ 608894 w 1020309"/>
                    <a:gd name="connsiteY136" fmla="*/ 353816 h 1017564"/>
                    <a:gd name="connsiteX137" fmla="*/ 608894 w 1020309"/>
                    <a:gd name="connsiteY137" fmla="*/ 743289 h 1017564"/>
                    <a:gd name="connsiteX138" fmla="*/ 32913 w 1020309"/>
                    <a:gd name="connsiteY138" fmla="*/ 743289 h 1017564"/>
                    <a:gd name="connsiteX139" fmla="*/ 32913 w 1020309"/>
                    <a:gd name="connsiteY139" fmla="*/ 353816 h 1017564"/>
                    <a:gd name="connsiteX140" fmla="*/ 170051 w 1020309"/>
                    <a:gd name="connsiteY140" fmla="*/ 932539 h 1017564"/>
                    <a:gd name="connsiteX141" fmla="*/ 85026 w 1020309"/>
                    <a:gd name="connsiteY141" fmla="*/ 932539 h 1017564"/>
                    <a:gd name="connsiteX142" fmla="*/ 68569 w 1020309"/>
                    <a:gd name="connsiteY142" fmla="*/ 916083 h 1017564"/>
                    <a:gd name="connsiteX143" fmla="*/ 68569 w 1020309"/>
                    <a:gd name="connsiteY143" fmla="*/ 899626 h 1017564"/>
                    <a:gd name="connsiteX144" fmla="*/ 172794 w 1020309"/>
                    <a:gd name="connsiteY144" fmla="*/ 899626 h 1017564"/>
                    <a:gd name="connsiteX145" fmla="*/ 170051 w 1020309"/>
                    <a:gd name="connsiteY145" fmla="*/ 932539 h 1017564"/>
                    <a:gd name="connsiteX146" fmla="*/ 170051 w 1020309"/>
                    <a:gd name="connsiteY146" fmla="*/ 932539 h 1017564"/>
                    <a:gd name="connsiteX147" fmla="*/ 271534 w 1020309"/>
                    <a:gd name="connsiteY147" fmla="*/ 981909 h 1017564"/>
                    <a:gd name="connsiteX148" fmla="*/ 208450 w 1020309"/>
                    <a:gd name="connsiteY148" fmla="*/ 940768 h 1017564"/>
                    <a:gd name="connsiteX149" fmla="*/ 222164 w 1020309"/>
                    <a:gd name="connsiteY149" fmla="*/ 866713 h 1017564"/>
                    <a:gd name="connsiteX150" fmla="*/ 296219 w 1020309"/>
                    <a:gd name="connsiteY150" fmla="*/ 852999 h 1017564"/>
                    <a:gd name="connsiteX151" fmla="*/ 337360 w 1020309"/>
                    <a:gd name="connsiteY151" fmla="*/ 916083 h 1017564"/>
                    <a:gd name="connsiteX152" fmla="*/ 271534 w 1020309"/>
                    <a:gd name="connsiteY152" fmla="*/ 981909 h 1017564"/>
                    <a:gd name="connsiteX153" fmla="*/ 271534 w 1020309"/>
                    <a:gd name="connsiteY153" fmla="*/ 981909 h 1017564"/>
                    <a:gd name="connsiteX154" fmla="*/ 271534 w 1020309"/>
                    <a:gd name="connsiteY154" fmla="*/ 811858 h 1017564"/>
                    <a:gd name="connsiteX155" fmla="*/ 183765 w 1020309"/>
                    <a:gd name="connsiteY155" fmla="*/ 863970 h 1017564"/>
                    <a:gd name="connsiteX156" fmla="*/ 35656 w 1020309"/>
                    <a:gd name="connsiteY156" fmla="*/ 863970 h 1017564"/>
                    <a:gd name="connsiteX157" fmla="*/ 35656 w 1020309"/>
                    <a:gd name="connsiteY157" fmla="*/ 778945 h 1017564"/>
                    <a:gd name="connsiteX158" fmla="*/ 611637 w 1020309"/>
                    <a:gd name="connsiteY158" fmla="*/ 778945 h 1017564"/>
                    <a:gd name="connsiteX159" fmla="*/ 611637 w 1020309"/>
                    <a:gd name="connsiteY159" fmla="*/ 863970 h 1017564"/>
                    <a:gd name="connsiteX160" fmla="*/ 359303 w 1020309"/>
                    <a:gd name="connsiteY160" fmla="*/ 863970 h 1017564"/>
                    <a:gd name="connsiteX161" fmla="*/ 271534 w 1020309"/>
                    <a:gd name="connsiteY161" fmla="*/ 811858 h 1017564"/>
                    <a:gd name="connsiteX162" fmla="*/ 271534 w 1020309"/>
                    <a:gd name="connsiteY162" fmla="*/ 811858 h 1017564"/>
                    <a:gd name="connsiteX163" fmla="*/ 713120 w 1020309"/>
                    <a:gd name="connsiteY163" fmla="*/ 932539 h 1017564"/>
                    <a:gd name="connsiteX164" fmla="*/ 370274 w 1020309"/>
                    <a:gd name="connsiteY164" fmla="*/ 932539 h 1017564"/>
                    <a:gd name="connsiteX165" fmla="*/ 370274 w 1020309"/>
                    <a:gd name="connsiteY165" fmla="*/ 899626 h 1017564"/>
                    <a:gd name="connsiteX166" fmla="*/ 713120 w 1020309"/>
                    <a:gd name="connsiteY166" fmla="*/ 899626 h 1017564"/>
                    <a:gd name="connsiteX167" fmla="*/ 713120 w 1020309"/>
                    <a:gd name="connsiteY167" fmla="*/ 932539 h 1017564"/>
                    <a:gd name="connsiteX168" fmla="*/ 713120 w 1020309"/>
                    <a:gd name="connsiteY168" fmla="*/ 932539 h 1017564"/>
                    <a:gd name="connsiteX169" fmla="*/ 814602 w 1020309"/>
                    <a:gd name="connsiteY169" fmla="*/ 981909 h 1017564"/>
                    <a:gd name="connsiteX170" fmla="*/ 751519 w 1020309"/>
                    <a:gd name="connsiteY170" fmla="*/ 940768 h 1017564"/>
                    <a:gd name="connsiteX171" fmla="*/ 765232 w 1020309"/>
                    <a:gd name="connsiteY171" fmla="*/ 866713 h 1017564"/>
                    <a:gd name="connsiteX172" fmla="*/ 839287 w 1020309"/>
                    <a:gd name="connsiteY172" fmla="*/ 852999 h 1017564"/>
                    <a:gd name="connsiteX173" fmla="*/ 880429 w 1020309"/>
                    <a:gd name="connsiteY173" fmla="*/ 916083 h 1017564"/>
                    <a:gd name="connsiteX174" fmla="*/ 814602 w 1020309"/>
                    <a:gd name="connsiteY174" fmla="*/ 981909 h 1017564"/>
                    <a:gd name="connsiteX175" fmla="*/ 814602 w 1020309"/>
                    <a:gd name="connsiteY175" fmla="*/ 981909 h 1017564"/>
                    <a:gd name="connsiteX176" fmla="*/ 981911 w 1020309"/>
                    <a:gd name="connsiteY176" fmla="*/ 913340 h 1017564"/>
                    <a:gd name="connsiteX177" fmla="*/ 965454 w 1020309"/>
                    <a:gd name="connsiteY177" fmla="*/ 929796 h 1017564"/>
                    <a:gd name="connsiteX178" fmla="*/ 913342 w 1020309"/>
                    <a:gd name="connsiteY178" fmla="*/ 929796 h 1017564"/>
                    <a:gd name="connsiteX179" fmla="*/ 913342 w 1020309"/>
                    <a:gd name="connsiteY179" fmla="*/ 896883 h 1017564"/>
                    <a:gd name="connsiteX180" fmla="*/ 981911 w 1020309"/>
                    <a:gd name="connsiteY180" fmla="*/ 896883 h 1017564"/>
                    <a:gd name="connsiteX181" fmla="*/ 981911 w 1020309"/>
                    <a:gd name="connsiteY181" fmla="*/ 913340 h 1017564"/>
                    <a:gd name="connsiteX182" fmla="*/ 981911 w 1020309"/>
                    <a:gd name="connsiteY182" fmla="*/ 863970 h 1017564"/>
                    <a:gd name="connsiteX183" fmla="*/ 899628 w 1020309"/>
                    <a:gd name="connsiteY183" fmla="*/ 863970 h 1017564"/>
                    <a:gd name="connsiteX184" fmla="*/ 811859 w 1020309"/>
                    <a:gd name="connsiteY184" fmla="*/ 811858 h 1017564"/>
                    <a:gd name="connsiteX185" fmla="*/ 724091 w 1020309"/>
                    <a:gd name="connsiteY185" fmla="*/ 863970 h 1017564"/>
                    <a:gd name="connsiteX186" fmla="*/ 641808 w 1020309"/>
                    <a:gd name="connsiteY186" fmla="*/ 863970 h 1017564"/>
                    <a:gd name="connsiteX187" fmla="*/ 641808 w 1020309"/>
                    <a:gd name="connsiteY187" fmla="*/ 559524 h 1017564"/>
                    <a:gd name="connsiteX188" fmla="*/ 674721 w 1020309"/>
                    <a:gd name="connsiteY188" fmla="*/ 559524 h 1017564"/>
                    <a:gd name="connsiteX189" fmla="*/ 674721 w 1020309"/>
                    <a:gd name="connsiteY189" fmla="*/ 661006 h 1017564"/>
                    <a:gd name="connsiteX190" fmla="*/ 726833 w 1020309"/>
                    <a:gd name="connsiteY190" fmla="*/ 713118 h 1017564"/>
                    <a:gd name="connsiteX191" fmla="*/ 896885 w 1020309"/>
                    <a:gd name="connsiteY191" fmla="*/ 713118 h 1017564"/>
                    <a:gd name="connsiteX192" fmla="*/ 981911 w 1020309"/>
                    <a:gd name="connsiteY192" fmla="*/ 798144 h 1017564"/>
                    <a:gd name="connsiteX193" fmla="*/ 981911 w 1020309"/>
                    <a:gd name="connsiteY193" fmla="*/ 863970 h 1017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1020309" h="1017564">
                      <a:moveTo>
                        <a:pt x="896885" y="677462"/>
                      </a:moveTo>
                      <a:lnTo>
                        <a:pt x="874943" y="677462"/>
                      </a:lnTo>
                      <a:lnTo>
                        <a:pt x="839287" y="595179"/>
                      </a:lnTo>
                      <a:cubicBezTo>
                        <a:pt x="820088" y="551295"/>
                        <a:pt x="778946" y="523868"/>
                        <a:pt x="729576" y="523868"/>
                      </a:cubicBezTo>
                      <a:lnTo>
                        <a:pt x="641808" y="523868"/>
                      </a:lnTo>
                      <a:lnTo>
                        <a:pt x="641808" y="337360"/>
                      </a:lnTo>
                      <a:cubicBezTo>
                        <a:pt x="641808" y="329131"/>
                        <a:pt x="633579" y="320903"/>
                        <a:pt x="625351" y="320903"/>
                      </a:cubicBezTo>
                      <a:lnTo>
                        <a:pt x="534840" y="320903"/>
                      </a:lnTo>
                      <a:cubicBezTo>
                        <a:pt x="501927" y="271534"/>
                        <a:pt x="455300" y="233135"/>
                        <a:pt x="397701" y="213936"/>
                      </a:cubicBezTo>
                      <a:cubicBezTo>
                        <a:pt x="419644" y="181022"/>
                        <a:pt x="438843" y="145366"/>
                        <a:pt x="438843" y="117939"/>
                      </a:cubicBezTo>
                      <a:cubicBezTo>
                        <a:pt x="438843" y="52113"/>
                        <a:pt x="386730" y="0"/>
                        <a:pt x="320904" y="0"/>
                      </a:cubicBezTo>
                      <a:cubicBezTo>
                        <a:pt x="255077" y="0"/>
                        <a:pt x="202965" y="52113"/>
                        <a:pt x="202965" y="117939"/>
                      </a:cubicBezTo>
                      <a:cubicBezTo>
                        <a:pt x="202965" y="145366"/>
                        <a:pt x="222164" y="181022"/>
                        <a:pt x="244107" y="213936"/>
                      </a:cubicBezTo>
                      <a:cubicBezTo>
                        <a:pt x="186508" y="233135"/>
                        <a:pt x="139881" y="268791"/>
                        <a:pt x="106968" y="320903"/>
                      </a:cubicBezTo>
                      <a:lnTo>
                        <a:pt x="16457" y="320903"/>
                      </a:lnTo>
                      <a:cubicBezTo>
                        <a:pt x="8228" y="320903"/>
                        <a:pt x="0" y="329131"/>
                        <a:pt x="0" y="337360"/>
                      </a:cubicBezTo>
                      <a:lnTo>
                        <a:pt x="0" y="880427"/>
                      </a:lnTo>
                      <a:cubicBezTo>
                        <a:pt x="0" y="888655"/>
                        <a:pt x="8228" y="896883"/>
                        <a:pt x="16457" y="896883"/>
                      </a:cubicBezTo>
                      <a:lnTo>
                        <a:pt x="32913" y="896883"/>
                      </a:lnTo>
                      <a:lnTo>
                        <a:pt x="32913" y="913340"/>
                      </a:lnTo>
                      <a:cubicBezTo>
                        <a:pt x="32913" y="940768"/>
                        <a:pt x="54855" y="965452"/>
                        <a:pt x="85026" y="965452"/>
                      </a:cubicBezTo>
                      <a:lnTo>
                        <a:pt x="183765" y="965452"/>
                      </a:lnTo>
                      <a:cubicBezTo>
                        <a:pt x="202965" y="995623"/>
                        <a:pt x="235878" y="1017565"/>
                        <a:pt x="271534" y="1017565"/>
                      </a:cubicBezTo>
                      <a:cubicBezTo>
                        <a:pt x="307190" y="1017565"/>
                        <a:pt x="340103" y="998366"/>
                        <a:pt x="359303" y="965452"/>
                      </a:cubicBezTo>
                      <a:lnTo>
                        <a:pt x="726833" y="965452"/>
                      </a:lnTo>
                      <a:cubicBezTo>
                        <a:pt x="746033" y="995623"/>
                        <a:pt x="778946" y="1017565"/>
                        <a:pt x="814602" y="1017565"/>
                      </a:cubicBezTo>
                      <a:cubicBezTo>
                        <a:pt x="850258" y="1017565"/>
                        <a:pt x="883171" y="998366"/>
                        <a:pt x="902371" y="965452"/>
                      </a:cubicBezTo>
                      <a:lnTo>
                        <a:pt x="968197" y="965452"/>
                      </a:lnTo>
                      <a:cubicBezTo>
                        <a:pt x="995625" y="965452"/>
                        <a:pt x="1020309" y="943510"/>
                        <a:pt x="1020309" y="913340"/>
                      </a:cubicBezTo>
                      <a:lnTo>
                        <a:pt x="1020309" y="795401"/>
                      </a:lnTo>
                      <a:cubicBezTo>
                        <a:pt x="1017567" y="729575"/>
                        <a:pt x="962712" y="677462"/>
                        <a:pt x="896885" y="677462"/>
                      </a:cubicBezTo>
                      <a:lnTo>
                        <a:pt x="896885" y="677462"/>
                      </a:lnTo>
                      <a:close/>
                      <a:moveTo>
                        <a:pt x="710377" y="559524"/>
                      </a:moveTo>
                      <a:lnTo>
                        <a:pt x="729576" y="559524"/>
                      </a:lnTo>
                      <a:cubicBezTo>
                        <a:pt x="762489" y="559524"/>
                        <a:pt x="792660" y="578723"/>
                        <a:pt x="806374" y="608893"/>
                      </a:cubicBezTo>
                      <a:lnTo>
                        <a:pt x="836544" y="677462"/>
                      </a:lnTo>
                      <a:lnTo>
                        <a:pt x="726833" y="677462"/>
                      </a:lnTo>
                      <a:cubicBezTo>
                        <a:pt x="718605" y="677462"/>
                        <a:pt x="710377" y="669234"/>
                        <a:pt x="710377" y="661006"/>
                      </a:cubicBezTo>
                      <a:lnTo>
                        <a:pt x="710377" y="559524"/>
                      </a:lnTo>
                      <a:close/>
                      <a:moveTo>
                        <a:pt x="540325" y="438842"/>
                      </a:moveTo>
                      <a:lnTo>
                        <a:pt x="455300" y="438842"/>
                      </a:lnTo>
                      <a:cubicBezTo>
                        <a:pt x="455300" y="411414"/>
                        <a:pt x="449814" y="381244"/>
                        <a:pt x="444328" y="353816"/>
                      </a:cubicBezTo>
                      <a:lnTo>
                        <a:pt x="515640" y="353816"/>
                      </a:lnTo>
                      <a:cubicBezTo>
                        <a:pt x="532097" y="381244"/>
                        <a:pt x="540325" y="408672"/>
                        <a:pt x="540325" y="438842"/>
                      </a:cubicBezTo>
                      <a:lnTo>
                        <a:pt x="540325" y="438842"/>
                      </a:lnTo>
                      <a:close/>
                      <a:moveTo>
                        <a:pt x="340103" y="559524"/>
                      </a:moveTo>
                      <a:lnTo>
                        <a:pt x="340103" y="474498"/>
                      </a:lnTo>
                      <a:lnTo>
                        <a:pt x="425129" y="474498"/>
                      </a:lnTo>
                      <a:cubicBezTo>
                        <a:pt x="425129" y="501926"/>
                        <a:pt x="419644" y="532096"/>
                        <a:pt x="414158" y="559524"/>
                      </a:cubicBezTo>
                      <a:lnTo>
                        <a:pt x="340103" y="559524"/>
                      </a:lnTo>
                      <a:close/>
                      <a:moveTo>
                        <a:pt x="400444" y="592437"/>
                      </a:moveTo>
                      <a:cubicBezTo>
                        <a:pt x="383987" y="636321"/>
                        <a:pt x="362045" y="663748"/>
                        <a:pt x="337360" y="674719"/>
                      </a:cubicBezTo>
                      <a:lnTo>
                        <a:pt x="337360" y="592437"/>
                      </a:lnTo>
                      <a:lnTo>
                        <a:pt x="400444" y="592437"/>
                      </a:lnTo>
                      <a:close/>
                      <a:moveTo>
                        <a:pt x="340103" y="438842"/>
                      </a:moveTo>
                      <a:lnTo>
                        <a:pt x="340103" y="353816"/>
                      </a:lnTo>
                      <a:lnTo>
                        <a:pt x="414158" y="353816"/>
                      </a:lnTo>
                      <a:cubicBezTo>
                        <a:pt x="419644" y="381244"/>
                        <a:pt x="425129" y="408672"/>
                        <a:pt x="425129" y="438842"/>
                      </a:cubicBezTo>
                      <a:lnTo>
                        <a:pt x="340103" y="438842"/>
                      </a:lnTo>
                      <a:close/>
                      <a:moveTo>
                        <a:pt x="436100" y="592437"/>
                      </a:moveTo>
                      <a:lnTo>
                        <a:pt x="493698" y="592437"/>
                      </a:lnTo>
                      <a:cubicBezTo>
                        <a:pt x="469013" y="622607"/>
                        <a:pt x="438843" y="647292"/>
                        <a:pt x="400444" y="661006"/>
                      </a:cubicBezTo>
                      <a:cubicBezTo>
                        <a:pt x="416901" y="639064"/>
                        <a:pt x="427872" y="617122"/>
                        <a:pt x="436100" y="592437"/>
                      </a:cubicBezTo>
                      <a:lnTo>
                        <a:pt x="436100" y="592437"/>
                      </a:lnTo>
                      <a:close/>
                      <a:moveTo>
                        <a:pt x="447071" y="559524"/>
                      </a:moveTo>
                      <a:cubicBezTo>
                        <a:pt x="452557" y="532096"/>
                        <a:pt x="458042" y="501926"/>
                        <a:pt x="458042" y="474498"/>
                      </a:cubicBezTo>
                      <a:lnTo>
                        <a:pt x="543068" y="474498"/>
                      </a:lnTo>
                      <a:cubicBezTo>
                        <a:pt x="540325" y="504668"/>
                        <a:pt x="532097" y="532096"/>
                        <a:pt x="518383" y="559524"/>
                      </a:cubicBezTo>
                      <a:lnTo>
                        <a:pt x="447071" y="559524"/>
                      </a:lnTo>
                      <a:close/>
                      <a:moveTo>
                        <a:pt x="496441" y="320903"/>
                      </a:moveTo>
                      <a:lnTo>
                        <a:pt x="438843" y="320903"/>
                      </a:lnTo>
                      <a:cubicBezTo>
                        <a:pt x="430614" y="296218"/>
                        <a:pt x="419644" y="274276"/>
                        <a:pt x="405930" y="252334"/>
                      </a:cubicBezTo>
                      <a:cubicBezTo>
                        <a:pt x="438843" y="266048"/>
                        <a:pt x="471756" y="290733"/>
                        <a:pt x="496441" y="320903"/>
                      </a:cubicBezTo>
                      <a:lnTo>
                        <a:pt x="496441" y="320903"/>
                      </a:lnTo>
                      <a:close/>
                      <a:moveTo>
                        <a:pt x="400444" y="320903"/>
                      </a:moveTo>
                      <a:lnTo>
                        <a:pt x="337360" y="320903"/>
                      </a:lnTo>
                      <a:lnTo>
                        <a:pt x="337360" y="293475"/>
                      </a:lnTo>
                      <a:cubicBezTo>
                        <a:pt x="342846" y="287990"/>
                        <a:pt x="353817" y="274276"/>
                        <a:pt x="364788" y="260562"/>
                      </a:cubicBezTo>
                      <a:cubicBezTo>
                        <a:pt x="381245" y="277019"/>
                        <a:pt x="394959" y="298961"/>
                        <a:pt x="400444" y="320903"/>
                      </a:cubicBezTo>
                      <a:lnTo>
                        <a:pt x="400444" y="320903"/>
                      </a:lnTo>
                      <a:close/>
                      <a:moveTo>
                        <a:pt x="235878" y="117939"/>
                      </a:moveTo>
                      <a:cubicBezTo>
                        <a:pt x="235878" y="71312"/>
                        <a:pt x="274277" y="32913"/>
                        <a:pt x="320904" y="32913"/>
                      </a:cubicBezTo>
                      <a:cubicBezTo>
                        <a:pt x="367531" y="32913"/>
                        <a:pt x="405930" y="71312"/>
                        <a:pt x="405930" y="117939"/>
                      </a:cubicBezTo>
                      <a:cubicBezTo>
                        <a:pt x="405930" y="139881"/>
                        <a:pt x="383987" y="178280"/>
                        <a:pt x="356560" y="213936"/>
                      </a:cubicBezTo>
                      <a:cubicBezTo>
                        <a:pt x="356560" y="213936"/>
                        <a:pt x="356560" y="213936"/>
                        <a:pt x="356560" y="213936"/>
                      </a:cubicBezTo>
                      <a:cubicBezTo>
                        <a:pt x="345589" y="230392"/>
                        <a:pt x="331875" y="246849"/>
                        <a:pt x="320904" y="260562"/>
                      </a:cubicBezTo>
                      <a:cubicBezTo>
                        <a:pt x="309933" y="246849"/>
                        <a:pt x="296219" y="230392"/>
                        <a:pt x="285248" y="213936"/>
                      </a:cubicBezTo>
                      <a:cubicBezTo>
                        <a:pt x="285248" y="213936"/>
                        <a:pt x="285248" y="213936"/>
                        <a:pt x="285248" y="213936"/>
                      </a:cubicBezTo>
                      <a:cubicBezTo>
                        <a:pt x="260563" y="178280"/>
                        <a:pt x="235878" y="139881"/>
                        <a:pt x="235878" y="117939"/>
                      </a:cubicBezTo>
                      <a:lnTo>
                        <a:pt x="235878" y="117939"/>
                      </a:lnTo>
                      <a:close/>
                      <a:moveTo>
                        <a:pt x="277020" y="260562"/>
                      </a:moveTo>
                      <a:cubicBezTo>
                        <a:pt x="287991" y="274276"/>
                        <a:pt x="298962" y="287990"/>
                        <a:pt x="304447" y="293475"/>
                      </a:cubicBezTo>
                      <a:lnTo>
                        <a:pt x="304447" y="320903"/>
                      </a:lnTo>
                      <a:lnTo>
                        <a:pt x="241364" y="320903"/>
                      </a:lnTo>
                      <a:cubicBezTo>
                        <a:pt x="249592" y="298961"/>
                        <a:pt x="260563" y="277019"/>
                        <a:pt x="277020" y="260562"/>
                      </a:cubicBezTo>
                      <a:lnTo>
                        <a:pt x="277020" y="260562"/>
                      </a:lnTo>
                      <a:close/>
                      <a:moveTo>
                        <a:pt x="233135" y="559524"/>
                      </a:moveTo>
                      <a:cubicBezTo>
                        <a:pt x="227650" y="532096"/>
                        <a:pt x="222164" y="504668"/>
                        <a:pt x="222164" y="474498"/>
                      </a:cubicBezTo>
                      <a:lnTo>
                        <a:pt x="307190" y="474498"/>
                      </a:lnTo>
                      <a:lnTo>
                        <a:pt x="307190" y="559524"/>
                      </a:lnTo>
                      <a:lnTo>
                        <a:pt x="233135" y="559524"/>
                      </a:lnTo>
                      <a:close/>
                      <a:moveTo>
                        <a:pt x="304447" y="592437"/>
                      </a:moveTo>
                      <a:lnTo>
                        <a:pt x="304447" y="674719"/>
                      </a:lnTo>
                      <a:cubicBezTo>
                        <a:pt x="279762" y="666491"/>
                        <a:pt x="257820" y="636321"/>
                        <a:pt x="241364" y="592437"/>
                      </a:cubicBezTo>
                      <a:lnTo>
                        <a:pt x="304447" y="592437"/>
                      </a:lnTo>
                      <a:close/>
                      <a:moveTo>
                        <a:pt x="205708" y="592437"/>
                      </a:moveTo>
                      <a:cubicBezTo>
                        <a:pt x="213936" y="617122"/>
                        <a:pt x="224907" y="639064"/>
                        <a:pt x="238621" y="661006"/>
                      </a:cubicBezTo>
                      <a:cubicBezTo>
                        <a:pt x="202965" y="647292"/>
                        <a:pt x="170051" y="622607"/>
                        <a:pt x="145367" y="592437"/>
                      </a:cubicBezTo>
                      <a:lnTo>
                        <a:pt x="205708" y="592437"/>
                      </a:lnTo>
                      <a:close/>
                      <a:moveTo>
                        <a:pt x="126167" y="559524"/>
                      </a:moveTo>
                      <a:cubicBezTo>
                        <a:pt x="112454" y="532096"/>
                        <a:pt x="104225" y="504668"/>
                        <a:pt x="101482" y="474498"/>
                      </a:cubicBezTo>
                      <a:lnTo>
                        <a:pt x="186508" y="474498"/>
                      </a:lnTo>
                      <a:cubicBezTo>
                        <a:pt x="186508" y="501926"/>
                        <a:pt x="191994" y="532096"/>
                        <a:pt x="197479" y="559524"/>
                      </a:cubicBezTo>
                      <a:lnTo>
                        <a:pt x="126167" y="559524"/>
                      </a:lnTo>
                      <a:close/>
                      <a:moveTo>
                        <a:pt x="219421" y="438842"/>
                      </a:moveTo>
                      <a:cubicBezTo>
                        <a:pt x="219421" y="411414"/>
                        <a:pt x="224907" y="381244"/>
                        <a:pt x="230393" y="353816"/>
                      </a:cubicBezTo>
                      <a:lnTo>
                        <a:pt x="304447" y="353816"/>
                      </a:lnTo>
                      <a:lnTo>
                        <a:pt x="304447" y="438842"/>
                      </a:lnTo>
                      <a:lnTo>
                        <a:pt x="219421" y="438842"/>
                      </a:lnTo>
                      <a:close/>
                      <a:moveTo>
                        <a:pt x="241364" y="252334"/>
                      </a:moveTo>
                      <a:cubicBezTo>
                        <a:pt x="227650" y="274276"/>
                        <a:pt x="213936" y="296218"/>
                        <a:pt x="208450" y="320903"/>
                      </a:cubicBezTo>
                      <a:lnTo>
                        <a:pt x="150852" y="320903"/>
                      </a:lnTo>
                      <a:cubicBezTo>
                        <a:pt x="172794" y="290733"/>
                        <a:pt x="202965" y="266048"/>
                        <a:pt x="241364" y="252334"/>
                      </a:cubicBezTo>
                      <a:lnTo>
                        <a:pt x="241364" y="252334"/>
                      </a:lnTo>
                      <a:close/>
                      <a:moveTo>
                        <a:pt x="126167" y="353816"/>
                      </a:moveTo>
                      <a:lnTo>
                        <a:pt x="197479" y="353816"/>
                      </a:lnTo>
                      <a:cubicBezTo>
                        <a:pt x="191994" y="381244"/>
                        <a:pt x="186508" y="411414"/>
                        <a:pt x="186508" y="438842"/>
                      </a:cubicBezTo>
                      <a:lnTo>
                        <a:pt x="101482" y="438842"/>
                      </a:lnTo>
                      <a:cubicBezTo>
                        <a:pt x="104225" y="408672"/>
                        <a:pt x="112454" y="381244"/>
                        <a:pt x="126167" y="353816"/>
                      </a:cubicBezTo>
                      <a:lnTo>
                        <a:pt x="126167" y="353816"/>
                      </a:lnTo>
                      <a:close/>
                      <a:moveTo>
                        <a:pt x="32913" y="353816"/>
                      </a:moveTo>
                      <a:lnTo>
                        <a:pt x="87768" y="353816"/>
                      </a:lnTo>
                      <a:cubicBezTo>
                        <a:pt x="74055" y="386729"/>
                        <a:pt x="65827" y="419643"/>
                        <a:pt x="65827" y="455298"/>
                      </a:cubicBezTo>
                      <a:cubicBezTo>
                        <a:pt x="65827" y="595179"/>
                        <a:pt x="181023" y="710375"/>
                        <a:pt x="320904" y="710375"/>
                      </a:cubicBezTo>
                      <a:cubicBezTo>
                        <a:pt x="460785" y="710375"/>
                        <a:pt x="575981" y="595179"/>
                        <a:pt x="575981" y="455298"/>
                      </a:cubicBezTo>
                      <a:cubicBezTo>
                        <a:pt x="575981" y="419643"/>
                        <a:pt x="567753" y="386729"/>
                        <a:pt x="554039" y="353816"/>
                      </a:cubicBezTo>
                      <a:lnTo>
                        <a:pt x="608894" y="353816"/>
                      </a:lnTo>
                      <a:lnTo>
                        <a:pt x="608894" y="743289"/>
                      </a:lnTo>
                      <a:lnTo>
                        <a:pt x="32913" y="743289"/>
                      </a:lnTo>
                      <a:lnTo>
                        <a:pt x="32913" y="353816"/>
                      </a:lnTo>
                      <a:close/>
                      <a:moveTo>
                        <a:pt x="170051" y="932539"/>
                      </a:moveTo>
                      <a:lnTo>
                        <a:pt x="85026" y="932539"/>
                      </a:lnTo>
                      <a:cubicBezTo>
                        <a:pt x="76798" y="932539"/>
                        <a:pt x="68569" y="924311"/>
                        <a:pt x="68569" y="916083"/>
                      </a:cubicBezTo>
                      <a:lnTo>
                        <a:pt x="68569" y="899626"/>
                      </a:lnTo>
                      <a:lnTo>
                        <a:pt x="172794" y="899626"/>
                      </a:lnTo>
                      <a:cubicBezTo>
                        <a:pt x="170051" y="907854"/>
                        <a:pt x="170051" y="918825"/>
                        <a:pt x="170051" y="932539"/>
                      </a:cubicBezTo>
                      <a:lnTo>
                        <a:pt x="170051" y="932539"/>
                      </a:lnTo>
                      <a:close/>
                      <a:moveTo>
                        <a:pt x="271534" y="981909"/>
                      </a:moveTo>
                      <a:cubicBezTo>
                        <a:pt x="244107" y="981909"/>
                        <a:pt x="219421" y="965452"/>
                        <a:pt x="208450" y="940768"/>
                      </a:cubicBezTo>
                      <a:cubicBezTo>
                        <a:pt x="197479" y="916083"/>
                        <a:pt x="202965" y="885912"/>
                        <a:pt x="222164" y="866713"/>
                      </a:cubicBezTo>
                      <a:cubicBezTo>
                        <a:pt x="241364" y="847514"/>
                        <a:pt x="271534" y="842028"/>
                        <a:pt x="296219" y="852999"/>
                      </a:cubicBezTo>
                      <a:cubicBezTo>
                        <a:pt x="320904" y="863970"/>
                        <a:pt x="337360" y="888655"/>
                        <a:pt x="337360" y="916083"/>
                      </a:cubicBezTo>
                      <a:cubicBezTo>
                        <a:pt x="340103" y="951738"/>
                        <a:pt x="307190" y="981909"/>
                        <a:pt x="271534" y="981909"/>
                      </a:cubicBezTo>
                      <a:lnTo>
                        <a:pt x="271534" y="981909"/>
                      </a:lnTo>
                      <a:close/>
                      <a:moveTo>
                        <a:pt x="271534" y="811858"/>
                      </a:moveTo>
                      <a:cubicBezTo>
                        <a:pt x="235878" y="811858"/>
                        <a:pt x="202965" y="831057"/>
                        <a:pt x="183765" y="863970"/>
                      </a:cubicBezTo>
                      <a:lnTo>
                        <a:pt x="35656" y="863970"/>
                      </a:lnTo>
                      <a:lnTo>
                        <a:pt x="35656" y="778945"/>
                      </a:lnTo>
                      <a:lnTo>
                        <a:pt x="611637" y="778945"/>
                      </a:lnTo>
                      <a:lnTo>
                        <a:pt x="611637" y="863970"/>
                      </a:lnTo>
                      <a:lnTo>
                        <a:pt x="359303" y="863970"/>
                      </a:lnTo>
                      <a:cubicBezTo>
                        <a:pt x="340103" y="831057"/>
                        <a:pt x="307190" y="811858"/>
                        <a:pt x="271534" y="811858"/>
                      </a:cubicBezTo>
                      <a:lnTo>
                        <a:pt x="271534" y="811858"/>
                      </a:lnTo>
                      <a:close/>
                      <a:moveTo>
                        <a:pt x="713120" y="932539"/>
                      </a:moveTo>
                      <a:lnTo>
                        <a:pt x="370274" y="932539"/>
                      </a:lnTo>
                      <a:cubicBezTo>
                        <a:pt x="373017" y="921568"/>
                        <a:pt x="373017" y="910597"/>
                        <a:pt x="370274" y="899626"/>
                      </a:cubicBezTo>
                      <a:lnTo>
                        <a:pt x="713120" y="899626"/>
                      </a:lnTo>
                      <a:cubicBezTo>
                        <a:pt x="710377" y="907854"/>
                        <a:pt x="710377" y="918825"/>
                        <a:pt x="713120" y="932539"/>
                      </a:cubicBezTo>
                      <a:lnTo>
                        <a:pt x="713120" y="932539"/>
                      </a:lnTo>
                      <a:close/>
                      <a:moveTo>
                        <a:pt x="814602" y="981909"/>
                      </a:moveTo>
                      <a:cubicBezTo>
                        <a:pt x="787174" y="981909"/>
                        <a:pt x="762489" y="965452"/>
                        <a:pt x="751519" y="940768"/>
                      </a:cubicBezTo>
                      <a:cubicBezTo>
                        <a:pt x="740547" y="916083"/>
                        <a:pt x="746033" y="885912"/>
                        <a:pt x="765232" y="866713"/>
                      </a:cubicBezTo>
                      <a:cubicBezTo>
                        <a:pt x="784432" y="847514"/>
                        <a:pt x="814602" y="842028"/>
                        <a:pt x="839287" y="852999"/>
                      </a:cubicBezTo>
                      <a:cubicBezTo>
                        <a:pt x="863972" y="863970"/>
                        <a:pt x="880429" y="888655"/>
                        <a:pt x="880429" y="916083"/>
                      </a:cubicBezTo>
                      <a:cubicBezTo>
                        <a:pt x="880429" y="951738"/>
                        <a:pt x="850258" y="981909"/>
                        <a:pt x="814602" y="981909"/>
                      </a:cubicBezTo>
                      <a:lnTo>
                        <a:pt x="814602" y="981909"/>
                      </a:lnTo>
                      <a:close/>
                      <a:moveTo>
                        <a:pt x="981911" y="913340"/>
                      </a:moveTo>
                      <a:cubicBezTo>
                        <a:pt x="981911" y="921568"/>
                        <a:pt x="973682" y="929796"/>
                        <a:pt x="965454" y="929796"/>
                      </a:cubicBezTo>
                      <a:lnTo>
                        <a:pt x="913342" y="929796"/>
                      </a:lnTo>
                      <a:cubicBezTo>
                        <a:pt x="916085" y="918825"/>
                        <a:pt x="916085" y="907854"/>
                        <a:pt x="913342" y="896883"/>
                      </a:cubicBezTo>
                      <a:lnTo>
                        <a:pt x="981911" y="896883"/>
                      </a:lnTo>
                      <a:lnTo>
                        <a:pt x="981911" y="913340"/>
                      </a:lnTo>
                      <a:close/>
                      <a:moveTo>
                        <a:pt x="981911" y="863970"/>
                      </a:moveTo>
                      <a:lnTo>
                        <a:pt x="899628" y="863970"/>
                      </a:lnTo>
                      <a:cubicBezTo>
                        <a:pt x="880429" y="833800"/>
                        <a:pt x="847515" y="811858"/>
                        <a:pt x="811859" y="811858"/>
                      </a:cubicBezTo>
                      <a:cubicBezTo>
                        <a:pt x="776203" y="811858"/>
                        <a:pt x="743290" y="831057"/>
                        <a:pt x="724091" y="863970"/>
                      </a:cubicBezTo>
                      <a:lnTo>
                        <a:pt x="641808" y="863970"/>
                      </a:lnTo>
                      <a:lnTo>
                        <a:pt x="641808" y="559524"/>
                      </a:lnTo>
                      <a:lnTo>
                        <a:pt x="674721" y="559524"/>
                      </a:lnTo>
                      <a:lnTo>
                        <a:pt x="674721" y="661006"/>
                      </a:lnTo>
                      <a:cubicBezTo>
                        <a:pt x="674721" y="688433"/>
                        <a:pt x="696663" y="713118"/>
                        <a:pt x="726833" y="713118"/>
                      </a:cubicBezTo>
                      <a:lnTo>
                        <a:pt x="896885" y="713118"/>
                      </a:lnTo>
                      <a:cubicBezTo>
                        <a:pt x="943512" y="713118"/>
                        <a:pt x="981911" y="751517"/>
                        <a:pt x="981911" y="798144"/>
                      </a:cubicBezTo>
                      <a:lnTo>
                        <a:pt x="981911" y="863970"/>
                      </a:lnTo>
                      <a:close/>
                    </a:path>
                  </a:pathLst>
                </a:custGeom>
                <a:grpFill/>
                <a:ln w="27426" cap="flat">
                  <a:noFill/>
                  <a:prstDash val="solid"/>
                  <a:miter/>
                </a:ln>
              </p:spPr>
              <p:txBody>
                <a:bodyPr rtlCol="0" anchor="ctr"/>
                <a:lstStyle/>
                <a:p>
                  <a:pPr algn="l" rtl="0"/>
                  <a:endParaRPr lang="en-US"/>
                </a:p>
              </p:txBody>
            </p:sp>
            <p:sp>
              <p:nvSpPr>
                <p:cNvPr id="75" name="Freeform 74">
                  <a:extLst>
                    <a:ext uri="{FF2B5EF4-FFF2-40B4-BE49-F238E27FC236}">
                      <a16:creationId xmlns:a16="http://schemas.microsoft.com/office/drawing/2014/main" id="{8EB0339C-48B6-C6CA-047F-5601A86D014E}"/>
                    </a:ext>
                  </a:extLst>
                </p:cNvPr>
                <p:cNvSpPr/>
                <p:nvPr/>
              </p:nvSpPr>
              <p:spPr>
                <a:xfrm>
                  <a:off x="3201928" y="1098891"/>
                  <a:ext cx="66358" cy="32913"/>
                </a:xfrm>
                <a:custGeom>
                  <a:avLst/>
                  <a:gdLst>
                    <a:gd name="connsiteX0" fmla="*/ 16988 w 66358"/>
                    <a:gd name="connsiteY0" fmla="*/ 32913 h 32913"/>
                    <a:gd name="connsiteX1" fmla="*/ 49901 w 66358"/>
                    <a:gd name="connsiteY1" fmla="*/ 32913 h 32913"/>
                    <a:gd name="connsiteX2" fmla="*/ 66358 w 66358"/>
                    <a:gd name="connsiteY2" fmla="*/ 16457 h 32913"/>
                    <a:gd name="connsiteX3" fmla="*/ 49901 w 66358"/>
                    <a:gd name="connsiteY3" fmla="*/ 0 h 32913"/>
                    <a:gd name="connsiteX4" fmla="*/ 16988 w 66358"/>
                    <a:gd name="connsiteY4" fmla="*/ 0 h 32913"/>
                    <a:gd name="connsiteX5" fmla="*/ 532 w 66358"/>
                    <a:gd name="connsiteY5" fmla="*/ 16457 h 32913"/>
                    <a:gd name="connsiteX6" fmla="*/ 16988 w 66358"/>
                    <a:gd name="connsiteY6" fmla="*/ 32913 h 32913"/>
                    <a:gd name="connsiteX7" fmla="*/ 16988 w 66358"/>
                    <a:gd name="connsiteY7" fmla="*/ 32913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58" h="32913">
                      <a:moveTo>
                        <a:pt x="16988" y="32913"/>
                      </a:moveTo>
                      <a:lnTo>
                        <a:pt x="49901" y="32913"/>
                      </a:lnTo>
                      <a:cubicBezTo>
                        <a:pt x="58130" y="32913"/>
                        <a:pt x="66358" y="24685"/>
                        <a:pt x="66358" y="16457"/>
                      </a:cubicBezTo>
                      <a:cubicBezTo>
                        <a:pt x="66358" y="8228"/>
                        <a:pt x="58130" y="0"/>
                        <a:pt x="49901" y="0"/>
                      </a:cubicBezTo>
                      <a:lnTo>
                        <a:pt x="16988" y="0"/>
                      </a:lnTo>
                      <a:cubicBezTo>
                        <a:pt x="8760" y="0"/>
                        <a:pt x="532" y="8228"/>
                        <a:pt x="532" y="16457"/>
                      </a:cubicBezTo>
                      <a:cubicBezTo>
                        <a:pt x="-2211" y="24685"/>
                        <a:pt x="6017" y="32913"/>
                        <a:pt x="16988" y="32913"/>
                      </a:cubicBezTo>
                      <a:lnTo>
                        <a:pt x="16988" y="32913"/>
                      </a:lnTo>
                      <a:close/>
                    </a:path>
                  </a:pathLst>
                </a:custGeom>
                <a:grpFill/>
                <a:ln w="27426" cap="flat">
                  <a:noFill/>
                  <a:prstDash val="solid"/>
                  <a:miter/>
                </a:ln>
              </p:spPr>
              <p:txBody>
                <a:bodyPr rtlCol="0" anchor="ctr"/>
                <a:lstStyle/>
                <a:p>
                  <a:pPr algn="l" rtl="0"/>
                  <a:endParaRPr lang="en-US"/>
                </a:p>
              </p:txBody>
            </p:sp>
          </p:grpSp>
          <p:sp>
            <p:nvSpPr>
              <p:cNvPr id="73" name="Freeform 72">
                <a:extLst>
                  <a:ext uri="{FF2B5EF4-FFF2-40B4-BE49-F238E27FC236}">
                    <a16:creationId xmlns:a16="http://schemas.microsoft.com/office/drawing/2014/main" id="{ED4CB98D-65CE-AA40-9F58-B3EC258972E7}"/>
                  </a:ext>
                </a:extLst>
              </p:cNvPr>
              <p:cNvSpPr/>
              <p:nvPr/>
            </p:nvSpPr>
            <p:spPr>
              <a:xfrm>
                <a:off x="2760874" y="436762"/>
                <a:ext cx="99862" cy="99862"/>
              </a:xfrm>
              <a:custGeom>
                <a:avLst/>
                <a:gdLst>
                  <a:gd name="connsiteX0" fmla="*/ 49369 w 99862"/>
                  <a:gd name="connsiteY0" fmla="*/ 99863 h 99862"/>
                  <a:gd name="connsiteX1" fmla="*/ 95997 w 99862"/>
                  <a:gd name="connsiteY1" fmla="*/ 69692 h 99862"/>
                  <a:gd name="connsiteX2" fmla="*/ 85026 w 99862"/>
                  <a:gd name="connsiteY2" fmla="*/ 14837 h 99862"/>
                  <a:gd name="connsiteX3" fmla="*/ 30170 w 99862"/>
                  <a:gd name="connsiteY3" fmla="*/ 3866 h 99862"/>
                  <a:gd name="connsiteX4" fmla="*/ 0 w 99862"/>
                  <a:gd name="connsiteY4" fmla="*/ 50493 h 99862"/>
                  <a:gd name="connsiteX5" fmla="*/ 49369 w 99862"/>
                  <a:gd name="connsiteY5" fmla="*/ 99863 h 99862"/>
                  <a:gd name="connsiteX6" fmla="*/ 49369 w 99862"/>
                  <a:gd name="connsiteY6" fmla="*/ 99863 h 99862"/>
                  <a:gd name="connsiteX7" fmla="*/ 49369 w 99862"/>
                  <a:gd name="connsiteY7" fmla="*/ 34036 h 99862"/>
                  <a:gd name="connsiteX8" fmla="*/ 65826 w 99862"/>
                  <a:gd name="connsiteY8" fmla="*/ 45007 h 99862"/>
                  <a:gd name="connsiteX9" fmla="*/ 63083 w 99862"/>
                  <a:gd name="connsiteY9" fmla="*/ 64207 h 99862"/>
                  <a:gd name="connsiteX10" fmla="*/ 43884 w 99862"/>
                  <a:gd name="connsiteY10" fmla="*/ 66950 h 99862"/>
                  <a:gd name="connsiteX11" fmla="*/ 32913 w 99862"/>
                  <a:gd name="connsiteY11" fmla="*/ 50493 h 99862"/>
                  <a:gd name="connsiteX12" fmla="*/ 49369 w 99862"/>
                  <a:gd name="connsiteY12" fmla="*/ 34036 h 99862"/>
                  <a:gd name="connsiteX13" fmla="*/ 49369 w 99862"/>
                  <a:gd name="connsiteY13" fmla="*/ 34036 h 9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862" h="99862">
                    <a:moveTo>
                      <a:pt x="49369" y="99863"/>
                    </a:moveTo>
                    <a:cubicBezTo>
                      <a:pt x="68569" y="99863"/>
                      <a:pt x="87768" y="86149"/>
                      <a:pt x="95997" y="69692"/>
                    </a:cubicBezTo>
                    <a:cubicBezTo>
                      <a:pt x="104225" y="50493"/>
                      <a:pt x="98739" y="28551"/>
                      <a:pt x="85026" y="14837"/>
                    </a:cubicBezTo>
                    <a:cubicBezTo>
                      <a:pt x="71312" y="1123"/>
                      <a:pt x="49369" y="-4362"/>
                      <a:pt x="30170" y="3866"/>
                    </a:cubicBezTo>
                    <a:cubicBezTo>
                      <a:pt x="10971" y="12094"/>
                      <a:pt x="0" y="31294"/>
                      <a:pt x="0" y="50493"/>
                    </a:cubicBezTo>
                    <a:cubicBezTo>
                      <a:pt x="0" y="77921"/>
                      <a:pt x="21942" y="99863"/>
                      <a:pt x="49369" y="99863"/>
                    </a:cubicBezTo>
                    <a:lnTo>
                      <a:pt x="49369" y="99863"/>
                    </a:lnTo>
                    <a:close/>
                    <a:moveTo>
                      <a:pt x="49369" y="34036"/>
                    </a:moveTo>
                    <a:cubicBezTo>
                      <a:pt x="54855" y="34036"/>
                      <a:pt x="63083" y="39522"/>
                      <a:pt x="65826" y="45007"/>
                    </a:cubicBezTo>
                    <a:cubicBezTo>
                      <a:pt x="68569" y="50493"/>
                      <a:pt x="65826" y="58721"/>
                      <a:pt x="63083" y="64207"/>
                    </a:cubicBezTo>
                    <a:cubicBezTo>
                      <a:pt x="57598" y="69692"/>
                      <a:pt x="52112" y="69692"/>
                      <a:pt x="43884" y="66950"/>
                    </a:cubicBezTo>
                    <a:cubicBezTo>
                      <a:pt x="38399" y="64207"/>
                      <a:pt x="32913" y="58721"/>
                      <a:pt x="32913" y="50493"/>
                    </a:cubicBezTo>
                    <a:cubicBezTo>
                      <a:pt x="32913" y="39522"/>
                      <a:pt x="41142" y="34036"/>
                      <a:pt x="49369" y="34036"/>
                    </a:cubicBezTo>
                    <a:lnTo>
                      <a:pt x="49369" y="34036"/>
                    </a:lnTo>
                    <a:close/>
                  </a:path>
                </a:pathLst>
              </a:custGeom>
              <a:grpFill/>
              <a:ln w="27426" cap="flat">
                <a:noFill/>
                <a:prstDash val="solid"/>
                <a:miter/>
              </a:ln>
            </p:spPr>
            <p:txBody>
              <a:bodyPr rtlCol="0" anchor="ctr"/>
              <a:lstStyle/>
              <a:p>
                <a:pPr algn="l" rtl="0"/>
                <a:endParaRPr lang="en-US"/>
              </a:p>
            </p:txBody>
          </p:sp>
        </p:grpSp>
        <p:grpSp>
          <p:nvGrpSpPr>
            <p:cNvPr id="76" name="Graphic 3">
              <a:extLst>
                <a:ext uri="{FF2B5EF4-FFF2-40B4-BE49-F238E27FC236}">
                  <a16:creationId xmlns:a16="http://schemas.microsoft.com/office/drawing/2014/main" id="{8ED25149-9708-CB00-67AE-EB9246E6C80E}"/>
                </a:ext>
              </a:extLst>
            </p:cNvPr>
            <p:cNvGrpSpPr/>
            <p:nvPr/>
          </p:nvGrpSpPr>
          <p:grpSpPr>
            <a:xfrm>
              <a:off x="6051811" y="5038549"/>
              <a:ext cx="759780" cy="655871"/>
              <a:chOff x="662657" y="2010078"/>
              <a:chExt cx="1091621" cy="942328"/>
            </a:xfrm>
            <a:solidFill>
              <a:schemeClr val="bg1"/>
            </a:solidFill>
          </p:grpSpPr>
          <p:sp>
            <p:nvSpPr>
              <p:cNvPr id="77" name="Freeform 76">
                <a:extLst>
                  <a:ext uri="{FF2B5EF4-FFF2-40B4-BE49-F238E27FC236}">
                    <a16:creationId xmlns:a16="http://schemas.microsoft.com/office/drawing/2014/main" id="{4FB9C9CD-C636-5A46-8CA6-12CAD95615AE}"/>
                  </a:ext>
                </a:extLst>
              </p:cNvPr>
              <p:cNvSpPr/>
              <p:nvPr/>
            </p:nvSpPr>
            <p:spPr>
              <a:xfrm>
                <a:off x="761397" y="2497699"/>
                <a:ext cx="263305" cy="32913"/>
              </a:xfrm>
              <a:custGeom>
                <a:avLst/>
                <a:gdLst>
                  <a:gd name="connsiteX0" fmla="*/ 16457 w 263305"/>
                  <a:gd name="connsiteY0" fmla="*/ 32913 h 32913"/>
                  <a:gd name="connsiteX1" fmla="*/ 246849 w 263305"/>
                  <a:gd name="connsiteY1" fmla="*/ 32913 h 32913"/>
                  <a:gd name="connsiteX2" fmla="*/ 263306 w 263305"/>
                  <a:gd name="connsiteY2" fmla="*/ 16456 h 32913"/>
                  <a:gd name="connsiteX3" fmla="*/ 246849 w 263305"/>
                  <a:gd name="connsiteY3" fmla="*/ 0 h 32913"/>
                  <a:gd name="connsiteX4" fmla="*/ 16457 w 263305"/>
                  <a:gd name="connsiteY4" fmla="*/ 0 h 32913"/>
                  <a:gd name="connsiteX5" fmla="*/ 0 w 263305"/>
                  <a:gd name="connsiteY5" fmla="*/ 16456 h 32913"/>
                  <a:gd name="connsiteX6" fmla="*/ 16457 w 263305"/>
                  <a:gd name="connsiteY6" fmla="*/ 32913 h 32913"/>
                  <a:gd name="connsiteX7" fmla="*/ 16457 w 263305"/>
                  <a:gd name="connsiteY7" fmla="*/ 32913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305" h="32913">
                    <a:moveTo>
                      <a:pt x="16457" y="32913"/>
                    </a:moveTo>
                    <a:lnTo>
                      <a:pt x="246849" y="32913"/>
                    </a:lnTo>
                    <a:cubicBezTo>
                      <a:pt x="255077" y="32913"/>
                      <a:pt x="263306" y="24685"/>
                      <a:pt x="263306" y="16456"/>
                    </a:cubicBezTo>
                    <a:cubicBezTo>
                      <a:pt x="263306" y="8228"/>
                      <a:pt x="255077" y="0"/>
                      <a:pt x="246849" y="0"/>
                    </a:cubicBezTo>
                    <a:lnTo>
                      <a:pt x="16457" y="0"/>
                    </a:lnTo>
                    <a:cubicBezTo>
                      <a:pt x="8228" y="0"/>
                      <a:pt x="0" y="8228"/>
                      <a:pt x="0" y="16456"/>
                    </a:cubicBezTo>
                    <a:cubicBezTo>
                      <a:pt x="2743" y="24685"/>
                      <a:pt x="8228" y="32913"/>
                      <a:pt x="16457" y="32913"/>
                    </a:cubicBezTo>
                    <a:lnTo>
                      <a:pt x="16457" y="32913"/>
                    </a:lnTo>
                    <a:close/>
                  </a:path>
                </a:pathLst>
              </a:custGeom>
              <a:grpFill/>
              <a:ln w="27426" cap="flat">
                <a:noFill/>
                <a:prstDash val="solid"/>
                <a:miter/>
              </a:ln>
            </p:spPr>
            <p:txBody>
              <a:bodyPr rtlCol="0" anchor="ctr"/>
              <a:lstStyle/>
              <a:p>
                <a:pPr algn="l" rtl="0"/>
                <a:endParaRPr lang="en-US"/>
              </a:p>
            </p:txBody>
          </p:sp>
          <p:sp>
            <p:nvSpPr>
              <p:cNvPr id="78" name="Freeform 77">
                <a:extLst>
                  <a:ext uri="{FF2B5EF4-FFF2-40B4-BE49-F238E27FC236}">
                    <a16:creationId xmlns:a16="http://schemas.microsoft.com/office/drawing/2014/main" id="{0F86BC17-BED9-63A9-CE9C-86726E302638}"/>
                  </a:ext>
                </a:extLst>
              </p:cNvPr>
              <p:cNvSpPr/>
              <p:nvPr/>
            </p:nvSpPr>
            <p:spPr>
              <a:xfrm>
                <a:off x="761397" y="2585468"/>
                <a:ext cx="263305" cy="32913"/>
              </a:xfrm>
              <a:custGeom>
                <a:avLst/>
                <a:gdLst>
                  <a:gd name="connsiteX0" fmla="*/ 16457 w 263305"/>
                  <a:gd name="connsiteY0" fmla="*/ 32913 h 32913"/>
                  <a:gd name="connsiteX1" fmla="*/ 246849 w 263305"/>
                  <a:gd name="connsiteY1" fmla="*/ 32913 h 32913"/>
                  <a:gd name="connsiteX2" fmla="*/ 263306 w 263305"/>
                  <a:gd name="connsiteY2" fmla="*/ 16456 h 32913"/>
                  <a:gd name="connsiteX3" fmla="*/ 246849 w 263305"/>
                  <a:gd name="connsiteY3" fmla="*/ 0 h 32913"/>
                  <a:gd name="connsiteX4" fmla="*/ 16457 w 263305"/>
                  <a:gd name="connsiteY4" fmla="*/ 0 h 32913"/>
                  <a:gd name="connsiteX5" fmla="*/ 0 w 263305"/>
                  <a:gd name="connsiteY5" fmla="*/ 16456 h 32913"/>
                  <a:gd name="connsiteX6" fmla="*/ 16457 w 263305"/>
                  <a:gd name="connsiteY6" fmla="*/ 32913 h 32913"/>
                  <a:gd name="connsiteX7" fmla="*/ 16457 w 263305"/>
                  <a:gd name="connsiteY7" fmla="*/ 32913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305" h="32913">
                    <a:moveTo>
                      <a:pt x="16457" y="32913"/>
                    </a:moveTo>
                    <a:lnTo>
                      <a:pt x="246849" y="32913"/>
                    </a:lnTo>
                    <a:cubicBezTo>
                      <a:pt x="255077" y="32913"/>
                      <a:pt x="263306" y="24685"/>
                      <a:pt x="263306" y="16456"/>
                    </a:cubicBezTo>
                    <a:cubicBezTo>
                      <a:pt x="263306" y="8228"/>
                      <a:pt x="255077" y="0"/>
                      <a:pt x="246849" y="0"/>
                    </a:cubicBezTo>
                    <a:lnTo>
                      <a:pt x="16457" y="0"/>
                    </a:lnTo>
                    <a:cubicBezTo>
                      <a:pt x="8228" y="0"/>
                      <a:pt x="0" y="8228"/>
                      <a:pt x="0" y="16456"/>
                    </a:cubicBezTo>
                    <a:cubicBezTo>
                      <a:pt x="2743" y="24685"/>
                      <a:pt x="8228" y="32913"/>
                      <a:pt x="16457" y="32913"/>
                    </a:cubicBezTo>
                    <a:lnTo>
                      <a:pt x="16457" y="32913"/>
                    </a:lnTo>
                    <a:close/>
                  </a:path>
                </a:pathLst>
              </a:custGeom>
              <a:grpFill/>
              <a:ln w="27426" cap="flat">
                <a:noFill/>
                <a:prstDash val="solid"/>
                <a:miter/>
              </a:ln>
            </p:spPr>
            <p:txBody>
              <a:bodyPr rtlCol="0" anchor="ctr"/>
              <a:lstStyle/>
              <a:p>
                <a:pPr algn="l" rtl="0"/>
                <a:endParaRPr lang="en-US"/>
              </a:p>
            </p:txBody>
          </p:sp>
          <p:sp>
            <p:nvSpPr>
              <p:cNvPr id="79" name="Freeform 78">
                <a:extLst>
                  <a:ext uri="{FF2B5EF4-FFF2-40B4-BE49-F238E27FC236}">
                    <a16:creationId xmlns:a16="http://schemas.microsoft.com/office/drawing/2014/main" id="{ED941960-A063-6167-0D35-D92849794851}"/>
                  </a:ext>
                </a:extLst>
              </p:cNvPr>
              <p:cNvSpPr/>
              <p:nvPr/>
            </p:nvSpPr>
            <p:spPr>
              <a:xfrm>
                <a:off x="1394976" y="2316677"/>
                <a:ext cx="263305" cy="32913"/>
              </a:xfrm>
              <a:custGeom>
                <a:avLst/>
                <a:gdLst>
                  <a:gd name="connsiteX0" fmla="*/ 246849 w 263305"/>
                  <a:gd name="connsiteY0" fmla="*/ 0 h 32913"/>
                  <a:gd name="connsiteX1" fmla="*/ 16457 w 263305"/>
                  <a:gd name="connsiteY1" fmla="*/ 0 h 32913"/>
                  <a:gd name="connsiteX2" fmla="*/ 0 w 263305"/>
                  <a:gd name="connsiteY2" fmla="*/ 16457 h 32913"/>
                  <a:gd name="connsiteX3" fmla="*/ 16457 w 263305"/>
                  <a:gd name="connsiteY3" fmla="*/ 32913 h 32913"/>
                  <a:gd name="connsiteX4" fmla="*/ 246849 w 263305"/>
                  <a:gd name="connsiteY4" fmla="*/ 32913 h 32913"/>
                  <a:gd name="connsiteX5" fmla="*/ 263305 w 263305"/>
                  <a:gd name="connsiteY5" fmla="*/ 16457 h 32913"/>
                  <a:gd name="connsiteX6" fmla="*/ 246849 w 263305"/>
                  <a:gd name="connsiteY6" fmla="*/ 0 h 32913"/>
                  <a:gd name="connsiteX7" fmla="*/ 246849 w 263305"/>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305" h="32913">
                    <a:moveTo>
                      <a:pt x="246849" y="0"/>
                    </a:moveTo>
                    <a:lnTo>
                      <a:pt x="16457" y="0"/>
                    </a:lnTo>
                    <a:cubicBezTo>
                      <a:pt x="8228" y="0"/>
                      <a:pt x="0" y="8228"/>
                      <a:pt x="0" y="16457"/>
                    </a:cubicBezTo>
                    <a:cubicBezTo>
                      <a:pt x="0" y="24685"/>
                      <a:pt x="8228" y="32913"/>
                      <a:pt x="16457" y="32913"/>
                    </a:cubicBezTo>
                    <a:lnTo>
                      <a:pt x="246849" y="32913"/>
                    </a:lnTo>
                    <a:cubicBezTo>
                      <a:pt x="255077" y="32913"/>
                      <a:pt x="263305" y="24685"/>
                      <a:pt x="263305" y="16457"/>
                    </a:cubicBezTo>
                    <a:cubicBezTo>
                      <a:pt x="263305" y="8228"/>
                      <a:pt x="255077" y="0"/>
                      <a:pt x="246849" y="0"/>
                    </a:cubicBezTo>
                    <a:lnTo>
                      <a:pt x="246849" y="0"/>
                    </a:lnTo>
                    <a:close/>
                  </a:path>
                </a:pathLst>
              </a:custGeom>
              <a:grpFill/>
              <a:ln w="27426" cap="flat">
                <a:noFill/>
                <a:prstDash val="solid"/>
                <a:miter/>
              </a:ln>
            </p:spPr>
            <p:txBody>
              <a:bodyPr rtlCol="0" anchor="ctr"/>
              <a:lstStyle/>
              <a:p>
                <a:pPr algn="l" rtl="0"/>
                <a:endParaRPr lang="en-US"/>
              </a:p>
            </p:txBody>
          </p:sp>
          <p:grpSp>
            <p:nvGrpSpPr>
              <p:cNvPr id="80" name="Graphic 3">
                <a:extLst>
                  <a:ext uri="{FF2B5EF4-FFF2-40B4-BE49-F238E27FC236}">
                    <a16:creationId xmlns:a16="http://schemas.microsoft.com/office/drawing/2014/main" id="{C2D9429C-4964-F0AB-CAAE-FC068432FA50}"/>
                  </a:ext>
                </a:extLst>
              </p:cNvPr>
              <p:cNvGrpSpPr/>
              <p:nvPr/>
            </p:nvGrpSpPr>
            <p:grpSpPr>
              <a:xfrm>
                <a:off x="662657" y="2010078"/>
                <a:ext cx="1091621" cy="942328"/>
                <a:chOff x="662657" y="2010078"/>
                <a:chExt cx="1091621" cy="942328"/>
              </a:xfrm>
              <a:grpFill/>
            </p:grpSpPr>
            <p:sp>
              <p:nvSpPr>
                <p:cNvPr id="81" name="Freeform 80">
                  <a:extLst>
                    <a:ext uri="{FF2B5EF4-FFF2-40B4-BE49-F238E27FC236}">
                      <a16:creationId xmlns:a16="http://schemas.microsoft.com/office/drawing/2014/main" id="{B17FFF17-AC73-FB01-4672-B249B2EC464F}"/>
                    </a:ext>
                  </a:extLst>
                </p:cNvPr>
                <p:cNvSpPr/>
                <p:nvPr/>
              </p:nvSpPr>
              <p:spPr>
                <a:xfrm>
                  <a:off x="1394976" y="2404445"/>
                  <a:ext cx="263305" cy="32913"/>
                </a:xfrm>
                <a:custGeom>
                  <a:avLst/>
                  <a:gdLst>
                    <a:gd name="connsiteX0" fmla="*/ 246849 w 263305"/>
                    <a:gd name="connsiteY0" fmla="*/ 0 h 32913"/>
                    <a:gd name="connsiteX1" fmla="*/ 16457 w 263305"/>
                    <a:gd name="connsiteY1" fmla="*/ 0 h 32913"/>
                    <a:gd name="connsiteX2" fmla="*/ 0 w 263305"/>
                    <a:gd name="connsiteY2" fmla="*/ 16457 h 32913"/>
                    <a:gd name="connsiteX3" fmla="*/ 16457 w 263305"/>
                    <a:gd name="connsiteY3" fmla="*/ 32913 h 32913"/>
                    <a:gd name="connsiteX4" fmla="*/ 246849 w 263305"/>
                    <a:gd name="connsiteY4" fmla="*/ 32913 h 32913"/>
                    <a:gd name="connsiteX5" fmla="*/ 263305 w 263305"/>
                    <a:gd name="connsiteY5" fmla="*/ 16457 h 32913"/>
                    <a:gd name="connsiteX6" fmla="*/ 246849 w 263305"/>
                    <a:gd name="connsiteY6" fmla="*/ 0 h 32913"/>
                    <a:gd name="connsiteX7" fmla="*/ 246849 w 263305"/>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305" h="32913">
                      <a:moveTo>
                        <a:pt x="246849" y="0"/>
                      </a:moveTo>
                      <a:lnTo>
                        <a:pt x="16457" y="0"/>
                      </a:lnTo>
                      <a:cubicBezTo>
                        <a:pt x="8228" y="0"/>
                        <a:pt x="0" y="8228"/>
                        <a:pt x="0" y="16457"/>
                      </a:cubicBezTo>
                      <a:cubicBezTo>
                        <a:pt x="0" y="24685"/>
                        <a:pt x="8228" y="32913"/>
                        <a:pt x="16457" y="32913"/>
                      </a:cubicBezTo>
                      <a:lnTo>
                        <a:pt x="246849" y="32913"/>
                      </a:lnTo>
                      <a:cubicBezTo>
                        <a:pt x="255077" y="32913"/>
                        <a:pt x="263305" y="24685"/>
                        <a:pt x="263305" y="16457"/>
                      </a:cubicBezTo>
                      <a:cubicBezTo>
                        <a:pt x="263305" y="8228"/>
                        <a:pt x="255077" y="0"/>
                        <a:pt x="246849" y="0"/>
                      </a:cubicBezTo>
                      <a:lnTo>
                        <a:pt x="246849" y="0"/>
                      </a:lnTo>
                      <a:close/>
                    </a:path>
                  </a:pathLst>
                </a:custGeom>
                <a:grpFill/>
                <a:ln w="27426" cap="flat">
                  <a:noFill/>
                  <a:prstDash val="solid"/>
                  <a:miter/>
                </a:ln>
              </p:spPr>
              <p:txBody>
                <a:bodyPr rtlCol="0" anchor="ctr"/>
                <a:lstStyle/>
                <a:p>
                  <a:pPr algn="l" rtl="0"/>
                  <a:endParaRPr lang="en-US"/>
                </a:p>
              </p:txBody>
            </p:sp>
            <p:sp>
              <p:nvSpPr>
                <p:cNvPr id="82" name="Freeform 81">
                  <a:extLst>
                    <a:ext uri="{FF2B5EF4-FFF2-40B4-BE49-F238E27FC236}">
                      <a16:creationId xmlns:a16="http://schemas.microsoft.com/office/drawing/2014/main" id="{1AA42611-BF15-0552-7465-C7CA5BC111EE}"/>
                    </a:ext>
                  </a:extLst>
                </p:cNvPr>
                <p:cNvSpPr/>
                <p:nvPr/>
              </p:nvSpPr>
              <p:spPr>
                <a:xfrm>
                  <a:off x="662657" y="2010078"/>
                  <a:ext cx="1091621" cy="942328"/>
                </a:xfrm>
                <a:custGeom>
                  <a:avLst/>
                  <a:gdLst>
                    <a:gd name="connsiteX0" fmla="*/ 1075165 w 1091621"/>
                    <a:gd name="connsiteY0" fmla="*/ 569904 h 942328"/>
                    <a:gd name="connsiteX1" fmla="*/ 1091621 w 1091621"/>
                    <a:gd name="connsiteY1" fmla="*/ 553447 h 942328"/>
                    <a:gd name="connsiteX2" fmla="*/ 1091621 w 1091621"/>
                    <a:gd name="connsiteY2" fmla="*/ 251743 h 942328"/>
                    <a:gd name="connsiteX3" fmla="*/ 1047737 w 1091621"/>
                    <a:gd name="connsiteY3" fmla="*/ 207859 h 942328"/>
                    <a:gd name="connsiteX4" fmla="*/ 1017567 w 1091621"/>
                    <a:gd name="connsiteY4" fmla="*/ 207859 h 942328"/>
                    <a:gd name="connsiteX5" fmla="*/ 1017567 w 1091621"/>
                    <a:gd name="connsiteY5" fmla="*/ 35065 h 942328"/>
                    <a:gd name="connsiteX6" fmla="*/ 992882 w 1091621"/>
                    <a:gd name="connsiteY6" fmla="*/ 2152 h 942328"/>
                    <a:gd name="connsiteX7" fmla="*/ 951740 w 1091621"/>
                    <a:gd name="connsiteY7" fmla="*/ 13123 h 942328"/>
                    <a:gd name="connsiteX8" fmla="*/ 798145 w 1091621"/>
                    <a:gd name="connsiteY8" fmla="*/ 207859 h 942328"/>
                    <a:gd name="connsiteX9" fmla="*/ 573238 w 1091621"/>
                    <a:gd name="connsiteY9" fmla="*/ 207859 h 942328"/>
                    <a:gd name="connsiteX10" fmla="*/ 545811 w 1091621"/>
                    <a:gd name="connsiteY10" fmla="*/ 218830 h 942328"/>
                    <a:gd name="connsiteX11" fmla="*/ 518383 w 1091621"/>
                    <a:gd name="connsiteY11" fmla="*/ 207859 h 942328"/>
                    <a:gd name="connsiteX12" fmla="*/ 441586 w 1091621"/>
                    <a:gd name="connsiteY12" fmla="*/ 207859 h 942328"/>
                    <a:gd name="connsiteX13" fmla="*/ 430615 w 1091621"/>
                    <a:gd name="connsiteY13" fmla="*/ 196888 h 942328"/>
                    <a:gd name="connsiteX14" fmla="*/ 301704 w 1091621"/>
                    <a:gd name="connsiteY14" fmla="*/ 92663 h 942328"/>
                    <a:gd name="connsiteX15" fmla="*/ 172794 w 1091621"/>
                    <a:gd name="connsiteY15" fmla="*/ 196888 h 942328"/>
                    <a:gd name="connsiteX16" fmla="*/ 161823 w 1091621"/>
                    <a:gd name="connsiteY16" fmla="*/ 207859 h 942328"/>
                    <a:gd name="connsiteX17" fmla="*/ 49370 w 1091621"/>
                    <a:gd name="connsiteY17" fmla="*/ 207859 h 942328"/>
                    <a:gd name="connsiteX18" fmla="*/ 5486 w 1091621"/>
                    <a:gd name="connsiteY18" fmla="*/ 251743 h 942328"/>
                    <a:gd name="connsiteX19" fmla="*/ 5486 w 1091621"/>
                    <a:gd name="connsiteY19" fmla="*/ 320313 h 942328"/>
                    <a:gd name="connsiteX20" fmla="*/ 21942 w 1091621"/>
                    <a:gd name="connsiteY20" fmla="*/ 336769 h 942328"/>
                    <a:gd name="connsiteX21" fmla="*/ 38399 w 1091621"/>
                    <a:gd name="connsiteY21" fmla="*/ 320313 h 942328"/>
                    <a:gd name="connsiteX22" fmla="*/ 38399 w 1091621"/>
                    <a:gd name="connsiteY22" fmla="*/ 251743 h 942328"/>
                    <a:gd name="connsiteX23" fmla="*/ 49370 w 1091621"/>
                    <a:gd name="connsiteY23" fmla="*/ 240773 h 942328"/>
                    <a:gd name="connsiteX24" fmla="*/ 161823 w 1091621"/>
                    <a:gd name="connsiteY24" fmla="*/ 240773 h 942328"/>
                    <a:gd name="connsiteX25" fmla="*/ 205708 w 1091621"/>
                    <a:gd name="connsiteY25" fmla="*/ 205117 h 942328"/>
                    <a:gd name="connsiteX26" fmla="*/ 301704 w 1091621"/>
                    <a:gd name="connsiteY26" fmla="*/ 125576 h 942328"/>
                    <a:gd name="connsiteX27" fmla="*/ 397701 w 1091621"/>
                    <a:gd name="connsiteY27" fmla="*/ 205117 h 942328"/>
                    <a:gd name="connsiteX28" fmla="*/ 441586 w 1091621"/>
                    <a:gd name="connsiteY28" fmla="*/ 240773 h 942328"/>
                    <a:gd name="connsiteX29" fmla="*/ 518383 w 1091621"/>
                    <a:gd name="connsiteY29" fmla="*/ 240773 h 942328"/>
                    <a:gd name="connsiteX30" fmla="*/ 529354 w 1091621"/>
                    <a:gd name="connsiteY30" fmla="*/ 251743 h 942328"/>
                    <a:gd name="connsiteX31" fmla="*/ 529354 w 1091621"/>
                    <a:gd name="connsiteY31" fmla="*/ 328541 h 942328"/>
                    <a:gd name="connsiteX32" fmla="*/ 518383 w 1091621"/>
                    <a:gd name="connsiteY32" fmla="*/ 339512 h 942328"/>
                    <a:gd name="connsiteX33" fmla="*/ 414158 w 1091621"/>
                    <a:gd name="connsiteY33" fmla="*/ 468422 h 942328"/>
                    <a:gd name="connsiteX34" fmla="*/ 518383 w 1091621"/>
                    <a:gd name="connsiteY34" fmla="*/ 597332 h 942328"/>
                    <a:gd name="connsiteX35" fmla="*/ 529354 w 1091621"/>
                    <a:gd name="connsiteY35" fmla="*/ 608303 h 942328"/>
                    <a:gd name="connsiteX36" fmla="*/ 529354 w 1091621"/>
                    <a:gd name="connsiteY36" fmla="*/ 685100 h 942328"/>
                    <a:gd name="connsiteX37" fmla="*/ 518383 w 1091621"/>
                    <a:gd name="connsiteY37" fmla="*/ 696071 h 942328"/>
                    <a:gd name="connsiteX38" fmla="*/ 285248 w 1091621"/>
                    <a:gd name="connsiteY38" fmla="*/ 696071 h 942328"/>
                    <a:gd name="connsiteX39" fmla="*/ 271534 w 1091621"/>
                    <a:gd name="connsiteY39" fmla="*/ 701556 h 942328"/>
                    <a:gd name="connsiteX40" fmla="*/ 112453 w 1091621"/>
                    <a:gd name="connsiteY40" fmla="*/ 901778 h 942328"/>
                    <a:gd name="connsiteX41" fmla="*/ 106968 w 1091621"/>
                    <a:gd name="connsiteY41" fmla="*/ 901778 h 942328"/>
                    <a:gd name="connsiteX42" fmla="*/ 104225 w 1091621"/>
                    <a:gd name="connsiteY42" fmla="*/ 899036 h 942328"/>
                    <a:gd name="connsiteX43" fmla="*/ 104225 w 1091621"/>
                    <a:gd name="connsiteY43" fmla="*/ 718013 h 942328"/>
                    <a:gd name="connsiteX44" fmla="*/ 87769 w 1091621"/>
                    <a:gd name="connsiteY44" fmla="*/ 701556 h 942328"/>
                    <a:gd name="connsiteX45" fmla="*/ 43884 w 1091621"/>
                    <a:gd name="connsiteY45" fmla="*/ 701556 h 942328"/>
                    <a:gd name="connsiteX46" fmla="*/ 32913 w 1091621"/>
                    <a:gd name="connsiteY46" fmla="*/ 690585 h 942328"/>
                    <a:gd name="connsiteX47" fmla="*/ 32913 w 1091621"/>
                    <a:gd name="connsiteY47" fmla="*/ 397110 h 942328"/>
                    <a:gd name="connsiteX48" fmla="*/ 16457 w 1091621"/>
                    <a:gd name="connsiteY48" fmla="*/ 380653 h 942328"/>
                    <a:gd name="connsiteX49" fmla="*/ 0 w 1091621"/>
                    <a:gd name="connsiteY49" fmla="*/ 397110 h 942328"/>
                    <a:gd name="connsiteX50" fmla="*/ 0 w 1091621"/>
                    <a:gd name="connsiteY50" fmla="*/ 690585 h 942328"/>
                    <a:gd name="connsiteX51" fmla="*/ 43884 w 1091621"/>
                    <a:gd name="connsiteY51" fmla="*/ 734470 h 942328"/>
                    <a:gd name="connsiteX52" fmla="*/ 71312 w 1091621"/>
                    <a:gd name="connsiteY52" fmla="*/ 734470 h 942328"/>
                    <a:gd name="connsiteX53" fmla="*/ 71312 w 1091621"/>
                    <a:gd name="connsiteY53" fmla="*/ 907264 h 942328"/>
                    <a:gd name="connsiteX54" fmla="*/ 95997 w 1091621"/>
                    <a:gd name="connsiteY54" fmla="*/ 940177 h 942328"/>
                    <a:gd name="connsiteX55" fmla="*/ 137138 w 1091621"/>
                    <a:gd name="connsiteY55" fmla="*/ 929206 h 942328"/>
                    <a:gd name="connsiteX56" fmla="*/ 290733 w 1091621"/>
                    <a:gd name="connsiteY56" fmla="*/ 734470 h 942328"/>
                    <a:gd name="connsiteX57" fmla="*/ 515640 w 1091621"/>
                    <a:gd name="connsiteY57" fmla="*/ 734470 h 942328"/>
                    <a:gd name="connsiteX58" fmla="*/ 543068 w 1091621"/>
                    <a:gd name="connsiteY58" fmla="*/ 723499 h 942328"/>
                    <a:gd name="connsiteX59" fmla="*/ 570496 w 1091621"/>
                    <a:gd name="connsiteY59" fmla="*/ 734470 h 942328"/>
                    <a:gd name="connsiteX60" fmla="*/ 647293 w 1091621"/>
                    <a:gd name="connsiteY60" fmla="*/ 734470 h 942328"/>
                    <a:gd name="connsiteX61" fmla="*/ 691178 w 1091621"/>
                    <a:gd name="connsiteY61" fmla="*/ 698814 h 942328"/>
                    <a:gd name="connsiteX62" fmla="*/ 787174 w 1091621"/>
                    <a:gd name="connsiteY62" fmla="*/ 619273 h 942328"/>
                    <a:gd name="connsiteX63" fmla="*/ 883171 w 1091621"/>
                    <a:gd name="connsiteY63" fmla="*/ 698814 h 942328"/>
                    <a:gd name="connsiteX64" fmla="*/ 927055 w 1091621"/>
                    <a:gd name="connsiteY64" fmla="*/ 734470 h 942328"/>
                    <a:gd name="connsiteX65" fmla="*/ 1039509 w 1091621"/>
                    <a:gd name="connsiteY65" fmla="*/ 734470 h 942328"/>
                    <a:gd name="connsiteX66" fmla="*/ 1083393 w 1091621"/>
                    <a:gd name="connsiteY66" fmla="*/ 690585 h 942328"/>
                    <a:gd name="connsiteX67" fmla="*/ 1083393 w 1091621"/>
                    <a:gd name="connsiteY67" fmla="*/ 630245 h 942328"/>
                    <a:gd name="connsiteX68" fmla="*/ 1066937 w 1091621"/>
                    <a:gd name="connsiteY68" fmla="*/ 613788 h 942328"/>
                    <a:gd name="connsiteX69" fmla="*/ 1050480 w 1091621"/>
                    <a:gd name="connsiteY69" fmla="*/ 630245 h 942328"/>
                    <a:gd name="connsiteX70" fmla="*/ 1050480 w 1091621"/>
                    <a:gd name="connsiteY70" fmla="*/ 690585 h 942328"/>
                    <a:gd name="connsiteX71" fmla="*/ 1039509 w 1091621"/>
                    <a:gd name="connsiteY71" fmla="*/ 701556 h 942328"/>
                    <a:gd name="connsiteX72" fmla="*/ 927055 w 1091621"/>
                    <a:gd name="connsiteY72" fmla="*/ 701556 h 942328"/>
                    <a:gd name="connsiteX73" fmla="*/ 916084 w 1091621"/>
                    <a:gd name="connsiteY73" fmla="*/ 690585 h 942328"/>
                    <a:gd name="connsiteX74" fmla="*/ 787174 w 1091621"/>
                    <a:gd name="connsiteY74" fmla="*/ 586360 h 942328"/>
                    <a:gd name="connsiteX75" fmla="*/ 658264 w 1091621"/>
                    <a:gd name="connsiteY75" fmla="*/ 690585 h 942328"/>
                    <a:gd name="connsiteX76" fmla="*/ 647293 w 1091621"/>
                    <a:gd name="connsiteY76" fmla="*/ 701556 h 942328"/>
                    <a:gd name="connsiteX77" fmla="*/ 570496 w 1091621"/>
                    <a:gd name="connsiteY77" fmla="*/ 701556 h 942328"/>
                    <a:gd name="connsiteX78" fmla="*/ 559525 w 1091621"/>
                    <a:gd name="connsiteY78" fmla="*/ 690585 h 942328"/>
                    <a:gd name="connsiteX79" fmla="*/ 559525 w 1091621"/>
                    <a:gd name="connsiteY79" fmla="*/ 613788 h 942328"/>
                    <a:gd name="connsiteX80" fmla="*/ 523869 w 1091621"/>
                    <a:gd name="connsiteY80" fmla="*/ 569904 h 942328"/>
                    <a:gd name="connsiteX81" fmla="*/ 444328 w 1091621"/>
                    <a:gd name="connsiteY81" fmla="*/ 473907 h 942328"/>
                    <a:gd name="connsiteX82" fmla="*/ 523869 w 1091621"/>
                    <a:gd name="connsiteY82" fmla="*/ 377911 h 942328"/>
                    <a:gd name="connsiteX83" fmla="*/ 559525 w 1091621"/>
                    <a:gd name="connsiteY83" fmla="*/ 334026 h 942328"/>
                    <a:gd name="connsiteX84" fmla="*/ 559525 w 1091621"/>
                    <a:gd name="connsiteY84" fmla="*/ 257229 h 942328"/>
                    <a:gd name="connsiteX85" fmla="*/ 570496 w 1091621"/>
                    <a:gd name="connsiteY85" fmla="*/ 246258 h 942328"/>
                    <a:gd name="connsiteX86" fmla="*/ 803631 w 1091621"/>
                    <a:gd name="connsiteY86" fmla="*/ 246258 h 942328"/>
                    <a:gd name="connsiteX87" fmla="*/ 817345 w 1091621"/>
                    <a:gd name="connsiteY87" fmla="*/ 240773 h 942328"/>
                    <a:gd name="connsiteX88" fmla="*/ 976425 w 1091621"/>
                    <a:gd name="connsiteY88" fmla="*/ 37808 h 942328"/>
                    <a:gd name="connsiteX89" fmla="*/ 981911 w 1091621"/>
                    <a:gd name="connsiteY89" fmla="*/ 37808 h 942328"/>
                    <a:gd name="connsiteX90" fmla="*/ 984654 w 1091621"/>
                    <a:gd name="connsiteY90" fmla="*/ 40551 h 942328"/>
                    <a:gd name="connsiteX91" fmla="*/ 984654 w 1091621"/>
                    <a:gd name="connsiteY91" fmla="*/ 229801 h 942328"/>
                    <a:gd name="connsiteX92" fmla="*/ 1001110 w 1091621"/>
                    <a:gd name="connsiteY92" fmla="*/ 246258 h 942328"/>
                    <a:gd name="connsiteX93" fmla="*/ 1044994 w 1091621"/>
                    <a:gd name="connsiteY93" fmla="*/ 246258 h 942328"/>
                    <a:gd name="connsiteX94" fmla="*/ 1055966 w 1091621"/>
                    <a:gd name="connsiteY94" fmla="*/ 257229 h 942328"/>
                    <a:gd name="connsiteX95" fmla="*/ 1055966 w 1091621"/>
                    <a:gd name="connsiteY95" fmla="*/ 558933 h 942328"/>
                    <a:gd name="connsiteX96" fmla="*/ 1075165 w 1091621"/>
                    <a:gd name="connsiteY96" fmla="*/ 569904 h 942328"/>
                    <a:gd name="connsiteX97" fmla="*/ 1075165 w 1091621"/>
                    <a:gd name="connsiteY97" fmla="*/ 569904 h 942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091621" h="942328">
                      <a:moveTo>
                        <a:pt x="1075165" y="569904"/>
                      </a:moveTo>
                      <a:cubicBezTo>
                        <a:pt x="1083393" y="569904"/>
                        <a:pt x="1091621" y="561676"/>
                        <a:pt x="1091621" y="553447"/>
                      </a:cubicBezTo>
                      <a:lnTo>
                        <a:pt x="1091621" y="251743"/>
                      </a:lnTo>
                      <a:cubicBezTo>
                        <a:pt x="1091621" y="227059"/>
                        <a:pt x="1072422" y="207859"/>
                        <a:pt x="1047737" y="207859"/>
                      </a:cubicBezTo>
                      <a:lnTo>
                        <a:pt x="1017567" y="207859"/>
                      </a:lnTo>
                      <a:lnTo>
                        <a:pt x="1017567" y="35065"/>
                      </a:lnTo>
                      <a:cubicBezTo>
                        <a:pt x="1017567" y="18609"/>
                        <a:pt x="1009338" y="4895"/>
                        <a:pt x="992882" y="2152"/>
                      </a:cubicBezTo>
                      <a:cubicBezTo>
                        <a:pt x="979168" y="-3333"/>
                        <a:pt x="962711" y="2152"/>
                        <a:pt x="951740" y="13123"/>
                      </a:cubicBezTo>
                      <a:lnTo>
                        <a:pt x="798145" y="207859"/>
                      </a:lnTo>
                      <a:lnTo>
                        <a:pt x="573238" y="207859"/>
                      </a:lnTo>
                      <a:cubicBezTo>
                        <a:pt x="562267" y="207859"/>
                        <a:pt x="554039" y="210602"/>
                        <a:pt x="545811" y="218830"/>
                      </a:cubicBezTo>
                      <a:cubicBezTo>
                        <a:pt x="537582" y="213345"/>
                        <a:pt x="529354" y="207859"/>
                        <a:pt x="518383" y="207859"/>
                      </a:cubicBezTo>
                      <a:lnTo>
                        <a:pt x="441586" y="207859"/>
                      </a:lnTo>
                      <a:cubicBezTo>
                        <a:pt x="436100" y="207859"/>
                        <a:pt x="430615" y="202374"/>
                        <a:pt x="430615" y="196888"/>
                      </a:cubicBezTo>
                      <a:cubicBezTo>
                        <a:pt x="419644" y="136548"/>
                        <a:pt x="364788" y="92663"/>
                        <a:pt x="301704" y="92663"/>
                      </a:cubicBezTo>
                      <a:cubicBezTo>
                        <a:pt x="238621" y="92663"/>
                        <a:pt x="186508" y="136548"/>
                        <a:pt x="172794" y="196888"/>
                      </a:cubicBezTo>
                      <a:cubicBezTo>
                        <a:pt x="172794" y="202374"/>
                        <a:pt x="167309" y="207859"/>
                        <a:pt x="161823" y="207859"/>
                      </a:cubicBezTo>
                      <a:lnTo>
                        <a:pt x="49370" y="207859"/>
                      </a:lnTo>
                      <a:cubicBezTo>
                        <a:pt x="24685" y="207859"/>
                        <a:pt x="5486" y="227059"/>
                        <a:pt x="5486" y="251743"/>
                      </a:cubicBezTo>
                      <a:lnTo>
                        <a:pt x="5486" y="320313"/>
                      </a:lnTo>
                      <a:cubicBezTo>
                        <a:pt x="5486" y="328541"/>
                        <a:pt x="13714" y="336769"/>
                        <a:pt x="21942" y="336769"/>
                      </a:cubicBezTo>
                      <a:cubicBezTo>
                        <a:pt x="30170" y="336769"/>
                        <a:pt x="38399" y="328541"/>
                        <a:pt x="38399" y="320313"/>
                      </a:cubicBezTo>
                      <a:lnTo>
                        <a:pt x="38399" y="251743"/>
                      </a:lnTo>
                      <a:cubicBezTo>
                        <a:pt x="38399" y="246258"/>
                        <a:pt x="43884" y="240773"/>
                        <a:pt x="49370" y="240773"/>
                      </a:cubicBezTo>
                      <a:lnTo>
                        <a:pt x="161823" y="240773"/>
                      </a:lnTo>
                      <a:cubicBezTo>
                        <a:pt x="183766" y="240773"/>
                        <a:pt x="200222" y="227059"/>
                        <a:pt x="205708" y="205117"/>
                      </a:cubicBezTo>
                      <a:cubicBezTo>
                        <a:pt x="213936" y="158490"/>
                        <a:pt x="255077" y="125576"/>
                        <a:pt x="301704" y="125576"/>
                      </a:cubicBezTo>
                      <a:cubicBezTo>
                        <a:pt x="348332" y="125576"/>
                        <a:pt x="389473" y="158490"/>
                        <a:pt x="397701" y="205117"/>
                      </a:cubicBezTo>
                      <a:cubicBezTo>
                        <a:pt x="403187" y="227059"/>
                        <a:pt x="419644" y="240773"/>
                        <a:pt x="441586" y="240773"/>
                      </a:cubicBezTo>
                      <a:lnTo>
                        <a:pt x="518383" y="240773"/>
                      </a:lnTo>
                      <a:cubicBezTo>
                        <a:pt x="523869" y="240773"/>
                        <a:pt x="529354" y="246258"/>
                        <a:pt x="529354" y="251743"/>
                      </a:cubicBezTo>
                      <a:lnTo>
                        <a:pt x="529354" y="328541"/>
                      </a:lnTo>
                      <a:cubicBezTo>
                        <a:pt x="529354" y="334026"/>
                        <a:pt x="523869" y="339512"/>
                        <a:pt x="518383" y="339512"/>
                      </a:cubicBezTo>
                      <a:cubicBezTo>
                        <a:pt x="458042" y="353226"/>
                        <a:pt x="414158" y="405338"/>
                        <a:pt x="414158" y="468422"/>
                      </a:cubicBezTo>
                      <a:cubicBezTo>
                        <a:pt x="414158" y="531505"/>
                        <a:pt x="458042" y="583618"/>
                        <a:pt x="518383" y="597332"/>
                      </a:cubicBezTo>
                      <a:cubicBezTo>
                        <a:pt x="523869" y="597332"/>
                        <a:pt x="529354" y="602817"/>
                        <a:pt x="529354" y="608303"/>
                      </a:cubicBezTo>
                      <a:lnTo>
                        <a:pt x="529354" y="685100"/>
                      </a:lnTo>
                      <a:cubicBezTo>
                        <a:pt x="529354" y="690585"/>
                        <a:pt x="523869" y="696071"/>
                        <a:pt x="518383" y="696071"/>
                      </a:cubicBezTo>
                      <a:lnTo>
                        <a:pt x="285248" y="696071"/>
                      </a:lnTo>
                      <a:cubicBezTo>
                        <a:pt x="279762" y="696071"/>
                        <a:pt x="277019" y="698814"/>
                        <a:pt x="271534" y="701556"/>
                      </a:cubicBezTo>
                      <a:lnTo>
                        <a:pt x="112453" y="901778"/>
                      </a:lnTo>
                      <a:cubicBezTo>
                        <a:pt x="112453" y="904521"/>
                        <a:pt x="109711" y="904521"/>
                        <a:pt x="106968" y="901778"/>
                      </a:cubicBezTo>
                      <a:cubicBezTo>
                        <a:pt x="104225" y="901778"/>
                        <a:pt x="104225" y="899036"/>
                        <a:pt x="104225" y="899036"/>
                      </a:cubicBezTo>
                      <a:lnTo>
                        <a:pt x="104225" y="718013"/>
                      </a:lnTo>
                      <a:cubicBezTo>
                        <a:pt x="104225" y="709785"/>
                        <a:pt x="95997" y="701556"/>
                        <a:pt x="87769" y="701556"/>
                      </a:cubicBezTo>
                      <a:lnTo>
                        <a:pt x="43884" y="701556"/>
                      </a:lnTo>
                      <a:cubicBezTo>
                        <a:pt x="38399" y="701556"/>
                        <a:pt x="32913" y="696071"/>
                        <a:pt x="32913" y="690585"/>
                      </a:cubicBezTo>
                      <a:lnTo>
                        <a:pt x="32913" y="397110"/>
                      </a:lnTo>
                      <a:cubicBezTo>
                        <a:pt x="32913" y="388882"/>
                        <a:pt x="24685" y="380653"/>
                        <a:pt x="16457" y="380653"/>
                      </a:cubicBezTo>
                      <a:cubicBezTo>
                        <a:pt x="8228" y="380653"/>
                        <a:pt x="0" y="388882"/>
                        <a:pt x="0" y="397110"/>
                      </a:cubicBezTo>
                      <a:lnTo>
                        <a:pt x="0" y="690585"/>
                      </a:lnTo>
                      <a:cubicBezTo>
                        <a:pt x="0" y="715270"/>
                        <a:pt x="19199" y="734470"/>
                        <a:pt x="43884" y="734470"/>
                      </a:cubicBezTo>
                      <a:lnTo>
                        <a:pt x="71312" y="734470"/>
                      </a:lnTo>
                      <a:lnTo>
                        <a:pt x="71312" y="907264"/>
                      </a:lnTo>
                      <a:cubicBezTo>
                        <a:pt x="71312" y="923720"/>
                        <a:pt x="79540" y="937434"/>
                        <a:pt x="95997" y="940177"/>
                      </a:cubicBezTo>
                      <a:cubicBezTo>
                        <a:pt x="109711" y="945662"/>
                        <a:pt x="126167" y="940177"/>
                        <a:pt x="137138" y="929206"/>
                      </a:cubicBezTo>
                      <a:lnTo>
                        <a:pt x="290733" y="734470"/>
                      </a:lnTo>
                      <a:lnTo>
                        <a:pt x="515640" y="734470"/>
                      </a:lnTo>
                      <a:cubicBezTo>
                        <a:pt x="526611" y="734470"/>
                        <a:pt x="534840" y="731727"/>
                        <a:pt x="543068" y="723499"/>
                      </a:cubicBezTo>
                      <a:cubicBezTo>
                        <a:pt x="551296" y="728984"/>
                        <a:pt x="559525" y="734470"/>
                        <a:pt x="570496" y="734470"/>
                      </a:cubicBezTo>
                      <a:lnTo>
                        <a:pt x="647293" y="734470"/>
                      </a:lnTo>
                      <a:cubicBezTo>
                        <a:pt x="669235" y="734470"/>
                        <a:pt x="685692" y="720756"/>
                        <a:pt x="691178" y="698814"/>
                      </a:cubicBezTo>
                      <a:cubicBezTo>
                        <a:pt x="699406" y="652187"/>
                        <a:pt x="740547" y="619273"/>
                        <a:pt x="787174" y="619273"/>
                      </a:cubicBezTo>
                      <a:cubicBezTo>
                        <a:pt x="833801" y="619273"/>
                        <a:pt x="874943" y="652187"/>
                        <a:pt x="883171" y="698814"/>
                      </a:cubicBezTo>
                      <a:cubicBezTo>
                        <a:pt x="888657" y="720756"/>
                        <a:pt x="905113" y="734470"/>
                        <a:pt x="927055" y="734470"/>
                      </a:cubicBezTo>
                      <a:lnTo>
                        <a:pt x="1039509" y="734470"/>
                      </a:lnTo>
                      <a:cubicBezTo>
                        <a:pt x="1064194" y="734470"/>
                        <a:pt x="1083393" y="715270"/>
                        <a:pt x="1083393" y="690585"/>
                      </a:cubicBezTo>
                      <a:lnTo>
                        <a:pt x="1083393" y="630245"/>
                      </a:lnTo>
                      <a:cubicBezTo>
                        <a:pt x="1083393" y="622016"/>
                        <a:pt x="1075165" y="613788"/>
                        <a:pt x="1066937" y="613788"/>
                      </a:cubicBezTo>
                      <a:cubicBezTo>
                        <a:pt x="1058708" y="613788"/>
                        <a:pt x="1050480" y="622016"/>
                        <a:pt x="1050480" y="630245"/>
                      </a:cubicBezTo>
                      <a:lnTo>
                        <a:pt x="1050480" y="690585"/>
                      </a:lnTo>
                      <a:cubicBezTo>
                        <a:pt x="1050480" y="696071"/>
                        <a:pt x="1044994" y="701556"/>
                        <a:pt x="1039509" y="701556"/>
                      </a:cubicBezTo>
                      <a:lnTo>
                        <a:pt x="927055" y="701556"/>
                      </a:lnTo>
                      <a:cubicBezTo>
                        <a:pt x="921570" y="701556"/>
                        <a:pt x="916084" y="696071"/>
                        <a:pt x="916084" y="690585"/>
                      </a:cubicBezTo>
                      <a:cubicBezTo>
                        <a:pt x="905113" y="630245"/>
                        <a:pt x="850258" y="586360"/>
                        <a:pt x="787174" y="586360"/>
                      </a:cubicBezTo>
                      <a:cubicBezTo>
                        <a:pt x="724091" y="586360"/>
                        <a:pt x="671978" y="630245"/>
                        <a:pt x="658264" y="690585"/>
                      </a:cubicBezTo>
                      <a:cubicBezTo>
                        <a:pt x="658264" y="696071"/>
                        <a:pt x="652779" y="701556"/>
                        <a:pt x="647293" y="701556"/>
                      </a:cubicBezTo>
                      <a:lnTo>
                        <a:pt x="570496" y="701556"/>
                      </a:lnTo>
                      <a:cubicBezTo>
                        <a:pt x="565010" y="701556"/>
                        <a:pt x="559525" y="696071"/>
                        <a:pt x="559525" y="690585"/>
                      </a:cubicBezTo>
                      <a:lnTo>
                        <a:pt x="559525" y="613788"/>
                      </a:lnTo>
                      <a:cubicBezTo>
                        <a:pt x="559525" y="591846"/>
                        <a:pt x="545811" y="575390"/>
                        <a:pt x="523869" y="569904"/>
                      </a:cubicBezTo>
                      <a:cubicBezTo>
                        <a:pt x="477242" y="561676"/>
                        <a:pt x="444328" y="520534"/>
                        <a:pt x="444328" y="473907"/>
                      </a:cubicBezTo>
                      <a:cubicBezTo>
                        <a:pt x="444328" y="427280"/>
                        <a:pt x="477242" y="386139"/>
                        <a:pt x="523869" y="377911"/>
                      </a:cubicBezTo>
                      <a:cubicBezTo>
                        <a:pt x="545811" y="372425"/>
                        <a:pt x="559525" y="355969"/>
                        <a:pt x="559525" y="334026"/>
                      </a:cubicBezTo>
                      <a:lnTo>
                        <a:pt x="559525" y="257229"/>
                      </a:lnTo>
                      <a:cubicBezTo>
                        <a:pt x="559525" y="251743"/>
                        <a:pt x="565010" y="246258"/>
                        <a:pt x="570496" y="246258"/>
                      </a:cubicBezTo>
                      <a:lnTo>
                        <a:pt x="803631" y="246258"/>
                      </a:lnTo>
                      <a:cubicBezTo>
                        <a:pt x="809116" y="246258"/>
                        <a:pt x="811859" y="243515"/>
                        <a:pt x="817345" y="240773"/>
                      </a:cubicBezTo>
                      <a:lnTo>
                        <a:pt x="976425" y="37808"/>
                      </a:lnTo>
                      <a:cubicBezTo>
                        <a:pt x="976425" y="35065"/>
                        <a:pt x="979168" y="35065"/>
                        <a:pt x="981911" y="37808"/>
                      </a:cubicBezTo>
                      <a:cubicBezTo>
                        <a:pt x="984654" y="40551"/>
                        <a:pt x="984654" y="40551"/>
                        <a:pt x="984654" y="40551"/>
                      </a:cubicBezTo>
                      <a:lnTo>
                        <a:pt x="984654" y="229801"/>
                      </a:lnTo>
                      <a:cubicBezTo>
                        <a:pt x="984654" y="238030"/>
                        <a:pt x="992882" y="246258"/>
                        <a:pt x="1001110" y="246258"/>
                      </a:cubicBezTo>
                      <a:lnTo>
                        <a:pt x="1044994" y="246258"/>
                      </a:lnTo>
                      <a:cubicBezTo>
                        <a:pt x="1050480" y="246258"/>
                        <a:pt x="1055966" y="251743"/>
                        <a:pt x="1055966" y="257229"/>
                      </a:cubicBezTo>
                      <a:lnTo>
                        <a:pt x="1055966" y="558933"/>
                      </a:lnTo>
                      <a:cubicBezTo>
                        <a:pt x="1058708" y="561676"/>
                        <a:pt x="1066937" y="569904"/>
                        <a:pt x="1075165" y="569904"/>
                      </a:cubicBezTo>
                      <a:lnTo>
                        <a:pt x="1075165" y="569904"/>
                      </a:lnTo>
                      <a:close/>
                    </a:path>
                  </a:pathLst>
                </a:custGeom>
                <a:grpFill/>
                <a:ln w="27426" cap="flat">
                  <a:noFill/>
                  <a:prstDash val="solid"/>
                  <a:miter/>
                </a:ln>
              </p:spPr>
              <p:txBody>
                <a:bodyPr rtlCol="0" anchor="ctr"/>
                <a:lstStyle/>
                <a:p>
                  <a:pPr algn="l" rtl="0"/>
                  <a:endParaRPr lang="en-US"/>
                </a:p>
              </p:txBody>
            </p:sp>
          </p:grpSp>
        </p:grpSp>
        <p:sp>
          <p:nvSpPr>
            <p:cNvPr id="83" name="Google Shape;264;p9">
              <a:extLst>
                <a:ext uri="{FF2B5EF4-FFF2-40B4-BE49-F238E27FC236}">
                  <a16:creationId xmlns:a16="http://schemas.microsoft.com/office/drawing/2014/main" id="{FADBD0DB-8F85-D2F6-4BA0-77F804E2D242}"/>
                </a:ext>
              </a:extLst>
            </p:cNvPr>
            <p:cNvSpPr txBox="1"/>
            <p:nvPr/>
          </p:nvSpPr>
          <p:spPr>
            <a:xfrm>
              <a:off x="8657180" y="4266897"/>
              <a:ext cx="3003994" cy="922092"/>
            </a:xfrm>
            <a:prstGeom prst="rect">
              <a:avLst/>
            </a:prstGeom>
            <a:noFill/>
            <a:ln>
              <a:noFill/>
            </a:ln>
          </p:spPr>
          <p:txBody>
            <a:bodyPr spcFirstLastPara="1" wrap="square" lIns="91425" tIns="45700" rIns="91425" bIns="45700" anchor="t" anchorCtr="0">
              <a:noAutofit/>
            </a:bodyPr>
            <a:lstStyle/>
            <a:p>
              <a:pPr lvl="0" algn="l" rtl="0">
                <a:lnSpc>
                  <a:spcPts val="2020"/>
                </a:lnSpc>
                <a:buClr>
                  <a:srgbClr val="000000"/>
                </a:buClr>
                <a:buSzPts val="3600"/>
              </a:pPr>
              <a:r>
                <a:rPr lang="en-US" sz="2100" b="1" dirty="0">
                  <a:solidFill>
                    <a:srgbClr val="7F1C58"/>
                  </a:solidFill>
                  <a:latin typeface="Calibri" panose="020F0502020204030204" pitchFamily="34" charset="0"/>
                  <a:ea typeface="Lato"/>
                  <a:cs typeface="Calibri" panose="020F0502020204030204" pitchFamily="34" charset="0"/>
                  <a:sym typeface="Lato"/>
                </a:rPr>
                <a:t>Escriba un plan para responder a esas amenazas.</a:t>
              </a:r>
            </a:p>
          </p:txBody>
        </p:sp>
        <p:sp>
          <p:nvSpPr>
            <p:cNvPr id="84" name="Google Shape;264;p9">
              <a:extLst>
                <a:ext uri="{FF2B5EF4-FFF2-40B4-BE49-F238E27FC236}">
                  <a16:creationId xmlns:a16="http://schemas.microsoft.com/office/drawing/2014/main" id="{C8DE79D2-F516-A40E-7EA0-58BC7561CB82}"/>
                </a:ext>
              </a:extLst>
            </p:cNvPr>
            <p:cNvSpPr txBox="1"/>
            <p:nvPr/>
          </p:nvSpPr>
          <p:spPr>
            <a:xfrm>
              <a:off x="7887285" y="5775228"/>
              <a:ext cx="2658262" cy="922092"/>
            </a:xfrm>
            <a:prstGeom prst="rect">
              <a:avLst/>
            </a:prstGeom>
            <a:noFill/>
            <a:ln>
              <a:noFill/>
            </a:ln>
          </p:spPr>
          <p:txBody>
            <a:bodyPr spcFirstLastPara="1" wrap="square" lIns="91425" tIns="45700" rIns="91425" bIns="45700" anchor="t" anchorCtr="0">
              <a:noAutofit/>
            </a:bodyPr>
            <a:lstStyle/>
            <a:p>
              <a:pPr lvl="0" algn="l" rtl="0">
                <a:lnSpc>
                  <a:spcPts val="2020"/>
                </a:lnSpc>
                <a:buClr>
                  <a:srgbClr val="000000"/>
                </a:buClr>
                <a:buSzPts val="3600"/>
              </a:pPr>
              <a:r>
                <a:rPr lang="en-US" sz="2100" b="1" dirty="0">
                  <a:solidFill>
                    <a:srgbClr val="F16924"/>
                  </a:solidFill>
                  <a:latin typeface="Calibri" panose="020F0502020204030204" pitchFamily="34" charset="0"/>
                  <a:ea typeface="Lato"/>
                  <a:cs typeface="Calibri" panose="020F0502020204030204" pitchFamily="34" charset="0"/>
                  <a:sym typeface="Lato"/>
                </a:rPr>
                <a:t>Crear una plataforma de mensajes</a:t>
              </a:r>
            </a:p>
          </p:txBody>
        </p:sp>
        <p:sp>
          <p:nvSpPr>
            <p:cNvPr id="85" name="Google Shape;264;p9">
              <a:extLst>
                <a:ext uri="{FF2B5EF4-FFF2-40B4-BE49-F238E27FC236}">
                  <a16:creationId xmlns:a16="http://schemas.microsoft.com/office/drawing/2014/main" id="{27AEE748-75C0-901F-425B-5830B9BF63AF}"/>
                </a:ext>
              </a:extLst>
            </p:cNvPr>
            <p:cNvSpPr txBox="1"/>
            <p:nvPr/>
          </p:nvSpPr>
          <p:spPr>
            <a:xfrm>
              <a:off x="1602930" y="5775228"/>
              <a:ext cx="2433775" cy="922092"/>
            </a:xfrm>
            <a:prstGeom prst="rect">
              <a:avLst/>
            </a:prstGeom>
            <a:noFill/>
            <a:ln>
              <a:noFill/>
            </a:ln>
          </p:spPr>
          <p:txBody>
            <a:bodyPr spcFirstLastPara="1" wrap="square" lIns="91425" tIns="45700" rIns="91425" bIns="45700" anchor="t" anchorCtr="0">
              <a:noAutofit/>
            </a:bodyPr>
            <a:lstStyle/>
            <a:p>
              <a:pPr lvl="0" algn="l" rtl="0">
                <a:lnSpc>
                  <a:spcPts val="2020"/>
                </a:lnSpc>
                <a:buClr>
                  <a:srgbClr val="000000"/>
                </a:buClr>
                <a:buSzPts val="3600"/>
              </a:pPr>
              <a:r>
                <a:rPr lang="en-US" sz="2100" b="1" dirty="0">
                  <a:solidFill>
                    <a:srgbClr val="EDA13E"/>
                  </a:solidFill>
                  <a:latin typeface="Calibri" panose="020F0502020204030204" pitchFamily="34" charset="0"/>
                  <a:ea typeface="Lato"/>
                  <a:cs typeface="Calibri" panose="020F0502020204030204" pitchFamily="34" charset="0"/>
                  <a:sym typeface="Lato"/>
                </a:rPr>
                <a:t>Capacitar al personal para usar el plan.</a:t>
              </a:r>
            </a:p>
          </p:txBody>
        </p:sp>
        <p:sp>
          <p:nvSpPr>
            <p:cNvPr id="86" name="Google Shape;264;p9">
              <a:extLst>
                <a:ext uri="{FF2B5EF4-FFF2-40B4-BE49-F238E27FC236}">
                  <a16:creationId xmlns:a16="http://schemas.microsoft.com/office/drawing/2014/main" id="{1F070E18-FEE6-2D94-96D8-4E43FB0BD697}"/>
                </a:ext>
              </a:extLst>
            </p:cNvPr>
            <p:cNvSpPr txBox="1"/>
            <p:nvPr/>
          </p:nvSpPr>
          <p:spPr>
            <a:xfrm>
              <a:off x="700047" y="4266897"/>
              <a:ext cx="2422801" cy="922092"/>
            </a:xfrm>
            <a:prstGeom prst="rect">
              <a:avLst/>
            </a:prstGeom>
            <a:noFill/>
            <a:ln>
              <a:noFill/>
            </a:ln>
          </p:spPr>
          <p:txBody>
            <a:bodyPr spcFirstLastPara="1" wrap="square" lIns="91425" tIns="45700" rIns="91425" bIns="45700" anchor="t" anchorCtr="0">
              <a:noAutofit/>
            </a:bodyPr>
            <a:lstStyle/>
            <a:p>
              <a:pPr lvl="0" algn="l" rtl="0">
                <a:lnSpc>
                  <a:spcPts val="2020"/>
                </a:lnSpc>
                <a:buClr>
                  <a:srgbClr val="000000"/>
                </a:buClr>
                <a:buSzPts val="3600"/>
              </a:pPr>
              <a:r>
                <a:rPr lang="en-US" sz="2100" b="1" dirty="0">
                  <a:solidFill>
                    <a:srgbClr val="B41F7A"/>
                  </a:solidFill>
                  <a:latin typeface="Calibri" panose="020F0502020204030204" pitchFamily="34" charset="0"/>
                  <a:ea typeface="Lato"/>
                  <a:cs typeface="Calibri" panose="020F0502020204030204" pitchFamily="34" charset="0"/>
                  <a:sym typeface="Lato"/>
                </a:rPr>
                <a:t>Entrene a su(s) portavoz(es)</a:t>
              </a:r>
            </a:p>
          </p:txBody>
        </p:sp>
        <p:sp>
          <p:nvSpPr>
            <p:cNvPr id="87" name="Google Shape;264;p9">
              <a:extLst>
                <a:ext uri="{FF2B5EF4-FFF2-40B4-BE49-F238E27FC236}">
                  <a16:creationId xmlns:a16="http://schemas.microsoft.com/office/drawing/2014/main" id="{3FA7633E-7056-E36C-DE5A-EF1FE0723DA5}"/>
                </a:ext>
              </a:extLst>
            </p:cNvPr>
            <p:cNvSpPr txBox="1"/>
            <p:nvPr/>
          </p:nvSpPr>
          <p:spPr>
            <a:xfrm>
              <a:off x="700047" y="2796450"/>
              <a:ext cx="3215327" cy="922092"/>
            </a:xfrm>
            <a:prstGeom prst="rect">
              <a:avLst/>
            </a:prstGeom>
            <a:noFill/>
            <a:ln>
              <a:noFill/>
            </a:ln>
          </p:spPr>
          <p:txBody>
            <a:bodyPr spcFirstLastPara="1" wrap="square" lIns="91425" tIns="45700" rIns="91425" bIns="45700" anchor="t" anchorCtr="0">
              <a:noAutofit/>
            </a:bodyPr>
            <a:lstStyle/>
            <a:p>
              <a:pPr lvl="0" algn="l" rtl="0">
                <a:lnSpc>
                  <a:spcPts val="2020"/>
                </a:lnSpc>
                <a:buClr>
                  <a:srgbClr val="000000"/>
                </a:buClr>
                <a:buSzPts val="3600"/>
              </a:pPr>
              <a:r>
                <a:rPr lang="en-US" sz="2100" b="1" dirty="0">
                  <a:solidFill>
                    <a:srgbClr val="F16924"/>
                  </a:solidFill>
                  <a:latin typeface="Calibri" panose="020F0502020204030204" pitchFamily="34" charset="0"/>
                  <a:ea typeface="Lato"/>
                  <a:cs typeface="Calibri" panose="020F0502020204030204" pitchFamily="34" charset="0"/>
                  <a:sym typeface="Lato"/>
                </a:rPr>
                <a:t>Ejercitar/actualizar el plan (regularmente)</a:t>
              </a:r>
            </a:p>
          </p:txBody>
        </p:sp>
        <p:grpSp>
          <p:nvGrpSpPr>
            <p:cNvPr id="88" name="Graphic 3">
              <a:extLst>
                <a:ext uri="{FF2B5EF4-FFF2-40B4-BE49-F238E27FC236}">
                  <a16:creationId xmlns:a16="http://schemas.microsoft.com/office/drawing/2014/main" id="{C8CD2D9B-EE5D-8601-61A3-ACE7CC1A8DA0}"/>
                </a:ext>
              </a:extLst>
            </p:cNvPr>
            <p:cNvGrpSpPr/>
            <p:nvPr/>
          </p:nvGrpSpPr>
          <p:grpSpPr>
            <a:xfrm>
              <a:off x="4584925" y="4117497"/>
              <a:ext cx="765356" cy="558517"/>
              <a:chOff x="8408232" y="3880051"/>
              <a:chExt cx="1097482" cy="800886"/>
            </a:xfrm>
            <a:solidFill>
              <a:schemeClr val="bg1"/>
            </a:solidFill>
          </p:grpSpPr>
          <p:sp>
            <p:nvSpPr>
              <p:cNvPr id="89" name="Freeform 88">
                <a:extLst>
                  <a:ext uri="{FF2B5EF4-FFF2-40B4-BE49-F238E27FC236}">
                    <a16:creationId xmlns:a16="http://schemas.microsoft.com/office/drawing/2014/main" id="{FB231189-71AF-3DB7-61C5-1F75A2CCCBB2}"/>
                  </a:ext>
                </a:extLst>
              </p:cNvPr>
              <p:cNvSpPr/>
              <p:nvPr/>
            </p:nvSpPr>
            <p:spPr>
              <a:xfrm>
                <a:off x="8493258" y="4565742"/>
                <a:ext cx="32912" cy="115195"/>
              </a:xfrm>
              <a:custGeom>
                <a:avLst/>
                <a:gdLst>
                  <a:gd name="connsiteX0" fmla="*/ 16457 w 32912"/>
                  <a:gd name="connsiteY0" fmla="*/ 0 h 115195"/>
                  <a:gd name="connsiteX1" fmla="*/ 0 w 32912"/>
                  <a:gd name="connsiteY1" fmla="*/ 16457 h 115195"/>
                  <a:gd name="connsiteX2" fmla="*/ 0 w 32912"/>
                  <a:gd name="connsiteY2" fmla="*/ 98740 h 115195"/>
                  <a:gd name="connsiteX3" fmla="*/ 16457 w 32912"/>
                  <a:gd name="connsiteY3" fmla="*/ 115196 h 115195"/>
                  <a:gd name="connsiteX4" fmla="*/ 32913 w 32912"/>
                  <a:gd name="connsiteY4" fmla="*/ 98740 h 115195"/>
                  <a:gd name="connsiteX5" fmla="*/ 32913 w 32912"/>
                  <a:gd name="connsiteY5" fmla="*/ 16457 h 115195"/>
                  <a:gd name="connsiteX6" fmla="*/ 16457 w 32912"/>
                  <a:gd name="connsiteY6" fmla="*/ 0 h 11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12" h="115195">
                    <a:moveTo>
                      <a:pt x="16457" y="0"/>
                    </a:moveTo>
                    <a:cubicBezTo>
                      <a:pt x="8228" y="0"/>
                      <a:pt x="0" y="8228"/>
                      <a:pt x="0" y="16457"/>
                    </a:cubicBezTo>
                    <a:lnTo>
                      <a:pt x="0" y="98740"/>
                    </a:lnTo>
                    <a:cubicBezTo>
                      <a:pt x="0" y="106968"/>
                      <a:pt x="8228" y="115196"/>
                      <a:pt x="16457" y="115196"/>
                    </a:cubicBezTo>
                    <a:cubicBezTo>
                      <a:pt x="24685" y="115196"/>
                      <a:pt x="32913" y="106968"/>
                      <a:pt x="32913" y="98740"/>
                    </a:cubicBezTo>
                    <a:lnTo>
                      <a:pt x="32913" y="16457"/>
                    </a:lnTo>
                    <a:cubicBezTo>
                      <a:pt x="30171" y="8228"/>
                      <a:pt x="24685" y="0"/>
                      <a:pt x="16457" y="0"/>
                    </a:cubicBezTo>
                    <a:close/>
                  </a:path>
                </a:pathLst>
              </a:custGeom>
              <a:grpFill/>
              <a:ln w="27426" cap="flat">
                <a:noFill/>
                <a:prstDash val="solid"/>
                <a:miter/>
              </a:ln>
            </p:spPr>
            <p:txBody>
              <a:bodyPr rtlCol="0" anchor="ctr"/>
              <a:lstStyle/>
              <a:p>
                <a:pPr algn="l" rtl="0"/>
                <a:endParaRPr lang="en-US"/>
              </a:p>
            </p:txBody>
          </p:sp>
          <p:grpSp>
            <p:nvGrpSpPr>
              <p:cNvPr id="90" name="Graphic 3">
                <a:extLst>
                  <a:ext uri="{FF2B5EF4-FFF2-40B4-BE49-F238E27FC236}">
                    <a16:creationId xmlns:a16="http://schemas.microsoft.com/office/drawing/2014/main" id="{DA85568D-FE0D-413A-D665-757267078159}"/>
                  </a:ext>
                </a:extLst>
              </p:cNvPr>
              <p:cNvGrpSpPr/>
              <p:nvPr/>
            </p:nvGrpSpPr>
            <p:grpSpPr>
              <a:xfrm>
                <a:off x="8408232" y="3880051"/>
                <a:ext cx="1097482" cy="800886"/>
                <a:chOff x="8408232" y="3880051"/>
                <a:chExt cx="1097482" cy="800886"/>
              </a:xfrm>
              <a:grpFill/>
            </p:grpSpPr>
            <p:sp>
              <p:nvSpPr>
                <p:cNvPr id="91" name="Freeform 90">
                  <a:extLst>
                    <a:ext uri="{FF2B5EF4-FFF2-40B4-BE49-F238E27FC236}">
                      <a16:creationId xmlns:a16="http://schemas.microsoft.com/office/drawing/2014/main" id="{18676404-6AD1-8047-905F-A9E35508B5CD}"/>
                    </a:ext>
                  </a:extLst>
                </p:cNvPr>
                <p:cNvSpPr/>
                <p:nvPr/>
              </p:nvSpPr>
              <p:spPr>
                <a:xfrm>
                  <a:off x="8408232" y="3880051"/>
                  <a:ext cx="1097482" cy="800886"/>
                </a:xfrm>
                <a:custGeom>
                  <a:avLst/>
                  <a:gdLst>
                    <a:gd name="connsiteX0" fmla="*/ 1055965 w 1097482"/>
                    <a:gd name="connsiteY0" fmla="*/ 586951 h 800886"/>
                    <a:gd name="connsiteX1" fmla="*/ 990139 w 1097482"/>
                    <a:gd name="connsiteY1" fmla="*/ 567752 h 800886"/>
                    <a:gd name="connsiteX2" fmla="*/ 984653 w 1097482"/>
                    <a:gd name="connsiteY2" fmla="*/ 562266 h 800886"/>
                    <a:gd name="connsiteX3" fmla="*/ 984653 w 1097482"/>
                    <a:gd name="connsiteY3" fmla="*/ 540324 h 800886"/>
                    <a:gd name="connsiteX4" fmla="*/ 1001110 w 1097482"/>
                    <a:gd name="connsiteY4" fmla="*/ 526610 h 800886"/>
                    <a:gd name="connsiteX5" fmla="*/ 1036766 w 1097482"/>
                    <a:gd name="connsiteY5" fmla="*/ 441585 h 800886"/>
                    <a:gd name="connsiteX6" fmla="*/ 1036766 w 1097482"/>
                    <a:gd name="connsiteY6" fmla="*/ 411414 h 800886"/>
                    <a:gd name="connsiteX7" fmla="*/ 1042252 w 1097482"/>
                    <a:gd name="connsiteY7" fmla="*/ 397701 h 800886"/>
                    <a:gd name="connsiteX8" fmla="*/ 1053223 w 1097482"/>
                    <a:gd name="connsiteY8" fmla="*/ 353816 h 800886"/>
                    <a:gd name="connsiteX9" fmla="*/ 1053223 w 1097482"/>
                    <a:gd name="connsiteY9" fmla="*/ 271533 h 800886"/>
                    <a:gd name="connsiteX10" fmla="*/ 1036766 w 1097482"/>
                    <a:gd name="connsiteY10" fmla="*/ 255077 h 800886"/>
                    <a:gd name="connsiteX11" fmla="*/ 883171 w 1097482"/>
                    <a:gd name="connsiteY11" fmla="*/ 255077 h 800886"/>
                    <a:gd name="connsiteX12" fmla="*/ 781689 w 1097482"/>
                    <a:gd name="connsiteY12" fmla="*/ 356559 h 800886"/>
                    <a:gd name="connsiteX13" fmla="*/ 781689 w 1097482"/>
                    <a:gd name="connsiteY13" fmla="*/ 356559 h 800886"/>
                    <a:gd name="connsiteX14" fmla="*/ 789917 w 1097482"/>
                    <a:gd name="connsiteY14" fmla="*/ 394958 h 800886"/>
                    <a:gd name="connsiteX15" fmla="*/ 798145 w 1097482"/>
                    <a:gd name="connsiteY15" fmla="*/ 411414 h 800886"/>
                    <a:gd name="connsiteX16" fmla="*/ 798145 w 1097482"/>
                    <a:gd name="connsiteY16" fmla="*/ 436099 h 800886"/>
                    <a:gd name="connsiteX17" fmla="*/ 850258 w 1097482"/>
                    <a:gd name="connsiteY17" fmla="*/ 537582 h 800886"/>
                    <a:gd name="connsiteX18" fmla="*/ 850258 w 1097482"/>
                    <a:gd name="connsiteY18" fmla="*/ 559523 h 800886"/>
                    <a:gd name="connsiteX19" fmla="*/ 836544 w 1097482"/>
                    <a:gd name="connsiteY19" fmla="*/ 567752 h 800886"/>
                    <a:gd name="connsiteX20" fmla="*/ 803631 w 1097482"/>
                    <a:gd name="connsiteY20" fmla="*/ 575980 h 800886"/>
                    <a:gd name="connsiteX21" fmla="*/ 710377 w 1097482"/>
                    <a:gd name="connsiteY21" fmla="*/ 543067 h 800886"/>
                    <a:gd name="connsiteX22" fmla="*/ 704892 w 1097482"/>
                    <a:gd name="connsiteY22" fmla="*/ 532096 h 800886"/>
                    <a:gd name="connsiteX23" fmla="*/ 674721 w 1097482"/>
                    <a:gd name="connsiteY23" fmla="*/ 501926 h 800886"/>
                    <a:gd name="connsiteX24" fmla="*/ 674721 w 1097482"/>
                    <a:gd name="connsiteY24" fmla="*/ 449813 h 800886"/>
                    <a:gd name="connsiteX25" fmla="*/ 682949 w 1097482"/>
                    <a:gd name="connsiteY25" fmla="*/ 441585 h 800886"/>
                    <a:gd name="connsiteX26" fmla="*/ 740547 w 1097482"/>
                    <a:gd name="connsiteY26" fmla="*/ 304447 h 800886"/>
                    <a:gd name="connsiteX27" fmla="*/ 740547 w 1097482"/>
                    <a:gd name="connsiteY27" fmla="*/ 263305 h 800886"/>
                    <a:gd name="connsiteX28" fmla="*/ 757004 w 1097482"/>
                    <a:gd name="connsiteY28" fmla="*/ 186508 h 800886"/>
                    <a:gd name="connsiteX29" fmla="*/ 757004 w 1097482"/>
                    <a:gd name="connsiteY29" fmla="*/ 16457 h 800886"/>
                    <a:gd name="connsiteX30" fmla="*/ 740547 w 1097482"/>
                    <a:gd name="connsiteY30" fmla="*/ 0 h 800886"/>
                    <a:gd name="connsiteX31" fmla="*/ 501926 w 1097482"/>
                    <a:gd name="connsiteY31" fmla="*/ 0 h 800886"/>
                    <a:gd name="connsiteX32" fmla="*/ 348332 w 1097482"/>
                    <a:gd name="connsiteY32" fmla="*/ 153595 h 800886"/>
                    <a:gd name="connsiteX33" fmla="*/ 348332 w 1097482"/>
                    <a:gd name="connsiteY33" fmla="*/ 186508 h 800886"/>
                    <a:gd name="connsiteX34" fmla="*/ 364788 w 1097482"/>
                    <a:gd name="connsiteY34" fmla="*/ 263305 h 800886"/>
                    <a:gd name="connsiteX35" fmla="*/ 364788 w 1097482"/>
                    <a:gd name="connsiteY35" fmla="*/ 298961 h 800886"/>
                    <a:gd name="connsiteX36" fmla="*/ 433357 w 1097482"/>
                    <a:gd name="connsiteY36" fmla="*/ 447070 h 800886"/>
                    <a:gd name="connsiteX37" fmla="*/ 433357 w 1097482"/>
                    <a:gd name="connsiteY37" fmla="*/ 501926 h 800886"/>
                    <a:gd name="connsiteX38" fmla="*/ 403187 w 1097482"/>
                    <a:gd name="connsiteY38" fmla="*/ 532096 h 800886"/>
                    <a:gd name="connsiteX39" fmla="*/ 397701 w 1097482"/>
                    <a:gd name="connsiteY39" fmla="*/ 543067 h 800886"/>
                    <a:gd name="connsiteX40" fmla="*/ 298961 w 1097482"/>
                    <a:gd name="connsiteY40" fmla="*/ 578723 h 800886"/>
                    <a:gd name="connsiteX41" fmla="*/ 279763 w 1097482"/>
                    <a:gd name="connsiteY41" fmla="*/ 589694 h 800886"/>
                    <a:gd name="connsiteX42" fmla="*/ 263306 w 1097482"/>
                    <a:gd name="connsiteY42" fmla="*/ 581466 h 800886"/>
                    <a:gd name="connsiteX43" fmla="*/ 323646 w 1097482"/>
                    <a:gd name="connsiteY43" fmla="*/ 532096 h 800886"/>
                    <a:gd name="connsiteX44" fmla="*/ 323646 w 1097482"/>
                    <a:gd name="connsiteY44" fmla="*/ 518382 h 800886"/>
                    <a:gd name="connsiteX45" fmla="*/ 309932 w 1097482"/>
                    <a:gd name="connsiteY45" fmla="*/ 419643 h 800886"/>
                    <a:gd name="connsiteX46" fmla="*/ 307190 w 1097482"/>
                    <a:gd name="connsiteY46" fmla="*/ 389472 h 800886"/>
                    <a:gd name="connsiteX47" fmla="*/ 172794 w 1097482"/>
                    <a:gd name="connsiteY47" fmla="*/ 255077 h 800886"/>
                    <a:gd name="connsiteX48" fmla="*/ 38399 w 1097482"/>
                    <a:gd name="connsiteY48" fmla="*/ 389472 h 800886"/>
                    <a:gd name="connsiteX49" fmla="*/ 35656 w 1097482"/>
                    <a:gd name="connsiteY49" fmla="*/ 419643 h 800886"/>
                    <a:gd name="connsiteX50" fmla="*/ 21942 w 1097482"/>
                    <a:gd name="connsiteY50" fmla="*/ 518382 h 800886"/>
                    <a:gd name="connsiteX51" fmla="*/ 21942 w 1097482"/>
                    <a:gd name="connsiteY51" fmla="*/ 532096 h 800886"/>
                    <a:gd name="connsiteX52" fmla="*/ 82283 w 1097482"/>
                    <a:gd name="connsiteY52" fmla="*/ 581466 h 800886"/>
                    <a:gd name="connsiteX53" fmla="*/ 38399 w 1097482"/>
                    <a:gd name="connsiteY53" fmla="*/ 603408 h 800886"/>
                    <a:gd name="connsiteX54" fmla="*/ 0 w 1097482"/>
                    <a:gd name="connsiteY54" fmla="*/ 663748 h 800886"/>
                    <a:gd name="connsiteX55" fmla="*/ 0 w 1097482"/>
                    <a:gd name="connsiteY55" fmla="*/ 781687 h 800886"/>
                    <a:gd name="connsiteX56" fmla="*/ 16457 w 1097482"/>
                    <a:gd name="connsiteY56" fmla="*/ 798144 h 800886"/>
                    <a:gd name="connsiteX57" fmla="*/ 32914 w 1097482"/>
                    <a:gd name="connsiteY57" fmla="*/ 781687 h 800886"/>
                    <a:gd name="connsiteX58" fmla="*/ 32914 w 1097482"/>
                    <a:gd name="connsiteY58" fmla="*/ 663748 h 800886"/>
                    <a:gd name="connsiteX59" fmla="*/ 52112 w 1097482"/>
                    <a:gd name="connsiteY59" fmla="*/ 633578 h 800886"/>
                    <a:gd name="connsiteX60" fmla="*/ 104225 w 1097482"/>
                    <a:gd name="connsiteY60" fmla="*/ 606151 h 800886"/>
                    <a:gd name="connsiteX61" fmla="*/ 123425 w 1097482"/>
                    <a:gd name="connsiteY61" fmla="*/ 622607 h 800886"/>
                    <a:gd name="connsiteX62" fmla="*/ 170052 w 1097482"/>
                    <a:gd name="connsiteY62" fmla="*/ 641806 h 800886"/>
                    <a:gd name="connsiteX63" fmla="*/ 216678 w 1097482"/>
                    <a:gd name="connsiteY63" fmla="*/ 622607 h 800886"/>
                    <a:gd name="connsiteX64" fmla="*/ 235878 w 1097482"/>
                    <a:gd name="connsiteY64" fmla="*/ 606151 h 800886"/>
                    <a:gd name="connsiteX65" fmla="*/ 252335 w 1097482"/>
                    <a:gd name="connsiteY65" fmla="*/ 614379 h 800886"/>
                    <a:gd name="connsiteX66" fmla="*/ 238621 w 1097482"/>
                    <a:gd name="connsiteY66" fmla="*/ 658263 h 800886"/>
                    <a:gd name="connsiteX67" fmla="*/ 238621 w 1097482"/>
                    <a:gd name="connsiteY67" fmla="*/ 781687 h 800886"/>
                    <a:gd name="connsiteX68" fmla="*/ 255077 w 1097482"/>
                    <a:gd name="connsiteY68" fmla="*/ 798144 h 800886"/>
                    <a:gd name="connsiteX69" fmla="*/ 271534 w 1097482"/>
                    <a:gd name="connsiteY69" fmla="*/ 781687 h 800886"/>
                    <a:gd name="connsiteX70" fmla="*/ 271534 w 1097482"/>
                    <a:gd name="connsiteY70" fmla="*/ 658263 h 800886"/>
                    <a:gd name="connsiteX71" fmla="*/ 307190 w 1097482"/>
                    <a:gd name="connsiteY71" fmla="*/ 608893 h 800886"/>
                    <a:gd name="connsiteX72" fmla="*/ 411415 w 1097482"/>
                    <a:gd name="connsiteY72" fmla="*/ 570495 h 800886"/>
                    <a:gd name="connsiteX73" fmla="*/ 455300 w 1097482"/>
                    <a:gd name="connsiteY73" fmla="*/ 636321 h 800886"/>
                    <a:gd name="connsiteX74" fmla="*/ 479984 w 1097482"/>
                    <a:gd name="connsiteY74" fmla="*/ 650035 h 800886"/>
                    <a:gd name="connsiteX75" fmla="*/ 482727 w 1097482"/>
                    <a:gd name="connsiteY75" fmla="*/ 650035 h 800886"/>
                    <a:gd name="connsiteX76" fmla="*/ 504669 w 1097482"/>
                    <a:gd name="connsiteY76" fmla="*/ 639064 h 800886"/>
                    <a:gd name="connsiteX77" fmla="*/ 532097 w 1097482"/>
                    <a:gd name="connsiteY77" fmla="*/ 611636 h 800886"/>
                    <a:gd name="connsiteX78" fmla="*/ 532097 w 1097482"/>
                    <a:gd name="connsiteY78" fmla="*/ 778944 h 800886"/>
                    <a:gd name="connsiteX79" fmla="*/ 548553 w 1097482"/>
                    <a:gd name="connsiteY79" fmla="*/ 795401 h 800886"/>
                    <a:gd name="connsiteX80" fmla="*/ 565010 w 1097482"/>
                    <a:gd name="connsiteY80" fmla="*/ 778944 h 800886"/>
                    <a:gd name="connsiteX81" fmla="*/ 565010 w 1097482"/>
                    <a:gd name="connsiteY81" fmla="*/ 611636 h 800886"/>
                    <a:gd name="connsiteX82" fmla="*/ 592438 w 1097482"/>
                    <a:gd name="connsiteY82" fmla="*/ 639064 h 800886"/>
                    <a:gd name="connsiteX83" fmla="*/ 614380 w 1097482"/>
                    <a:gd name="connsiteY83" fmla="*/ 650035 h 800886"/>
                    <a:gd name="connsiteX84" fmla="*/ 617123 w 1097482"/>
                    <a:gd name="connsiteY84" fmla="*/ 650035 h 800886"/>
                    <a:gd name="connsiteX85" fmla="*/ 641807 w 1097482"/>
                    <a:gd name="connsiteY85" fmla="*/ 636321 h 800886"/>
                    <a:gd name="connsiteX86" fmla="*/ 685692 w 1097482"/>
                    <a:gd name="connsiteY86" fmla="*/ 570495 h 800886"/>
                    <a:gd name="connsiteX87" fmla="*/ 789917 w 1097482"/>
                    <a:gd name="connsiteY87" fmla="*/ 608893 h 800886"/>
                    <a:gd name="connsiteX88" fmla="*/ 825573 w 1097482"/>
                    <a:gd name="connsiteY88" fmla="*/ 658263 h 800886"/>
                    <a:gd name="connsiteX89" fmla="*/ 825573 w 1097482"/>
                    <a:gd name="connsiteY89" fmla="*/ 781687 h 800886"/>
                    <a:gd name="connsiteX90" fmla="*/ 842030 w 1097482"/>
                    <a:gd name="connsiteY90" fmla="*/ 798144 h 800886"/>
                    <a:gd name="connsiteX91" fmla="*/ 858486 w 1097482"/>
                    <a:gd name="connsiteY91" fmla="*/ 781687 h 800886"/>
                    <a:gd name="connsiteX92" fmla="*/ 858486 w 1097482"/>
                    <a:gd name="connsiteY92" fmla="*/ 658263 h 800886"/>
                    <a:gd name="connsiteX93" fmla="*/ 833801 w 1097482"/>
                    <a:gd name="connsiteY93" fmla="*/ 600665 h 800886"/>
                    <a:gd name="connsiteX94" fmla="*/ 836544 w 1097482"/>
                    <a:gd name="connsiteY94" fmla="*/ 600665 h 800886"/>
                    <a:gd name="connsiteX95" fmla="*/ 850258 w 1097482"/>
                    <a:gd name="connsiteY95" fmla="*/ 595179 h 800886"/>
                    <a:gd name="connsiteX96" fmla="*/ 891399 w 1097482"/>
                    <a:gd name="connsiteY96" fmla="*/ 636321 h 800886"/>
                    <a:gd name="connsiteX97" fmla="*/ 891399 w 1097482"/>
                    <a:gd name="connsiteY97" fmla="*/ 784430 h 800886"/>
                    <a:gd name="connsiteX98" fmla="*/ 907856 w 1097482"/>
                    <a:gd name="connsiteY98" fmla="*/ 800887 h 800886"/>
                    <a:gd name="connsiteX99" fmla="*/ 924313 w 1097482"/>
                    <a:gd name="connsiteY99" fmla="*/ 784430 h 800886"/>
                    <a:gd name="connsiteX100" fmla="*/ 924313 w 1097482"/>
                    <a:gd name="connsiteY100" fmla="*/ 636321 h 800886"/>
                    <a:gd name="connsiteX101" fmla="*/ 965454 w 1097482"/>
                    <a:gd name="connsiteY101" fmla="*/ 595179 h 800886"/>
                    <a:gd name="connsiteX102" fmla="*/ 970940 w 1097482"/>
                    <a:gd name="connsiteY102" fmla="*/ 597922 h 800886"/>
                    <a:gd name="connsiteX103" fmla="*/ 1036766 w 1097482"/>
                    <a:gd name="connsiteY103" fmla="*/ 617122 h 800886"/>
                    <a:gd name="connsiteX104" fmla="*/ 1061451 w 1097482"/>
                    <a:gd name="connsiteY104" fmla="*/ 650035 h 800886"/>
                    <a:gd name="connsiteX105" fmla="*/ 1061451 w 1097482"/>
                    <a:gd name="connsiteY105" fmla="*/ 781687 h 800886"/>
                    <a:gd name="connsiteX106" fmla="*/ 1077907 w 1097482"/>
                    <a:gd name="connsiteY106" fmla="*/ 798144 h 800886"/>
                    <a:gd name="connsiteX107" fmla="*/ 1094364 w 1097482"/>
                    <a:gd name="connsiteY107" fmla="*/ 781687 h 800886"/>
                    <a:gd name="connsiteX108" fmla="*/ 1094364 w 1097482"/>
                    <a:gd name="connsiteY108" fmla="*/ 650035 h 800886"/>
                    <a:gd name="connsiteX109" fmla="*/ 1055965 w 1097482"/>
                    <a:gd name="connsiteY109" fmla="*/ 586951 h 800886"/>
                    <a:gd name="connsiteX110" fmla="*/ 117939 w 1097482"/>
                    <a:gd name="connsiteY110" fmla="*/ 559523 h 800886"/>
                    <a:gd name="connsiteX111" fmla="*/ 65826 w 1097482"/>
                    <a:gd name="connsiteY111" fmla="*/ 526610 h 800886"/>
                    <a:gd name="connsiteX112" fmla="*/ 74055 w 1097482"/>
                    <a:gd name="connsiteY112" fmla="*/ 488212 h 800886"/>
                    <a:gd name="connsiteX113" fmla="*/ 115197 w 1097482"/>
                    <a:gd name="connsiteY113" fmla="*/ 540324 h 800886"/>
                    <a:gd name="connsiteX114" fmla="*/ 115197 w 1097482"/>
                    <a:gd name="connsiteY114" fmla="*/ 559523 h 800886"/>
                    <a:gd name="connsiteX115" fmla="*/ 211193 w 1097482"/>
                    <a:gd name="connsiteY115" fmla="*/ 603408 h 800886"/>
                    <a:gd name="connsiteX116" fmla="*/ 161823 w 1097482"/>
                    <a:gd name="connsiteY116" fmla="*/ 603408 h 800886"/>
                    <a:gd name="connsiteX117" fmla="*/ 148109 w 1097482"/>
                    <a:gd name="connsiteY117" fmla="*/ 589694 h 800886"/>
                    <a:gd name="connsiteX118" fmla="*/ 150852 w 1097482"/>
                    <a:gd name="connsiteY118" fmla="*/ 573237 h 800886"/>
                    <a:gd name="connsiteX119" fmla="*/ 150852 w 1097482"/>
                    <a:gd name="connsiteY119" fmla="*/ 556781 h 800886"/>
                    <a:gd name="connsiteX120" fmla="*/ 186508 w 1097482"/>
                    <a:gd name="connsiteY120" fmla="*/ 562266 h 800886"/>
                    <a:gd name="connsiteX121" fmla="*/ 222164 w 1097482"/>
                    <a:gd name="connsiteY121" fmla="*/ 556781 h 800886"/>
                    <a:gd name="connsiteX122" fmla="*/ 222164 w 1097482"/>
                    <a:gd name="connsiteY122" fmla="*/ 573237 h 800886"/>
                    <a:gd name="connsiteX123" fmla="*/ 224907 w 1097482"/>
                    <a:gd name="connsiteY123" fmla="*/ 589694 h 800886"/>
                    <a:gd name="connsiteX124" fmla="*/ 211193 w 1097482"/>
                    <a:gd name="connsiteY124" fmla="*/ 603408 h 800886"/>
                    <a:gd name="connsiteX125" fmla="*/ 186508 w 1097482"/>
                    <a:gd name="connsiteY125" fmla="*/ 529353 h 800886"/>
                    <a:gd name="connsiteX126" fmla="*/ 101483 w 1097482"/>
                    <a:gd name="connsiteY126" fmla="*/ 444327 h 800886"/>
                    <a:gd name="connsiteX127" fmla="*/ 85026 w 1097482"/>
                    <a:gd name="connsiteY127" fmla="*/ 427871 h 800886"/>
                    <a:gd name="connsiteX128" fmla="*/ 82283 w 1097482"/>
                    <a:gd name="connsiteY128" fmla="*/ 427871 h 800886"/>
                    <a:gd name="connsiteX129" fmla="*/ 82283 w 1097482"/>
                    <a:gd name="connsiteY129" fmla="*/ 425128 h 800886"/>
                    <a:gd name="connsiteX130" fmla="*/ 82283 w 1097482"/>
                    <a:gd name="connsiteY130" fmla="*/ 394958 h 800886"/>
                    <a:gd name="connsiteX131" fmla="*/ 115197 w 1097482"/>
                    <a:gd name="connsiteY131" fmla="*/ 320903 h 800886"/>
                    <a:gd name="connsiteX132" fmla="*/ 186508 w 1097482"/>
                    <a:gd name="connsiteY132" fmla="*/ 290733 h 800886"/>
                    <a:gd name="connsiteX133" fmla="*/ 257820 w 1097482"/>
                    <a:gd name="connsiteY133" fmla="*/ 320903 h 800886"/>
                    <a:gd name="connsiteX134" fmla="*/ 290734 w 1097482"/>
                    <a:gd name="connsiteY134" fmla="*/ 394958 h 800886"/>
                    <a:gd name="connsiteX135" fmla="*/ 290734 w 1097482"/>
                    <a:gd name="connsiteY135" fmla="*/ 425128 h 800886"/>
                    <a:gd name="connsiteX136" fmla="*/ 290734 w 1097482"/>
                    <a:gd name="connsiteY136" fmla="*/ 427871 h 800886"/>
                    <a:gd name="connsiteX137" fmla="*/ 211193 w 1097482"/>
                    <a:gd name="connsiteY137" fmla="*/ 370273 h 800886"/>
                    <a:gd name="connsiteX138" fmla="*/ 150852 w 1097482"/>
                    <a:gd name="connsiteY138" fmla="*/ 359302 h 800886"/>
                    <a:gd name="connsiteX139" fmla="*/ 139881 w 1097482"/>
                    <a:gd name="connsiteY139" fmla="*/ 364787 h 800886"/>
                    <a:gd name="connsiteX140" fmla="*/ 112454 w 1097482"/>
                    <a:gd name="connsiteY140" fmla="*/ 394958 h 800886"/>
                    <a:gd name="connsiteX141" fmla="*/ 112454 w 1097482"/>
                    <a:gd name="connsiteY141" fmla="*/ 416900 h 800886"/>
                    <a:gd name="connsiteX142" fmla="*/ 134395 w 1097482"/>
                    <a:gd name="connsiteY142" fmla="*/ 416900 h 800886"/>
                    <a:gd name="connsiteX143" fmla="*/ 159080 w 1097482"/>
                    <a:gd name="connsiteY143" fmla="*/ 392215 h 800886"/>
                    <a:gd name="connsiteX144" fmla="*/ 271534 w 1097482"/>
                    <a:gd name="connsiteY144" fmla="*/ 458041 h 800886"/>
                    <a:gd name="connsiteX145" fmla="*/ 186508 w 1097482"/>
                    <a:gd name="connsiteY145" fmla="*/ 529353 h 800886"/>
                    <a:gd name="connsiteX146" fmla="*/ 252335 w 1097482"/>
                    <a:gd name="connsiteY146" fmla="*/ 559523 h 800886"/>
                    <a:gd name="connsiteX147" fmla="*/ 252335 w 1097482"/>
                    <a:gd name="connsiteY147" fmla="*/ 540324 h 800886"/>
                    <a:gd name="connsiteX148" fmla="*/ 293476 w 1097482"/>
                    <a:gd name="connsiteY148" fmla="*/ 488212 h 800886"/>
                    <a:gd name="connsiteX149" fmla="*/ 301704 w 1097482"/>
                    <a:gd name="connsiteY149" fmla="*/ 526610 h 800886"/>
                    <a:gd name="connsiteX150" fmla="*/ 252335 w 1097482"/>
                    <a:gd name="connsiteY150" fmla="*/ 559523 h 800886"/>
                    <a:gd name="connsiteX151" fmla="*/ 405929 w 1097482"/>
                    <a:gd name="connsiteY151" fmla="*/ 298961 h 800886"/>
                    <a:gd name="connsiteX152" fmla="*/ 405929 w 1097482"/>
                    <a:gd name="connsiteY152" fmla="*/ 260562 h 800886"/>
                    <a:gd name="connsiteX153" fmla="*/ 403187 w 1097482"/>
                    <a:gd name="connsiteY153" fmla="*/ 252334 h 800886"/>
                    <a:gd name="connsiteX154" fmla="*/ 386730 w 1097482"/>
                    <a:gd name="connsiteY154" fmla="*/ 186508 h 800886"/>
                    <a:gd name="connsiteX155" fmla="*/ 386730 w 1097482"/>
                    <a:gd name="connsiteY155" fmla="*/ 153595 h 800886"/>
                    <a:gd name="connsiteX156" fmla="*/ 507412 w 1097482"/>
                    <a:gd name="connsiteY156" fmla="*/ 32913 h 800886"/>
                    <a:gd name="connsiteX157" fmla="*/ 729576 w 1097482"/>
                    <a:gd name="connsiteY157" fmla="*/ 32913 h 800886"/>
                    <a:gd name="connsiteX158" fmla="*/ 729576 w 1097482"/>
                    <a:gd name="connsiteY158" fmla="*/ 186508 h 800886"/>
                    <a:gd name="connsiteX159" fmla="*/ 713120 w 1097482"/>
                    <a:gd name="connsiteY159" fmla="*/ 252334 h 800886"/>
                    <a:gd name="connsiteX160" fmla="*/ 710377 w 1097482"/>
                    <a:gd name="connsiteY160" fmla="*/ 260562 h 800886"/>
                    <a:gd name="connsiteX161" fmla="*/ 710377 w 1097482"/>
                    <a:gd name="connsiteY161" fmla="*/ 307189 h 800886"/>
                    <a:gd name="connsiteX162" fmla="*/ 661007 w 1097482"/>
                    <a:gd name="connsiteY162" fmla="*/ 419643 h 800886"/>
                    <a:gd name="connsiteX163" fmla="*/ 650036 w 1097482"/>
                    <a:gd name="connsiteY163" fmla="*/ 430614 h 800886"/>
                    <a:gd name="connsiteX164" fmla="*/ 650036 w 1097482"/>
                    <a:gd name="connsiteY164" fmla="*/ 430614 h 800886"/>
                    <a:gd name="connsiteX165" fmla="*/ 545811 w 1097482"/>
                    <a:gd name="connsiteY165" fmla="*/ 460784 h 800886"/>
                    <a:gd name="connsiteX166" fmla="*/ 405929 w 1097482"/>
                    <a:gd name="connsiteY166" fmla="*/ 298961 h 800886"/>
                    <a:gd name="connsiteX167" fmla="*/ 496441 w 1097482"/>
                    <a:gd name="connsiteY167" fmla="*/ 619864 h 800886"/>
                    <a:gd name="connsiteX168" fmla="*/ 496441 w 1097482"/>
                    <a:gd name="connsiteY168" fmla="*/ 619864 h 800886"/>
                    <a:gd name="connsiteX169" fmla="*/ 496441 w 1097482"/>
                    <a:gd name="connsiteY169" fmla="*/ 619864 h 800886"/>
                    <a:gd name="connsiteX170" fmla="*/ 444329 w 1097482"/>
                    <a:gd name="connsiteY170" fmla="*/ 545810 h 800886"/>
                    <a:gd name="connsiteX171" fmla="*/ 460785 w 1097482"/>
                    <a:gd name="connsiteY171" fmla="*/ 529353 h 800886"/>
                    <a:gd name="connsiteX172" fmla="*/ 534840 w 1097482"/>
                    <a:gd name="connsiteY172" fmla="*/ 581466 h 800886"/>
                    <a:gd name="connsiteX173" fmla="*/ 496441 w 1097482"/>
                    <a:gd name="connsiteY173" fmla="*/ 619864 h 800886"/>
                    <a:gd name="connsiteX174" fmla="*/ 559524 w 1097482"/>
                    <a:gd name="connsiteY174" fmla="*/ 559523 h 800886"/>
                    <a:gd name="connsiteX175" fmla="*/ 474498 w 1097482"/>
                    <a:gd name="connsiteY175" fmla="*/ 499183 h 800886"/>
                    <a:gd name="connsiteX176" fmla="*/ 474498 w 1097482"/>
                    <a:gd name="connsiteY176" fmla="*/ 469013 h 800886"/>
                    <a:gd name="connsiteX177" fmla="*/ 548553 w 1097482"/>
                    <a:gd name="connsiteY177" fmla="*/ 490954 h 800886"/>
                    <a:gd name="connsiteX178" fmla="*/ 562267 w 1097482"/>
                    <a:gd name="connsiteY178" fmla="*/ 490954 h 800886"/>
                    <a:gd name="connsiteX179" fmla="*/ 647293 w 1097482"/>
                    <a:gd name="connsiteY179" fmla="*/ 469013 h 800886"/>
                    <a:gd name="connsiteX180" fmla="*/ 647293 w 1097482"/>
                    <a:gd name="connsiteY180" fmla="*/ 499183 h 800886"/>
                    <a:gd name="connsiteX181" fmla="*/ 559524 w 1097482"/>
                    <a:gd name="connsiteY181" fmla="*/ 559523 h 800886"/>
                    <a:gd name="connsiteX182" fmla="*/ 628094 w 1097482"/>
                    <a:gd name="connsiteY182" fmla="*/ 619864 h 800886"/>
                    <a:gd name="connsiteX183" fmla="*/ 628094 w 1097482"/>
                    <a:gd name="connsiteY183" fmla="*/ 619864 h 800886"/>
                    <a:gd name="connsiteX184" fmla="*/ 628094 w 1097482"/>
                    <a:gd name="connsiteY184" fmla="*/ 619864 h 800886"/>
                    <a:gd name="connsiteX185" fmla="*/ 586952 w 1097482"/>
                    <a:gd name="connsiteY185" fmla="*/ 581466 h 800886"/>
                    <a:gd name="connsiteX186" fmla="*/ 661007 w 1097482"/>
                    <a:gd name="connsiteY186" fmla="*/ 529353 h 800886"/>
                    <a:gd name="connsiteX187" fmla="*/ 677464 w 1097482"/>
                    <a:gd name="connsiteY187" fmla="*/ 545810 h 800886"/>
                    <a:gd name="connsiteX188" fmla="*/ 628094 w 1097482"/>
                    <a:gd name="connsiteY188" fmla="*/ 619864 h 800886"/>
                    <a:gd name="connsiteX189" fmla="*/ 918827 w 1097482"/>
                    <a:gd name="connsiteY189" fmla="*/ 606151 h 800886"/>
                    <a:gd name="connsiteX190" fmla="*/ 883171 w 1097482"/>
                    <a:gd name="connsiteY190" fmla="*/ 570495 h 800886"/>
                    <a:gd name="connsiteX191" fmla="*/ 883171 w 1097482"/>
                    <a:gd name="connsiteY191" fmla="*/ 562266 h 800886"/>
                    <a:gd name="connsiteX192" fmla="*/ 883171 w 1097482"/>
                    <a:gd name="connsiteY192" fmla="*/ 556781 h 800886"/>
                    <a:gd name="connsiteX193" fmla="*/ 916084 w 1097482"/>
                    <a:gd name="connsiteY193" fmla="*/ 562266 h 800886"/>
                    <a:gd name="connsiteX194" fmla="*/ 918827 w 1097482"/>
                    <a:gd name="connsiteY194" fmla="*/ 562266 h 800886"/>
                    <a:gd name="connsiteX195" fmla="*/ 954483 w 1097482"/>
                    <a:gd name="connsiteY195" fmla="*/ 556781 h 800886"/>
                    <a:gd name="connsiteX196" fmla="*/ 954483 w 1097482"/>
                    <a:gd name="connsiteY196" fmla="*/ 562266 h 800886"/>
                    <a:gd name="connsiteX197" fmla="*/ 954483 w 1097482"/>
                    <a:gd name="connsiteY197" fmla="*/ 570495 h 800886"/>
                    <a:gd name="connsiteX198" fmla="*/ 918827 w 1097482"/>
                    <a:gd name="connsiteY198" fmla="*/ 606151 h 800886"/>
                    <a:gd name="connsiteX199" fmla="*/ 979168 w 1097482"/>
                    <a:gd name="connsiteY199" fmla="*/ 504668 h 800886"/>
                    <a:gd name="connsiteX200" fmla="*/ 916084 w 1097482"/>
                    <a:gd name="connsiteY200" fmla="*/ 529353 h 800886"/>
                    <a:gd name="connsiteX201" fmla="*/ 831058 w 1097482"/>
                    <a:gd name="connsiteY201" fmla="*/ 438842 h 800886"/>
                    <a:gd name="connsiteX202" fmla="*/ 831058 w 1097482"/>
                    <a:gd name="connsiteY202" fmla="*/ 408671 h 800886"/>
                    <a:gd name="connsiteX203" fmla="*/ 828316 w 1097482"/>
                    <a:gd name="connsiteY203" fmla="*/ 400443 h 800886"/>
                    <a:gd name="connsiteX204" fmla="*/ 817344 w 1097482"/>
                    <a:gd name="connsiteY204" fmla="*/ 381244 h 800886"/>
                    <a:gd name="connsiteX205" fmla="*/ 811859 w 1097482"/>
                    <a:gd name="connsiteY205" fmla="*/ 356559 h 800886"/>
                    <a:gd name="connsiteX206" fmla="*/ 811859 w 1097482"/>
                    <a:gd name="connsiteY206" fmla="*/ 356559 h 800886"/>
                    <a:gd name="connsiteX207" fmla="*/ 880429 w 1097482"/>
                    <a:gd name="connsiteY207" fmla="*/ 287990 h 800886"/>
                    <a:gd name="connsiteX208" fmla="*/ 1017567 w 1097482"/>
                    <a:gd name="connsiteY208" fmla="*/ 287990 h 800886"/>
                    <a:gd name="connsiteX209" fmla="*/ 1017567 w 1097482"/>
                    <a:gd name="connsiteY209" fmla="*/ 353816 h 800886"/>
                    <a:gd name="connsiteX210" fmla="*/ 1009338 w 1097482"/>
                    <a:gd name="connsiteY210" fmla="*/ 383987 h 800886"/>
                    <a:gd name="connsiteX211" fmla="*/ 1001110 w 1097482"/>
                    <a:gd name="connsiteY211" fmla="*/ 400443 h 800886"/>
                    <a:gd name="connsiteX212" fmla="*/ 998367 w 1097482"/>
                    <a:gd name="connsiteY212" fmla="*/ 408671 h 800886"/>
                    <a:gd name="connsiteX213" fmla="*/ 998367 w 1097482"/>
                    <a:gd name="connsiteY213" fmla="*/ 441585 h 800886"/>
                    <a:gd name="connsiteX214" fmla="*/ 979168 w 1097482"/>
                    <a:gd name="connsiteY214" fmla="*/ 504668 h 800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1097482" h="800886">
                      <a:moveTo>
                        <a:pt x="1055965" y="586951"/>
                      </a:moveTo>
                      <a:lnTo>
                        <a:pt x="990139" y="567752"/>
                      </a:lnTo>
                      <a:cubicBezTo>
                        <a:pt x="987396" y="567752"/>
                        <a:pt x="984653" y="565009"/>
                        <a:pt x="984653" y="562266"/>
                      </a:cubicBezTo>
                      <a:lnTo>
                        <a:pt x="984653" y="540324"/>
                      </a:lnTo>
                      <a:cubicBezTo>
                        <a:pt x="990139" y="537582"/>
                        <a:pt x="995624" y="532096"/>
                        <a:pt x="1001110" y="526610"/>
                      </a:cubicBezTo>
                      <a:cubicBezTo>
                        <a:pt x="1023052" y="504668"/>
                        <a:pt x="1036766" y="474498"/>
                        <a:pt x="1036766" y="441585"/>
                      </a:cubicBezTo>
                      <a:lnTo>
                        <a:pt x="1036766" y="411414"/>
                      </a:lnTo>
                      <a:lnTo>
                        <a:pt x="1042252" y="397701"/>
                      </a:lnTo>
                      <a:cubicBezTo>
                        <a:pt x="1050480" y="383987"/>
                        <a:pt x="1053223" y="367530"/>
                        <a:pt x="1053223" y="353816"/>
                      </a:cubicBezTo>
                      <a:lnTo>
                        <a:pt x="1053223" y="271533"/>
                      </a:lnTo>
                      <a:cubicBezTo>
                        <a:pt x="1053223" y="263305"/>
                        <a:pt x="1044995" y="255077"/>
                        <a:pt x="1036766" y="255077"/>
                      </a:cubicBezTo>
                      <a:lnTo>
                        <a:pt x="883171" y="255077"/>
                      </a:lnTo>
                      <a:cubicBezTo>
                        <a:pt x="828316" y="255077"/>
                        <a:pt x="781689" y="301704"/>
                        <a:pt x="781689" y="356559"/>
                      </a:cubicBezTo>
                      <a:lnTo>
                        <a:pt x="781689" y="356559"/>
                      </a:lnTo>
                      <a:cubicBezTo>
                        <a:pt x="781689" y="370273"/>
                        <a:pt x="784432" y="381244"/>
                        <a:pt x="789917" y="394958"/>
                      </a:cubicBezTo>
                      <a:lnTo>
                        <a:pt x="798145" y="411414"/>
                      </a:lnTo>
                      <a:lnTo>
                        <a:pt x="798145" y="436099"/>
                      </a:lnTo>
                      <a:cubicBezTo>
                        <a:pt x="798145" y="477240"/>
                        <a:pt x="817344" y="515639"/>
                        <a:pt x="850258" y="537582"/>
                      </a:cubicBezTo>
                      <a:lnTo>
                        <a:pt x="850258" y="559523"/>
                      </a:lnTo>
                      <a:cubicBezTo>
                        <a:pt x="850258" y="562266"/>
                        <a:pt x="850258" y="565009"/>
                        <a:pt x="836544" y="567752"/>
                      </a:cubicBezTo>
                      <a:lnTo>
                        <a:pt x="803631" y="575980"/>
                      </a:lnTo>
                      <a:lnTo>
                        <a:pt x="710377" y="543067"/>
                      </a:lnTo>
                      <a:cubicBezTo>
                        <a:pt x="710377" y="537582"/>
                        <a:pt x="710377" y="534839"/>
                        <a:pt x="704892" y="532096"/>
                      </a:cubicBezTo>
                      <a:lnTo>
                        <a:pt x="674721" y="501926"/>
                      </a:lnTo>
                      <a:lnTo>
                        <a:pt x="674721" y="449813"/>
                      </a:lnTo>
                      <a:cubicBezTo>
                        <a:pt x="677464" y="447070"/>
                        <a:pt x="680206" y="444327"/>
                        <a:pt x="682949" y="441585"/>
                      </a:cubicBezTo>
                      <a:cubicBezTo>
                        <a:pt x="721348" y="405929"/>
                        <a:pt x="740547" y="356559"/>
                        <a:pt x="740547" y="304447"/>
                      </a:cubicBezTo>
                      <a:lnTo>
                        <a:pt x="740547" y="263305"/>
                      </a:lnTo>
                      <a:cubicBezTo>
                        <a:pt x="751518" y="238620"/>
                        <a:pt x="757004" y="213936"/>
                        <a:pt x="757004" y="186508"/>
                      </a:cubicBezTo>
                      <a:lnTo>
                        <a:pt x="757004" y="16457"/>
                      </a:lnTo>
                      <a:cubicBezTo>
                        <a:pt x="757004" y="8228"/>
                        <a:pt x="748775" y="0"/>
                        <a:pt x="740547" y="0"/>
                      </a:cubicBezTo>
                      <a:lnTo>
                        <a:pt x="501926" y="0"/>
                      </a:lnTo>
                      <a:cubicBezTo>
                        <a:pt x="416901" y="0"/>
                        <a:pt x="348332" y="68569"/>
                        <a:pt x="348332" y="153595"/>
                      </a:cubicBezTo>
                      <a:lnTo>
                        <a:pt x="348332" y="186508"/>
                      </a:lnTo>
                      <a:cubicBezTo>
                        <a:pt x="348332" y="213936"/>
                        <a:pt x="353817" y="238620"/>
                        <a:pt x="364788" y="263305"/>
                      </a:cubicBezTo>
                      <a:lnTo>
                        <a:pt x="364788" y="298961"/>
                      </a:lnTo>
                      <a:cubicBezTo>
                        <a:pt x="364788" y="359302"/>
                        <a:pt x="392215" y="411414"/>
                        <a:pt x="433357" y="447070"/>
                      </a:cubicBezTo>
                      <a:lnTo>
                        <a:pt x="433357" y="501926"/>
                      </a:lnTo>
                      <a:lnTo>
                        <a:pt x="403187" y="532096"/>
                      </a:lnTo>
                      <a:cubicBezTo>
                        <a:pt x="400444" y="534839"/>
                        <a:pt x="397701" y="540324"/>
                        <a:pt x="397701" y="543067"/>
                      </a:cubicBezTo>
                      <a:lnTo>
                        <a:pt x="298961" y="578723"/>
                      </a:lnTo>
                      <a:cubicBezTo>
                        <a:pt x="290734" y="581466"/>
                        <a:pt x="285248" y="584208"/>
                        <a:pt x="279763" y="589694"/>
                      </a:cubicBezTo>
                      <a:lnTo>
                        <a:pt x="263306" y="581466"/>
                      </a:lnTo>
                      <a:cubicBezTo>
                        <a:pt x="309932" y="562266"/>
                        <a:pt x="323646" y="532096"/>
                        <a:pt x="323646" y="532096"/>
                      </a:cubicBezTo>
                      <a:cubicBezTo>
                        <a:pt x="326389" y="526610"/>
                        <a:pt x="326389" y="521125"/>
                        <a:pt x="323646" y="518382"/>
                      </a:cubicBezTo>
                      <a:cubicBezTo>
                        <a:pt x="312675" y="496440"/>
                        <a:pt x="309932" y="452556"/>
                        <a:pt x="309932" y="419643"/>
                      </a:cubicBezTo>
                      <a:cubicBezTo>
                        <a:pt x="309932" y="408671"/>
                        <a:pt x="309932" y="397701"/>
                        <a:pt x="307190" y="389472"/>
                      </a:cubicBezTo>
                      <a:cubicBezTo>
                        <a:pt x="301704" y="312675"/>
                        <a:pt x="244106" y="255077"/>
                        <a:pt x="172794" y="255077"/>
                      </a:cubicBezTo>
                      <a:cubicBezTo>
                        <a:pt x="101483" y="255077"/>
                        <a:pt x="43884" y="312675"/>
                        <a:pt x="38399" y="389472"/>
                      </a:cubicBezTo>
                      <a:cubicBezTo>
                        <a:pt x="38399" y="397701"/>
                        <a:pt x="38399" y="408671"/>
                        <a:pt x="35656" y="419643"/>
                      </a:cubicBezTo>
                      <a:cubicBezTo>
                        <a:pt x="35656" y="452556"/>
                        <a:pt x="32914" y="496440"/>
                        <a:pt x="21942" y="518382"/>
                      </a:cubicBezTo>
                      <a:cubicBezTo>
                        <a:pt x="19200" y="523868"/>
                        <a:pt x="19200" y="529353"/>
                        <a:pt x="21942" y="532096"/>
                      </a:cubicBezTo>
                      <a:cubicBezTo>
                        <a:pt x="21942" y="534839"/>
                        <a:pt x="38399" y="562266"/>
                        <a:pt x="82283" y="581466"/>
                      </a:cubicBezTo>
                      <a:lnTo>
                        <a:pt x="38399" y="603408"/>
                      </a:lnTo>
                      <a:cubicBezTo>
                        <a:pt x="16457" y="614379"/>
                        <a:pt x="0" y="639064"/>
                        <a:pt x="0" y="663748"/>
                      </a:cubicBezTo>
                      <a:lnTo>
                        <a:pt x="0" y="781687"/>
                      </a:lnTo>
                      <a:cubicBezTo>
                        <a:pt x="0" y="789916"/>
                        <a:pt x="8228" y="798144"/>
                        <a:pt x="16457" y="798144"/>
                      </a:cubicBezTo>
                      <a:cubicBezTo>
                        <a:pt x="24685" y="798144"/>
                        <a:pt x="32914" y="789916"/>
                        <a:pt x="32914" y="781687"/>
                      </a:cubicBezTo>
                      <a:lnTo>
                        <a:pt x="32914" y="663748"/>
                      </a:lnTo>
                      <a:cubicBezTo>
                        <a:pt x="32914" y="650035"/>
                        <a:pt x="41142" y="639064"/>
                        <a:pt x="52112" y="633578"/>
                      </a:cubicBezTo>
                      <a:lnTo>
                        <a:pt x="104225" y="606151"/>
                      </a:lnTo>
                      <a:lnTo>
                        <a:pt x="123425" y="622607"/>
                      </a:lnTo>
                      <a:cubicBezTo>
                        <a:pt x="137138" y="633578"/>
                        <a:pt x="153595" y="641806"/>
                        <a:pt x="170052" y="641806"/>
                      </a:cubicBezTo>
                      <a:cubicBezTo>
                        <a:pt x="186508" y="641806"/>
                        <a:pt x="202965" y="636321"/>
                        <a:pt x="216678" y="622607"/>
                      </a:cubicBezTo>
                      <a:lnTo>
                        <a:pt x="235878" y="606151"/>
                      </a:lnTo>
                      <a:lnTo>
                        <a:pt x="252335" y="614379"/>
                      </a:lnTo>
                      <a:cubicBezTo>
                        <a:pt x="244106" y="628092"/>
                        <a:pt x="238621" y="641806"/>
                        <a:pt x="238621" y="658263"/>
                      </a:cubicBezTo>
                      <a:lnTo>
                        <a:pt x="238621" y="781687"/>
                      </a:lnTo>
                      <a:cubicBezTo>
                        <a:pt x="238621" y="789916"/>
                        <a:pt x="246849" y="798144"/>
                        <a:pt x="255077" y="798144"/>
                      </a:cubicBezTo>
                      <a:cubicBezTo>
                        <a:pt x="263306" y="798144"/>
                        <a:pt x="271534" y="789916"/>
                        <a:pt x="271534" y="781687"/>
                      </a:cubicBezTo>
                      <a:lnTo>
                        <a:pt x="271534" y="658263"/>
                      </a:lnTo>
                      <a:cubicBezTo>
                        <a:pt x="271534" y="636321"/>
                        <a:pt x="285248" y="617122"/>
                        <a:pt x="307190" y="608893"/>
                      </a:cubicBezTo>
                      <a:lnTo>
                        <a:pt x="411415" y="570495"/>
                      </a:lnTo>
                      <a:lnTo>
                        <a:pt x="455300" y="636321"/>
                      </a:lnTo>
                      <a:cubicBezTo>
                        <a:pt x="460785" y="644549"/>
                        <a:pt x="469013" y="650035"/>
                        <a:pt x="479984" y="650035"/>
                      </a:cubicBezTo>
                      <a:cubicBezTo>
                        <a:pt x="479984" y="650035"/>
                        <a:pt x="482727" y="650035"/>
                        <a:pt x="482727" y="650035"/>
                      </a:cubicBezTo>
                      <a:cubicBezTo>
                        <a:pt x="490955" y="650035"/>
                        <a:pt x="499184" y="647292"/>
                        <a:pt x="504669" y="639064"/>
                      </a:cubicBezTo>
                      <a:lnTo>
                        <a:pt x="532097" y="611636"/>
                      </a:lnTo>
                      <a:lnTo>
                        <a:pt x="532097" y="778944"/>
                      </a:lnTo>
                      <a:cubicBezTo>
                        <a:pt x="532097" y="787173"/>
                        <a:pt x="540326" y="795401"/>
                        <a:pt x="548553" y="795401"/>
                      </a:cubicBezTo>
                      <a:cubicBezTo>
                        <a:pt x="556781" y="795401"/>
                        <a:pt x="565010" y="787173"/>
                        <a:pt x="565010" y="778944"/>
                      </a:cubicBezTo>
                      <a:lnTo>
                        <a:pt x="565010" y="611636"/>
                      </a:lnTo>
                      <a:lnTo>
                        <a:pt x="592438" y="639064"/>
                      </a:lnTo>
                      <a:cubicBezTo>
                        <a:pt x="597923" y="644549"/>
                        <a:pt x="606152" y="650035"/>
                        <a:pt x="614380" y="650035"/>
                      </a:cubicBezTo>
                      <a:cubicBezTo>
                        <a:pt x="614380" y="650035"/>
                        <a:pt x="617123" y="650035"/>
                        <a:pt x="617123" y="650035"/>
                      </a:cubicBezTo>
                      <a:cubicBezTo>
                        <a:pt x="628094" y="650035"/>
                        <a:pt x="636322" y="644549"/>
                        <a:pt x="641807" y="636321"/>
                      </a:cubicBezTo>
                      <a:lnTo>
                        <a:pt x="685692" y="570495"/>
                      </a:lnTo>
                      <a:lnTo>
                        <a:pt x="789917" y="608893"/>
                      </a:lnTo>
                      <a:cubicBezTo>
                        <a:pt x="809116" y="617122"/>
                        <a:pt x="825573" y="636321"/>
                        <a:pt x="825573" y="658263"/>
                      </a:cubicBezTo>
                      <a:lnTo>
                        <a:pt x="825573" y="781687"/>
                      </a:lnTo>
                      <a:cubicBezTo>
                        <a:pt x="825573" y="789916"/>
                        <a:pt x="833801" y="798144"/>
                        <a:pt x="842030" y="798144"/>
                      </a:cubicBezTo>
                      <a:cubicBezTo>
                        <a:pt x="850258" y="798144"/>
                        <a:pt x="858486" y="789916"/>
                        <a:pt x="858486" y="781687"/>
                      </a:cubicBezTo>
                      <a:lnTo>
                        <a:pt x="858486" y="658263"/>
                      </a:lnTo>
                      <a:cubicBezTo>
                        <a:pt x="858486" y="636321"/>
                        <a:pt x="850258" y="614379"/>
                        <a:pt x="833801" y="600665"/>
                      </a:cubicBezTo>
                      <a:lnTo>
                        <a:pt x="836544" y="600665"/>
                      </a:lnTo>
                      <a:cubicBezTo>
                        <a:pt x="839287" y="600665"/>
                        <a:pt x="844772" y="597922"/>
                        <a:pt x="850258" y="595179"/>
                      </a:cubicBezTo>
                      <a:lnTo>
                        <a:pt x="891399" y="636321"/>
                      </a:lnTo>
                      <a:lnTo>
                        <a:pt x="891399" y="784430"/>
                      </a:lnTo>
                      <a:cubicBezTo>
                        <a:pt x="891399" y="792658"/>
                        <a:pt x="899627" y="800887"/>
                        <a:pt x="907856" y="800887"/>
                      </a:cubicBezTo>
                      <a:cubicBezTo>
                        <a:pt x="916084" y="800887"/>
                        <a:pt x="924313" y="792658"/>
                        <a:pt x="924313" y="784430"/>
                      </a:cubicBezTo>
                      <a:lnTo>
                        <a:pt x="924313" y="636321"/>
                      </a:lnTo>
                      <a:lnTo>
                        <a:pt x="965454" y="595179"/>
                      </a:lnTo>
                      <a:cubicBezTo>
                        <a:pt x="968197" y="595179"/>
                        <a:pt x="970940" y="597922"/>
                        <a:pt x="970940" y="597922"/>
                      </a:cubicBezTo>
                      <a:lnTo>
                        <a:pt x="1036766" y="617122"/>
                      </a:lnTo>
                      <a:cubicBezTo>
                        <a:pt x="1050480" y="622607"/>
                        <a:pt x="1061451" y="636321"/>
                        <a:pt x="1061451" y="650035"/>
                      </a:cubicBezTo>
                      <a:lnTo>
                        <a:pt x="1061451" y="781687"/>
                      </a:lnTo>
                      <a:cubicBezTo>
                        <a:pt x="1061451" y="789916"/>
                        <a:pt x="1069679" y="798144"/>
                        <a:pt x="1077907" y="798144"/>
                      </a:cubicBezTo>
                      <a:cubicBezTo>
                        <a:pt x="1086136" y="798144"/>
                        <a:pt x="1094364" y="789916"/>
                        <a:pt x="1094364" y="781687"/>
                      </a:cubicBezTo>
                      <a:lnTo>
                        <a:pt x="1094364" y="650035"/>
                      </a:lnTo>
                      <a:cubicBezTo>
                        <a:pt x="1105335" y="622607"/>
                        <a:pt x="1086136" y="595179"/>
                        <a:pt x="1055965" y="586951"/>
                      </a:cubicBezTo>
                      <a:close/>
                      <a:moveTo>
                        <a:pt x="117939" y="559523"/>
                      </a:moveTo>
                      <a:cubicBezTo>
                        <a:pt x="87769" y="548552"/>
                        <a:pt x="74055" y="534839"/>
                        <a:pt x="65826" y="526610"/>
                      </a:cubicBezTo>
                      <a:cubicBezTo>
                        <a:pt x="71312" y="515639"/>
                        <a:pt x="74055" y="501926"/>
                        <a:pt x="74055" y="488212"/>
                      </a:cubicBezTo>
                      <a:cubicBezTo>
                        <a:pt x="82283" y="510154"/>
                        <a:pt x="98740" y="526610"/>
                        <a:pt x="115197" y="540324"/>
                      </a:cubicBezTo>
                      <a:lnTo>
                        <a:pt x="115197" y="559523"/>
                      </a:lnTo>
                      <a:close/>
                      <a:moveTo>
                        <a:pt x="211193" y="603408"/>
                      </a:moveTo>
                      <a:cubicBezTo>
                        <a:pt x="197480" y="617122"/>
                        <a:pt x="175537" y="617122"/>
                        <a:pt x="161823" y="603408"/>
                      </a:cubicBezTo>
                      <a:lnTo>
                        <a:pt x="148109" y="589694"/>
                      </a:lnTo>
                      <a:cubicBezTo>
                        <a:pt x="150852" y="584208"/>
                        <a:pt x="150852" y="578723"/>
                        <a:pt x="150852" y="573237"/>
                      </a:cubicBezTo>
                      <a:lnTo>
                        <a:pt x="150852" y="556781"/>
                      </a:lnTo>
                      <a:cubicBezTo>
                        <a:pt x="161823" y="559523"/>
                        <a:pt x="172794" y="562266"/>
                        <a:pt x="186508" y="562266"/>
                      </a:cubicBezTo>
                      <a:cubicBezTo>
                        <a:pt x="197480" y="562266"/>
                        <a:pt x="211193" y="559523"/>
                        <a:pt x="222164" y="556781"/>
                      </a:cubicBezTo>
                      <a:lnTo>
                        <a:pt x="222164" y="573237"/>
                      </a:lnTo>
                      <a:cubicBezTo>
                        <a:pt x="222164" y="578723"/>
                        <a:pt x="224907" y="584208"/>
                        <a:pt x="224907" y="589694"/>
                      </a:cubicBezTo>
                      <a:lnTo>
                        <a:pt x="211193" y="603408"/>
                      </a:lnTo>
                      <a:close/>
                      <a:moveTo>
                        <a:pt x="186508" y="529353"/>
                      </a:moveTo>
                      <a:cubicBezTo>
                        <a:pt x="139881" y="529353"/>
                        <a:pt x="101483" y="490954"/>
                        <a:pt x="101483" y="444327"/>
                      </a:cubicBezTo>
                      <a:cubicBezTo>
                        <a:pt x="101483" y="436099"/>
                        <a:pt x="93254" y="427871"/>
                        <a:pt x="85026" y="427871"/>
                      </a:cubicBezTo>
                      <a:cubicBezTo>
                        <a:pt x="85026" y="427871"/>
                        <a:pt x="82283" y="427871"/>
                        <a:pt x="82283" y="427871"/>
                      </a:cubicBezTo>
                      <a:cubicBezTo>
                        <a:pt x="82283" y="427871"/>
                        <a:pt x="82283" y="425128"/>
                        <a:pt x="82283" y="425128"/>
                      </a:cubicBezTo>
                      <a:cubicBezTo>
                        <a:pt x="82283" y="414157"/>
                        <a:pt x="82283" y="403186"/>
                        <a:pt x="82283" y="394958"/>
                      </a:cubicBezTo>
                      <a:cubicBezTo>
                        <a:pt x="85026" y="367530"/>
                        <a:pt x="95997" y="340102"/>
                        <a:pt x="115197" y="320903"/>
                      </a:cubicBezTo>
                      <a:cubicBezTo>
                        <a:pt x="134395" y="301704"/>
                        <a:pt x="159080" y="290733"/>
                        <a:pt x="186508" y="290733"/>
                      </a:cubicBezTo>
                      <a:cubicBezTo>
                        <a:pt x="213936" y="290733"/>
                        <a:pt x="238621" y="301704"/>
                        <a:pt x="257820" y="320903"/>
                      </a:cubicBezTo>
                      <a:cubicBezTo>
                        <a:pt x="277020" y="340102"/>
                        <a:pt x="287991" y="367530"/>
                        <a:pt x="290734" y="394958"/>
                      </a:cubicBezTo>
                      <a:cubicBezTo>
                        <a:pt x="290734" y="403186"/>
                        <a:pt x="290734" y="414157"/>
                        <a:pt x="290734" y="425128"/>
                      </a:cubicBezTo>
                      <a:cubicBezTo>
                        <a:pt x="290734" y="425128"/>
                        <a:pt x="290734" y="427871"/>
                        <a:pt x="290734" y="427871"/>
                      </a:cubicBezTo>
                      <a:cubicBezTo>
                        <a:pt x="274277" y="400443"/>
                        <a:pt x="246849" y="381244"/>
                        <a:pt x="211193" y="370273"/>
                      </a:cubicBezTo>
                      <a:cubicBezTo>
                        <a:pt x="178280" y="359302"/>
                        <a:pt x="150852" y="359302"/>
                        <a:pt x="150852" y="359302"/>
                      </a:cubicBezTo>
                      <a:cubicBezTo>
                        <a:pt x="145366" y="359302"/>
                        <a:pt x="142624" y="362045"/>
                        <a:pt x="139881" y="364787"/>
                      </a:cubicBezTo>
                      <a:lnTo>
                        <a:pt x="112454" y="394958"/>
                      </a:lnTo>
                      <a:cubicBezTo>
                        <a:pt x="106968" y="400443"/>
                        <a:pt x="106968" y="411414"/>
                        <a:pt x="112454" y="416900"/>
                      </a:cubicBezTo>
                      <a:cubicBezTo>
                        <a:pt x="117939" y="422385"/>
                        <a:pt x="128910" y="422385"/>
                        <a:pt x="134395" y="416900"/>
                      </a:cubicBezTo>
                      <a:lnTo>
                        <a:pt x="159080" y="392215"/>
                      </a:lnTo>
                      <a:cubicBezTo>
                        <a:pt x="181023" y="392215"/>
                        <a:pt x="246849" y="400443"/>
                        <a:pt x="271534" y="458041"/>
                      </a:cubicBezTo>
                      <a:cubicBezTo>
                        <a:pt x="263306" y="496440"/>
                        <a:pt x="227649" y="529353"/>
                        <a:pt x="186508" y="529353"/>
                      </a:cubicBezTo>
                      <a:close/>
                      <a:moveTo>
                        <a:pt x="252335" y="559523"/>
                      </a:moveTo>
                      <a:lnTo>
                        <a:pt x="252335" y="540324"/>
                      </a:lnTo>
                      <a:cubicBezTo>
                        <a:pt x="271534" y="526610"/>
                        <a:pt x="285248" y="510154"/>
                        <a:pt x="293476" y="488212"/>
                      </a:cubicBezTo>
                      <a:cubicBezTo>
                        <a:pt x="296219" y="501926"/>
                        <a:pt x="298961" y="515639"/>
                        <a:pt x="301704" y="526610"/>
                      </a:cubicBezTo>
                      <a:cubicBezTo>
                        <a:pt x="298961" y="534839"/>
                        <a:pt x="282505" y="548552"/>
                        <a:pt x="252335" y="559523"/>
                      </a:cubicBezTo>
                      <a:close/>
                      <a:moveTo>
                        <a:pt x="405929" y="298961"/>
                      </a:moveTo>
                      <a:lnTo>
                        <a:pt x="405929" y="260562"/>
                      </a:lnTo>
                      <a:cubicBezTo>
                        <a:pt x="405929" y="257819"/>
                        <a:pt x="405929" y="255077"/>
                        <a:pt x="403187" y="252334"/>
                      </a:cubicBezTo>
                      <a:cubicBezTo>
                        <a:pt x="392215" y="230392"/>
                        <a:pt x="386730" y="208450"/>
                        <a:pt x="386730" y="186508"/>
                      </a:cubicBezTo>
                      <a:lnTo>
                        <a:pt x="386730" y="153595"/>
                      </a:lnTo>
                      <a:cubicBezTo>
                        <a:pt x="386730" y="87768"/>
                        <a:pt x="441586" y="32913"/>
                        <a:pt x="507412" y="32913"/>
                      </a:cubicBezTo>
                      <a:lnTo>
                        <a:pt x="729576" y="32913"/>
                      </a:lnTo>
                      <a:lnTo>
                        <a:pt x="729576" y="186508"/>
                      </a:lnTo>
                      <a:cubicBezTo>
                        <a:pt x="729576" y="208450"/>
                        <a:pt x="724090" y="233135"/>
                        <a:pt x="713120" y="252334"/>
                      </a:cubicBezTo>
                      <a:cubicBezTo>
                        <a:pt x="713120" y="255077"/>
                        <a:pt x="710377" y="257819"/>
                        <a:pt x="710377" y="260562"/>
                      </a:cubicBezTo>
                      <a:lnTo>
                        <a:pt x="710377" y="307189"/>
                      </a:lnTo>
                      <a:cubicBezTo>
                        <a:pt x="710377" y="351074"/>
                        <a:pt x="693920" y="389472"/>
                        <a:pt x="661007" y="419643"/>
                      </a:cubicBezTo>
                      <a:cubicBezTo>
                        <a:pt x="658264" y="422385"/>
                        <a:pt x="652778" y="427871"/>
                        <a:pt x="650036" y="430614"/>
                      </a:cubicBezTo>
                      <a:cubicBezTo>
                        <a:pt x="650036" y="430614"/>
                        <a:pt x="650036" y="430614"/>
                        <a:pt x="650036" y="430614"/>
                      </a:cubicBezTo>
                      <a:cubicBezTo>
                        <a:pt x="619866" y="452556"/>
                        <a:pt x="584209" y="463527"/>
                        <a:pt x="545811" y="460784"/>
                      </a:cubicBezTo>
                      <a:cubicBezTo>
                        <a:pt x="469013" y="455299"/>
                        <a:pt x="405929" y="383987"/>
                        <a:pt x="405929" y="298961"/>
                      </a:cubicBezTo>
                      <a:close/>
                      <a:moveTo>
                        <a:pt x="496441" y="619864"/>
                      </a:moveTo>
                      <a:cubicBezTo>
                        <a:pt x="496441" y="619864"/>
                        <a:pt x="496441" y="622607"/>
                        <a:pt x="496441" y="619864"/>
                      </a:cubicBezTo>
                      <a:cubicBezTo>
                        <a:pt x="493698" y="622607"/>
                        <a:pt x="493698" y="619864"/>
                        <a:pt x="496441" y="619864"/>
                      </a:cubicBezTo>
                      <a:lnTo>
                        <a:pt x="444329" y="545810"/>
                      </a:lnTo>
                      <a:lnTo>
                        <a:pt x="460785" y="529353"/>
                      </a:lnTo>
                      <a:lnTo>
                        <a:pt x="534840" y="581466"/>
                      </a:lnTo>
                      <a:lnTo>
                        <a:pt x="496441" y="619864"/>
                      </a:lnTo>
                      <a:close/>
                      <a:moveTo>
                        <a:pt x="559524" y="559523"/>
                      </a:moveTo>
                      <a:lnTo>
                        <a:pt x="474498" y="499183"/>
                      </a:lnTo>
                      <a:lnTo>
                        <a:pt x="474498" y="469013"/>
                      </a:lnTo>
                      <a:cubicBezTo>
                        <a:pt x="496441" y="479983"/>
                        <a:pt x="521126" y="488212"/>
                        <a:pt x="548553" y="490954"/>
                      </a:cubicBezTo>
                      <a:cubicBezTo>
                        <a:pt x="554039" y="490954"/>
                        <a:pt x="556781" y="490954"/>
                        <a:pt x="562267" y="490954"/>
                      </a:cubicBezTo>
                      <a:cubicBezTo>
                        <a:pt x="592438" y="490954"/>
                        <a:pt x="622609" y="482726"/>
                        <a:pt x="647293" y="469013"/>
                      </a:cubicBezTo>
                      <a:lnTo>
                        <a:pt x="647293" y="499183"/>
                      </a:lnTo>
                      <a:lnTo>
                        <a:pt x="559524" y="559523"/>
                      </a:lnTo>
                      <a:close/>
                      <a:moveTo>
                        <a:pt x="628094" y="619864"/>
                      </a:moveTo>
                      <a:cubicBezTo>
                        <a:pt x="628094" y="619864"/>
                        <a:pt x="628094" y="622607"/>
                        <a:pt x="628094" y="619864"/>
                      </a:cubicBezTo>
                      <a:cubicBezTo>
                        <a:pt x="625351" y="622607"/>
                        <a:pt x="625351" y="622607"/>
                        <a:pt x="628094" y="619864"/>
                      </a:cubicBezTo>
                      <a:lnTo>
                        <a:pt x="586952" y="581466"/>
                      </a:lnTo>
                      <a:lnTo>
                        <a:pt x="661007" y="529353"/>
                      </a:lnTo>
                      <a:lnTo>
                        <a:pt x="677464" y="545810"/>
                      </a:lnTo>
                      <a:lnTo>
                        <a:pt x="628094" y="619864"/>
                      </a:lnTo>
                      <a:close/>
                      <a:moveTo>
                        <a:pt x="918827" y="606151"/>
                      </a:moveTo>
                      <a:lnTo>
                        <a:pt x="883171" y="570495"/>
                      </a:lnTo>
                      <a:cubicBezTo>
                        <a:pt x="883171" y="567752"/>
                        <a:pt x="883171" y="565009"/>
                        <a:pt x="883171" y="562266"/>
                      </a:cubicBezTo>
                      <a:lnTo>
                        <a:pt x="883171" y="556781"/>
                      </a:lnTo>
                      <a:cubicBezTo>
                        <a:pt x="894142" y="559523"/>
                        <a:pt x="905113" y="562266"/>
                        <a:pt x="916084" y="562266"/>
                      </a:cubicBezTo>
                      <a:cubicBezTo>
                        <a:pt x="916084" y="562266"/>
                        <a:pt x="918827" y="562266"/>
                        <a:pt x="918827" y="562266"/>
                      </a:cubicBezTo>
                      <a:cubicBezTo>
                        <a:pt x="929798" y="562266"/>
                        <a:pt x="943512" y="559523"/>
                        <a:pt x="954483" y="556781"/>
                      </a:cubicBezTo>
                      <a:lnTo>
                        <a:pt x="954483" y="562266"/>
                      </a:lnTo>
                      <a:cubicBezTo>
                        <a:pt x="954483" y="565009"/>
                        <a:pt x="954483" y="567752"/>
                        <a:pt x="954483" y="570495"/>
                      </a:cubicBezTo>
                      <a:lnTo>
                        <a:pt x="918827" y="606151"/>
                      </a:lnTo>
                      <a:close/>
                      <a:moveTo>
                        <a:pt x="979168" y="504668"/>
                      </a:moveTo>
                      <a:cubicBezTo>
                        <a:pt x="962712" y="521125"/>
                        <a:pt x="940769" y="529353"/>
                        <a:pt x="916084" y="529353"/>
                      </a:cubicBezTo>
                      <a:cubicBezTo>
                        <a:pt x="869458" y="526610"/>
                        <a:pt x="831058" y="488212"/>
                        <a:pt x="831058" y="438842"/>
                      </a:cubicBezTo>
                      <a:lnTo>
                        <a:pt x="831058" y="408671"/>
                      </a:lnTo>
                      <a:cubicBezTo>
                        <a:pt x="831058" y="405929"/>
                        <a:pt x="831058" y="403186"/>
                        <a:pt x="828316" y="400443"/>
                      </a:cubicBezTo>
                      <a:lnTo>
                        <a:pt x="817344" y="381244"/>
                      </a:lnTo>
                      <a:cubicBezTo>
                        <a:pt x="814602" y="373016"/>
                        <a:pt x="811859" y="364787"/>
                        <a:pt x="811859" y="356559"/>
                      </a:cubicBezTo>
                      <a:lnTo>
                        <a:pt x="811859" y="356559"/>
                      </a:lnTo>
                      <a:cubicBezTo>
                        <a:pt x="811859" y="318161"/>
                        <a:pt x="842030" y="287990"/>
                        <a:pt x="880429" y="287990"/>
                      </a:cubicBezTo>
                      <a:lnTo>
                        <a:pt x="1017567" y="287990"/>
                      </a:lnTo>
                      <a:lnTo>
                        <a:pt x="1017567" y="353816"/>
                      </a:lnTo>
                      <a:cubicBezTo>
                        <a:pt x="1017567" y="364787"/>
                        <a:pt x="1014824" y="375758"/>
                        <a:pt x="1009338" y="383987"/>
                      </a:cubicBezTo>
                      <a:lnTo>
                        <a:pt x="1001110" y="400443"/>
                      </a:lnTo>
                      <a:cubicBezTo>
                        <a:pt x="1001110" y="403186"/>
                        <a:pt x="998367" y="405929"/>
                        <a:pt x="998367" y="408671"/>
                      </a:cubicBezTo>
                      <a:lnTo>
                        <a:pt x="998367" y="441585"/>
                      </a:lnTo>
                      <a:cubicBezTo>
                        <a:pt x="1003853" y="466270"/>
                        <a:pt x="995624" y="488212"/>
                        <a:pt x="979168" y="504668"/>
                      </a:cubicBezTo>
                      <a:close/>
                    </a:path>
                  </a:pathLst>
                </a:custGeom>
                <a:grpFill/>
                <a:ln w="27426" cap="flat">
                  <a:noFill/>
                  <a:prstDash val="solid"/>
                  <a:miter/>
                </a:ln>
              </p:spPr>
              <p:txBody>
                <a:bodyPr rtlCol="0" anchor="ctr"/>
                <a:lstStyle/>
                <a:p>
                  <a:pPr algn="l" rtl="0"/>
                  <a:endParaRPr lang="en-US"/>
                </a:p>
              </p:txBody>
            </p:sp>
            <p:sp>
              <p:nvSpPr>
                <p:cNvPr id="92" name="Freeform 91">
                  <a:extLst>
                    <a:ext uri="{FF2B5EF4-FFF2-40B4-BE49-F238E27FC236}">
                      <a16:creationId xmlns:a16="http://schemas.microsoft.com/office/drawing/2014/main" id="{66198768-28E9-0279-C304-69FD291519CC}"/>
                    </a:ext>
                  </a:extLst>
                </p:cNvPr>
                <p:cNvSpPr/>
                <p:nvPr/>
              </p:nvSpPr>
              <p:spPr>
                <a:xfrm>
                  <a:off x="9258490" y="4220154"/>
                  <a:ext cx="135424" cy="52112"/>
                </a:xfrm>
                <a:custGeom>
                  <a:avLst/>
                  <a:gdLst>
                    <a:gd name="connsiteX0" fmla="*/ 126167 w 135424"/>
                    <a:gd name="connsiteY0" fmla="*/ 19200 h 52112"/>
                    <a:gd name="connsiteX1" fmla="*/ 16457 w 135424"/>
                    <a:gd name="connsiteY1" fmla="*/ 0 h 52112"/>
                    <a:gd name="connsiteX2" fmla="*/ 0 w 135424"/>
                    <a:gd name="connsiteY2" fmla="*/ 16457 h 52112"/>
                    <a:gd name="connsiteX3" fmla="*/ 16457 w 135424"/>
                    <a:gd name="connsiteY3" fmla="*/ 32913 h 52112"/>
                    <a:gd name="connsiteX4" fmla="*/ 112454 w 135424"/>
                    <a:gd name="connsiteY4" fmla="*/ 49370 h 52112"/>
                    <a:gd name="connsiteX5" fmla="*/ 120682 w 135424"/>
                    <a:gd name="connsiteY5" fmla="*/ 52113 h 52112"/>
                    <a:gd name="connsiteX6" fmla="*/ 134395 w 135424"/>
                    <a:gd name="connsiteY6" fmla="*/ 43884 h 52112"/>
                    <a:gd name="connsiteX7" fmla="*/ 126167 w 135424"/>
                    <a:gd name="connsiteY7" fmla="*/ 19200 h 52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5424" h="52112">
                      <a:moveTo>
                        <a:pt x="126167" y="19200"/>
                      </a:moveTo>
                      <a:cubicBezTo>
                        <a:pt x="87769" y="0"/>
                        <a:pt x="19200" y="0"/>
                        <a:pt x="16457" y="0"/>
                      </a:cubicBezTo>
                      <a:cubicBezTo>
                        <a:pt x="8228" y="0"/>
                        <a:pt x="0" y="8228"/>
                        <a:pt x="0" y="16457"/>
                      </a:cubicBezTo>
                      <a:cubicBezTo>
                        <a:pt x="0" y="24685"/>
                        <a:pt x="8228" y="32913"/>
                        <a:pt x="16457" y="32913"/>
                      </a:cubicBezTo>
                      <a:cubicBezTo>
                        <a:pt x="35656" y="32913"/>
                        <a:pt x="87769" y="35656"/>
                        <a:pt x="112454" y="49370"/>
                      </a:cubicBezTo>
                      <a:cubicBezTo>
                        <a:pt x="115197" y="49370"/>
                        <a:pt x="117939" y="52113"/>
                        <a:pt x="120682" y="52113"/>
                      </a:cubicBezTo>
                      <a:cubicBezTo>
                        <a:pt x="126167" y="52113"/>
                        <a:pt x="131653" y="49370"/>
                        <a:pt x="134395" y="43884"/>
                      </a:cubicBezTo>
                      <a:cubicBezTo>
                        <a:pt x="137138" y="32913"/>
                        <a:pt x="134395" y="24685"/>
                        <a:pt x="126167" y="19200"/>
                      </a:cubicBezTo>
                      <a:close/>
                    </a:path>
                  </a:pathLst>
                </a:custGeom>
                <a:grpFill/>
                <a:ln w="27426" cap="flat">
                  <a:noFill/>
                  <a:prstDash val="solid"/>
                  <a:miter/>
                </a:ln>
              </p:spPr>
              <p:txBody>
                <a:bodyPr rtlCol="0" anchor="ctr"/>
                <a:lstStyle/>
                <a:p>
                  <a:pPr algn="l" rtl="0"/>
                  <a:endParaRPr lang="en-US"/>
                </a:p>
              </p:txBody>
            </p:sp>
            <p:sp>
              <p:nvSpPr>
                <p:cNvPr id="93" name="Freeform 92">
                  <a:extLst>
                    <a:ext uri="{FF2B5EF4-FFF2-40B4-BE49-F238E27FC236}">
                      <a16:creationId xmlns:a16="http://schemas.microsoft.com/office/drawing/2014/main" id="{0F1694B8-7F0B-DD5E-95D8-64DEABEE0E26}"/>
                    </a:ext>
                  </a:extLst>
                </p:cNvPr>
                <p:cNvSpPr/>
                <p:nvPr/>
              </p:nvSpPr>
              <p:spPr>
                <a:xfrm>
                  <a:off x="8833361" y="4024394"/>
                  <a:ext cx="270162" cy="91535"/>
                </a:xfrm>
                <a:custGeom>
                  <a:avLst/>
                  <a:gdLst>
                    <a:gd name="connsiteX0" fmla="*/ 266049 w 270162"/>
                    <a:gd name="connsiteY0" fmla="*/ 47651 h 91535"/>
                    <a:gd name="connsiteX1" fmla="*/ 27428 w 270162"/>
                    <a:gd name="connsiteY1" fmla="*/ 6509 h 91535"/>
                    <a:gd name="connsiteX2" fmla="*/ 0 w 270162"/>
                    <a:gd name="connsiteY2" fmla="*/ 39422 h 91535"/>
                    <a:gd name="connsiteX3" fmla="*/ 0 w 270162"/>
                    <a:gd name="connsiteY3" fmla="*/ 75078 h 91535"/>
                    <a:gd name="connsiteX4" fmla="*/ 16457 w 270162"/>
                    <a:gd name="connsiteY4" fmla="*/ 91535 h 91535"/>
                    <a:gd name="connsiteX5" fmla="*/ 32914 w 270162"/>
                    <a:gd name="connsiteY5" fmla="*/ 75078 h 91535"/>
                    <a:gd name="connsiteX6" fmla="*/ 32914 w 270162"/>
                    <a:gd name="connsiteY6" fmla="*/ 39422 h 91535"/>
                    <a:gd name="connsiteX7" fmla="*/ 32914 w 270162"/>
                    <a:gd name="connsiteY7" fmla="*/ 39422 h 91535"/>
                    <a:gd name="connsiteX8" fmla="*/ 137138 w 270162"/>
                    <a:gd name="connsiteY8" fmla="*/ 33937 h 91535"/>
                    <a:gd name="connsiteX9" fmla="*/ 244106 w 270162"/>
                    <a:gd name="connsiteY9" fmla="*/ 72335 h 91535"/>
                    <a:gd name="connsiteX10" fmla="*/ 266049 w 270162"/>
                    <a:gd name="connsiteY10" fmla="*/ 72335 h 91535"/>
                    <a:gd name="connsiteX11" fmla="*/ 266049 w 270162"/>
                    <a:gd name="connsiteY11" fmla="*/ 47651 h 91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0162" h="91535">
                      <a:moveTo>
                        <a:pt x="266049" y="47651"/>
                      </a:moveTo>
                      <a:cubicBezTo>
                        <a:pt x="205708" y="-12690"/>
                        <a:pt x="79540" y="-1719"/>
                        <a:pt x="27428" y="6509"/>
                      </a:cubicBezTo>
                      <a:cubicBezTo>
                        <a:pt x="10971" y="9252"/>
                        <a:pt x="0" y="22966"/>
                        <a:pt x="0" y="39422"/>
                      </a:cubicBezTo>
                      <a:lnTo>
                        <a:pt x="0" y="75078"/>
                      </a:lnTo>
                      <a:cubicBezTo>
                        <a:pt x="0" y="83307"/>
                        <a:pt x="8228" y="91535"/>
                        <a:pt x="16457" y="91535"/>
                      </a:cubicBezTo>
                      <a:cubicBezTo>
                        <a:pt x="24685" y="91535"/>
                        <a:pt x="32914" y="83307"/>
                        <a:pt x="32914" y="75078"/>
                      </a:cubicBezTo>
                      <a:lnTo>
                        <a:pt x="32914" y="39422"/>
                      </a:lnTo>
                      <a:cubicBezTo>
                        <a:pt x="32914" y="39422"/>
                        <a:pt x="32914" y="39422"/>
                        <a:pt x="32914" y="39422"/>
                      </a:cubicBezTo>
                      <a:cubicBezTo>
                        <a:pt x="52112" y="36680"/>
                        <a:pt x="93254" y="31194"/>
                        <a:pt x="137138" y="33937"/>
                      </a:cubicBezTo>
                      <a:cubicBezTo>
                        <a:pt x="186508" y="36680"/>
                        <a:pt x="222164" y="50394"/>
                        <a:pt x="244106" y="72335"/>
                      </a:cubicBezTo>
                      <a:cubicBezTo>
                        <a:pt x="249592" y="77821"/>
                        <a:pt x="260563" y="77821"/>
                        <a:pt x="266049" y="72335"/>
                      </a:cubicBezTo>
                      <a:cubicBezTo>
                        <a:pt x="271534" y="64107"/>
                        <a:pt x="271534" y="53136"/>
                        <a:pt x="266049" y="47651"/>
                      </a:cubicBezTo>
                      <a:close/>
                    </a:path>
                  </a:pathLst>
                </a:custGeom>
                <a:grpFill/>
                <a:ln w="27426" cap="flat">
                  <a:noFill/>
                  <a:prstDash val="solid"/>
                  <a:miter/>
                </a:ln>
              </p:spPr>
              <p:txBody>
                <a:bodyPr rtlCol="0" anchor="ctr"/>
                <a:lstStyle/>
                <a:p>
                  <a:pPr algn="l" rtl="0"/>
                  <a:endParaRPr lang="en-US"/>
                </a:p>
              </p:txBody>
            </p:sp>
            <p:sp>
              <p:nvSpPr>
                <p:cNvPr id="94" name="Freeform 93">
                  <a:extLst>
                    <a:ext uri="{FF2B5EF4-FFF2-40B4-BE49-F238E27FC236}">
                      <a16:creationId xmlns:a16="http://schemas.microsoft.com/office/drawing/2014/main" id="{82E18A57-4C5D-6923-6C14-8A96D2C18D59}"/>
                    </a:ext>
                  </a:extLst>
                </p:cNvPr>
                <p:cNvSpPr/>
                <p:nvPr/>
              </p:nvSpPr>
              <p:spPr>
                <a:xfrm>
                  <a:off x="8764792" y="4579456"/>
                  <a:ext cx="32913" cy="101482"/>
                </a:xfrm>
                <a:custGeom>
                  <a:avLst/>
                  <a:gdLst>
                    <a:gd name="connsiteX0" fmla="*/ 16457 w 32913"/>
                    <a:gd name="connsiteY0" fmla="*/ 0 h 101482"/>
                    <a:gd name="connsiteX1" fmla="*/ 0 w 32913"/>
                    <a:gd name="connsiteY1" fmla="*/ 16457 h 101482"/>
                    <a:gd name="connsiteX2" fmla="*/ 0 w 32913"/>
                    <a:gd name="connsiteY2" fmla="*/ 85026 h 101482"/>
                    <a:gd name="connsiteX3" fmla="*/ 16457 w 32913"/>
                    <a:gd name="connsiteY3" fmla="*/ 101482 h 101482"/>
                    <a:gd name="connsiteX4" fmla="*/ 32914 w 32913"/>
                    <a:gd name="connsiteY4" fmla="*/ 85026 h 101482"/>
                    <a:gd name="connsiteX5" fmla="*/ 32914 w 32913"/>
                    <a:gd name="connsiteY5" fmla="*/ 16457 h 101482"/>
                    <a:gd name="connsiteX6" fmla="*/ 16457 w 32913"/>
                    <a:gd name="connsiteY6" fmla="*/ 0 h 10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13" h="101482">
                      <a:moveTo>
                        <a:pt x="16457" y="0"/>
                      </a:moveTo>
                      <a:cubicBezTo>
                        <a:pt x="8228" y="0"/>
                        <a:pt x="0" y="8228"/>
                        <a:pt x="0" y="16457"/>
                      </a:cubicBezTo>
                      <a:lnTo>
                        <a:pt x="0" y="85026"/>
                      </a:lnTo>
                      <a:cubicBezTo>
                        <a:pt x="0" y="93254"/>
                        <a:pt x="8228" y="101482"/>
                        <a:pt x="16457" y="101482"/>
                      </a:cubicBezTo>
                      <a:cubicBezTo>
                        <a:pt x="24685" y="101482"/>
                        <a:pt x="32914" y="93254"/>
                        <a:pt x="32914" y="85026"/>
                      </a:cubicBezTo>
                      <a:lnTo>
                        <a:pt x="32914" y="16457"/>
                      </a:lnTo>
                      <a:cubicBezTo>
                        <a:pt x="32914" y="8228"/>
                        <a:pt x="24685" y="0"/>
                        <a:pt x="16457" y="0"/>
                      </a:cubicBezTo>
                      <a:close/>
                    </a:path>
                  </a:pathLst>
                </a:custGeom>
                <a:grpFill/>
                <a:ln w="27426" cap="flat">
                  <a:noFill/>
                  <a:prstDash val="solid"/>
                  <a:miter/>
                </a:ln>
              </p:spPr>
              <p:txBody>
                <a:bodyPr rtlCol="0" anchor="ctr"/>
                <a:lstStyle/>
                <a:p>
                  <a:pPr algn="l" rtl="0"/>
                  <a:endParaRPr lang="en-US"/>
                </a:p>
              </p:txBody>
            </p:sp>
            <p:sp>
              <p:nvSpPr>
                <p:cNvPr id="95" name="Freeform 94">
                  <a:extLst>
                    <a:ext uri="{FF2B5EF4-FFF2-40B4-BE49-F238E27FC236}">
                      <a16:creationId xmlns:a16="http://schemas.microsoft.com/office/drawing/2014/main" id="{F1F92237-F23C-258E-E259-E0D91B43F1EC}"/>
                    </a:ext>
                  </a:extLst>
                </p:cNvPr>
                <p:cNvSpPr/>
                <p:nvPr/>
              </p:nvSpPr>
              <p:spPr>
                <a:xfrm>
                  <a:off x="9140551" y="4579456"/>
                  <a:ext cx="32912" cy="101482"/>
                </a:xfrm>
                <a:custGeom>
                  <a:avLst/>
                  <a:gdLst>
                    <a:gd name="connsiteX0" fmla="*/ 16456 w 32912"/>
                    <a:gd name="connsiteY0" fmla="*/ 0 h 101482"/>
                    <a:gd name="connsiteX1" fmla="*/ 0 w 32912"/>
                    <a:gd name="connsiteY1" fmla="*/ 16457 h 101482"/>
                    <a:gd name="connsiteX2" fmla="*/ 0 w 32912"/>
                    <a:gd name="connsiteY2" fmla="*/ 85026 h 101482"/>
                    <a:gd name="connsiteX3" fmla="*/ 16456 w 32912"/>
                    <a:gd name="connsiteY3" fmla="*/ 101482 h 101482"/>
                    <a:gd name="connsiteX4" fmla="*/ 32913 w 32912"/>
                    <a:gd name="connsiteY4" fmla="*/ 85026 h 101482"/>
                    <a:gd name="connsiteX5" fmla="*/ 32913 w 32912"/>
                    <a:gd name="connsiteY5" fmla="*/ 16457 h 101482"/>
                    <a:gd name="connsiteX6" fmla="*/ 16456 w 32912"/>
                    <a:gd name="connsiteY6" fmla="*/ 0 h 10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12" h="101482">
                      <a:moveTo>
                        <a:pt x="16456" y="0"/>
                      </a:moveTo>
                      <a:cubicBezTo>
                        <a:pt x="8228" y="0"/>
                        <a:pt x="0" y="8228"/>
                        <a:pt x="0" y="16457"/>
                      </a:cubicBezTo>
                      <a:lnTo>
                        <a:pt x="0" y="85026"/>
                      </a:lnTo>
                      <a:cubicBezTo>
                        <a:pt x="0" y="93254"/>
                        <a:pt x="8228" y="101482"/>
                        <a:pt x="16456" y="101482"/>
                      </a:cubicBezTo>
                      <a:cubicBezTo>
                        <a:pt x="24685" y="101482"/>
                        <a:pt x="32913" y="93254"/>
                        <a:pt x="32913" y="85026"/>
                      </a:cubicBezTo>
                      <a:lnTo>
                        <a:pt x="32913" y="16457"/>
                      </a:lnTo>
                      <a:cubicBezTo>
                        <a:pt x="32913" y="8228"/>
                        <a:pt x="24685" y="0"/>
                        <a:pt x="16456" y="0"/>
                      </a:cubicBezTo>
                      <a:close/>
                    </a:path>
                  </a:pathLst>
                </a:custGeom>
                <a:grpFill/>
                <a:ln w="27426" cap="flat">
                  <a:noFill/>
                  <a:prstDash val="solid"/>
                  <a:miter/>
                </a:ln>
              </p:spPr>
              <p:txBody>
                <a:bodyPr rtlCol="0" anchor="ctr"/>
                <a:lstStyle/>
                <a:p>
                  <a:pPr algn="l" rtl="0"/>
                  <a:endParaRPr lang="en-US"/>
                </a:p>
              </p:txBody>
            </p:sp>
            <p:sp>
              <p:nvSpPr>
                <p:cNvPr id="96" name="Freeform 95">
                  <a:extLst>
                    <a:ext uri="{FF2B5EF4-FFF2-40B4-BE49-F238E27FC236}">
                      <a16:creationId xmlns:a16="http://schemas.microsoft.com/office/drawing/2014/main" id="{A6D382BC-57D6-EEC5-13AF-930D5A3CE4A3}"/>
                    </a:ext>
                  </a:extLst>
                </p:cNvPr>
                <p:cNvSpPr/>
                <p:nvPr/>
              </p:nvSpPr>
              <p:spPr>
                <a:xfrm>
                  <a:off x="8852561" y="4409405"/>
                  <a:ext cx="90510" cy="91730"/>
                </a:xfrm>
                <a:custGeom>
                  <a:avLst/>
                  <a:gdLst>
                    <a:gd name="connsiteX0" fmla="*/ 52112 w 90510"/>
                    <a:gd name="connsiteY0" fmla="*/ 90511 h 91730"/>
                    <a:gd name="connsiteX1" fmla="*/ 52112 w 90510"/>
                    <a:gd name="connsiteY1" fmla="*/ 90511 h 91730"/>
                    <a:gd name="connsiteX2" fmla="*/ 52112 w 90510"/>
                    <a:gd name="connsiteY2" fmla="*/ 90511 h 91730"/>
                    <a:gd name="connsiteX3" fmla="*/ 0 w 90510"/>
                    <a:gd name="connsiteY3" fmla="*/ 16456 h 91730"/>
                    <a:gd name="connsiteX4" fmla="*/ 16456 w 90510"/>
                    <a:gd name="connsiteY4" fmla="*/ 0 h 91730"/>
                    <a:gd name="connsiteX5" fmla="*/ 90511 w 90510"/>
                    <a:gd name="connsiteY5" fmla="*/ 52112 h 91730"/>
                    <a:gd name="connsiteX6" fmla="*/ 52112 w 90510"/>
                    <a:gd name="connsiteY6" fmla="*/ 90511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510" h="91730">
                      <a:moveTo>
                        <a:pt x="52112" y="90511"/>
                      </a:moveTo>
                      <a:cubicBezTo>
                        <a:pt x="52112" y="90511"/>
                        <a:pt x="52112" y="93254"/>
                        <a:pt x="52112" y="90511"/>
                      </a:cubicBezTo>
                      <a:cubicBezTo>
                        <a:pt x="49369" y="93254"/>
                        <a:pt x="49369" y="90511"/>
                        <a:pt x="52112" y="90511"/>
                      </a:cubicBezTo>
                      <a:lnTo>
                        <a:pt x="0" y="16456"/>
                      </a:lnTo>
                      <a:lnTo>
                        <a:pt x="16456" y="0"/>
                      </a:lnTo>
                      <a:lnTo>
                        <a:pt x="90511" y="52112"/>
                      </a:lnTo>
                      <a:lnTo>
                        <a:pt x="52112" y="90511"/>
                      </a:lnTo>
                      <a:close/>
                    </a:path>
                  </a:pathLst>
                </a:custGeom>
                <a:grpFill/>
                <a:ln w="27426" cap="flat">
                  <a:noFill/>
                  <a:prstDash val="solid"/>
                  <a:miter/>
                </a:ln>
              </p:spPr>
              <p:txBody>
                <a:bodyPr rtlCol="0" anchor="ctr"/>
                <a:lstStyle/>
                <a:p>
                  <a:pPr algn="l" rtl="0"/>
                  <a:endParaRPr lang="en-US"/>
                </a:p>
              </p:txBody>
            </p:sp>
            <p:sp>
              <p:nvSpPr>
                <p:cNvPr id="97" name="Freeform 96">
                  <a:extLst>
                    <a:ext uri="{FF2B5EF4-FFF2-40B4-BE49-F238E27FC236}">
                      <a16:creationId xmlns:a16="http://schemas.microsoft.com/office/drawing/2014/main" id="{97FA79FF-45E4-FB4A-0381-8796B790C031}"/>
                    </a:ext>
                  </a:extLst>
                </p:cNvPr>
                <p:cNvSpPr/>
                <p:nvPr/>
              </p:nvSpPr>
              <p:spPr>
                <a:xfrm>
                  <a:off x="8995184" y="4409405"/>
                  <a:ext cx="90511" cy="92568"/>
                </a:xfrm>
                <a:custGeom>
                  <a:avLst/>
                  <a:gdLst>
                    <a:gd name="connsiteX0" fmla="*/ 41142 w 90511"/>
                    <a:gd name="connsiteY0" fmla="*/ 90511 h 92568"/>
                    <a:gd name="connsiteX1" fmla="*/ 41142 w 90511"/>
                    <a:gd name="connsiteY1" fmla="*/ 90511 h 92568"/>
                    <a:gd name="connsiteX2" fmla="*/ 41142 w 90511"/>
                    <a:gd name="connsiteY2" fmla="*/ 90511 h 92568"/>
                    <a:gd name="connsiteX3" fmla="*/ 0 w 90511"/>
                    <a:gd name="connsiteY3" fmla="*/ 52112 h 92568"/>
                    <a:gd name="connsiteX4" fmla="*/ 74055 w 90511"/>
                    <a:gd name="connsiteY4" fmla="*/ 0 h 92568"/>
                    <a:gd name="connsiteX5" fmla="*/ 90512 w 90511"/>
                    <a:gd name="connsiteY5" fmla="*/ 16456 h 92568"/>
                    <a:gd name="connsiteX6" fmla="*/ 41142 w 90511"/>
                    <a:gd name="connsiteY6" fmla="*/ 90511 h 92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511" h="92568">
                      <a:moveTo>
                        <a:pt x="41142" y="90511"/>
                      </a:moveTo>
                      <a:cubicBezTo>
                        <a:pt x="41142" y="90511"/>
                        <a:pt x="41142" y="93254"/>
                        <a:pt x="41142" y="90511"/>
                      </a:cubicBezTo>
                      <a:cubicBezTo>
                        <a:pt x="38399" y="93254"/>
                        <a:pt x="38399" y="93254"/>
                        <a:pt x="41142" y="90511"/>
                      </a:cubicBezTo>
                      <a:lnTo>
                        <a:pt x="0" y="52112"/>
                      </a:lnTo>
                      <a:lnTo>
                        <a:pt x="74055" y="0"/>
                      </a:lnTo>
                      <a:lnTo>
                        <a:pt x="90512" y="16456"/>
                      </a:lnTo>
                      <a:lnTo>
                        <a:pt x="41142" y="90511"/>
                      </a:lnTo>
                      <a:close/>
                    </a:path>
                  </a:pathLst>
                </a:custGeom>
                <a:grpFill/>
                <a:ln w="27426" cap="flat">
                  <a:noFill/>
                  <a:prstDash val="solid"/>
                  <a:miter/>
                </a:ln>
              </p:spPr>
              <p:txBody>
                <a:bodyPr rtlCol="0" anchor="ctr"/>
                <a:lstStyle/>
                <a:p>
                  <a:pPr algn="l" rtl="0"/>
                  <a:endParaRPr lang="en-US"/>
                </a:p>
              </p:txBody>
            </p:sp>
            <p:sp>
              <p:nvSpPr>
                <p:cNvPr id="98" name="Freeform 97">
                  <a:extLst>
                    <a:ext uri="{FF2B5EF4-FFF2-40B4-BE49-F238E27FC236}">
                      <a16:creationId xmlns:a16="http://schemas.microsoft.com/office/drawing/2014/main" id="{7792B061-DB9B-68DA-4A2E-624B11501E42}"/>
                    </a:ext>
                  </a:extLst>
                </p:cNvPr>
                <p:cNvSpPr/>
                <p:nvPr/>
              </p:nvSpPr>
              <p:spPr>
                <a:xfrm>
                  <a:off x="9412085" y="4546543"/>
                  <a:ext cx="32912" cy="134395"/>
                </a:xfrm>
                <a:custGeom>
                  <a:avLst/>
                  <a:gdLst>
                    <a:gd name="connsiteX0" fmla="*/ 16457 w 32912"/>
                    <a:gd name="connsiteY0" fmla="*/ 0 h 134395"/>
                    <a:gd name="connsiteX1" fmla="*/ 0 w 32912"/>
                    <a:gd name="connsiteY1" fmla="*/ 16456 h 134395"/>
                    <a:gd name="connsiteX2" fmla="*/ 0 w 32912"/>
                    <a:gd name="connsiteY2" fmla="*/ 117939 h 134395"/>
                    <a:gd name="connsiteX3" fmla="*/ 16457 w 32912"/>
                    <a:gd name="connsiteY3" fmla="*/ 134395 h 134395"/>
                    <a:gd name="connsiteX4" fmla="*/ 32913 w 32912"/>
                    <a:gd name="connsiteY4" fmla="*/ 117939 h 134395"/>
                    <a:gd name="connsiteX5" fmla="*/ 32913 w 32912"/>
                    <a:gd name="connsiteY5" fmla="*/ 16456 h 134395"/>
                    <a:gd name="connsiteX6" fmla="*/ 16457 w 32912"/>
                    <a:gd name="connsiteY6" fmla="*/ 0 h 134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12" h="134395">
                      <a:moveTo>
                        <a:pt x="16457" y="0"/>
                      </a:moveTo>
                      <a:cubicBezTo>
                        <a:pt x="8228" y="0"/>
                        <a:pt x="0" y="8228"/>
                        <a:pt x="0" y="16456"/>
                      </a:cubicBezTo>
                      <a:lnTo>
                        <a:pt x="0" y="117939"/>
                      </a:lnTo>
                      <a:cubicBezTo>
                        <a:pt x="0" y="126167"/>
                        <a:pt x="8228" y="134395"/>
                        <a:pt x="16457" y="134395"/>
                      </a:cubicBezTo>
                      <a:cubicBezTo>
                        <a:pt x="24685" y="134395"/>
                        <a:pt x="32913" y="126167"/>
                        <a:pt x="32913" y="117939"/>
                      </a:cubicBezTo>
                      <a:lnTo>
                        <a:pt x="32913" y="16456"/>
                      </a:lnTo>
                      <a:cubicBezTo>
                        <a:pt x="32913" y="5485"/>
                        <a:pt x="24685" y="0"/>
                        <a:pt x="16457" y="0"/>
                      </a:cubicBezTo>
                      <a:close/>
                    </a:path>
                  </a:pathLst>
                </a:custGeom>
                <a:grpFill/>
                <a:ln w="27426" cap="flat">
                  <a:noFill/>
                  <a:prstDash val="solid"/>
                  <a:miter/>
                </a:ln>
              </p:spPr>
              <p:txBody>
                <a:bodyPr rtlCol="0" anchor="ctr"/>
                <a:lstStyle/>
                <a:p>
                  <a:pPr algn="l" rtl="0"/>
                  <a:endParaRPr lang="en-US"/>
                </a:p>
              </p:txBody>
            </p:sp>
          </p:grpSp>
        </p:grpSp>
        <p:grpSp>
          <p:nvGrpSpPr>
            <p:cNvPr id="99" name="Graphic 2">
              <a:extLst>
                <a:ext uri="{FF2B5EF4-FFF2-40B4-BE49-F238E27FC236}">
                  <a16:creationId xmlns:a16="http://schemas.microsoft.com/office/drawing/2014/main" id="{265D39D9-1B8B-5ACC-DF7E-93141EA06E77}"/>
                </a:ext>
              </a:extLst>
            </p:cNvPr>
            <p:cNvGrpSpPr/>
            <p:nvPr/>
          </p:nvGrpSpPr>
          <p:grpSpPr>
            <a:xfrm>
              <a:off x="5090894" y="3193881"/>
              <a:ext cx="696354" cy="704528"/>
              <a:chOff x="7190753" y="5365577"/>
              <a:chExt cx="745522" cy="754273"/>
            </a:xfrm>
            <a:solidFill>
              <a:schemeClr val="bg1"/>
            </a:solidFill>
          </p:grpSpPr>
          <p:sp>
            <p:nvSpPr>
              <p:cNvPr id="100" name="Freeform 99">
                <a:extLst>
                  <a:ext uri="{FF2B5EF4-FFF2-40B4-BE49-F238E27FC236}">
                    <a16:creationId xmlns:a16="http://schemas.microsoft.com/office/drawing/2014/main" id="{0881296B-7853-4428-2FDE-671A5A93FE56}"/>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8">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101" name="Freeform 100">
                <a:extLst>
                  <a:ext uri="{FF2B5EF4-FFF2-40B4-BE49-F238E27FC236}">
                    <a16:creationId xmlns:a16="http://schemas.microsoft.com/office/drawing/2014/main" id="{204D1750-A423-DDE5-B4C1-C4694F86A636}"/>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102" name="Freeform 101">
                <a:extLst>
                  <a:ext uri="{FF2B5EF4-FFF2-40B4-BE49-F238E27FC236}">
                    <a16:creationId xmlns:a16="http://schemas.microsoft.com/office/drawing/2014/main" id="{723514CC-CE82-E82A-090F-63F82728053D}"/>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2">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103" name="Freeform 102">
                <a:extLst>
                  <a:ext uri="{FF2B5EF4-FFF2-40B4-BE49-F238E27FC236}">
                    <a16:creationId xmlns:a16="http://schemas.microsoft.com/office/drawing/2014/main" id="{9F41B479-3EE4-7881-F5F7-286F2CE7D72E}"/>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104" name="Freeform 103">
                <a:extLst>
                  <a:ext uri="{FF2B5EF4-FFF2-40B4-BE49-F238E27FC236}">
                    <a16:creationId xmlns:a16="http://schemas.microsoft.com/office/drawing/2014/main" id="{8D857E31-CE8A-4A16-6AE2-94E3F79B34E2}"/>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105" name="Freeform 104">
                <a:extLst>
                  <a:ext uri="{FF2B5EF4-FFF2-40B4-BE49-F238E27FC236}">
                    <a16:creationId xmlns:a16="http://schemas.microsoft.com/office/drawing/2014/main" id="{C7AA5A05-9FE6-B75D-BB56-2058DD999F96}"/>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106" name="Freeform 105">
                <a:extLst>
                  <a:ext uri="{FF2B5EF4-FFF2-40B4-BE49-F238E27FC236}">
                    <a16:creationId xmlns:a16="http://schemas.microsoft.com/office/drawing/2014/main" id="{4126B7E0-C142-D620-D6B3-202333FEA12E}"/>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107" name="Freeform 106">
                <a:extLst>
                  <a:ext uri="{FF2B5EF4-FFF2-40B4-BE49-F238E27FC236}">
                    <a16:creationId xmlns:a16="http://schemas.microsoft.com/office/drawing/2014/main" id="{47104B21-D622-45AF-3F21-C6AE9E80D401}"/>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108" name="Freeform 107">
                <a:extLst>
                  <a:ext uri="{FF2B5EF4-FFF2-40B4-BE49-F238E27FC236}">
                    <a16:creationId xmlns:a16="http://schemas.microsoft.com/office/drawing/2014/main" id="{20F6F1BA-0B42-49E2-9DDF-16A1B0606F6F}"/>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grpSp>
        <p:cxnSp>
          <p:nvCxnSpPr>
            <p:cNvPr id="109" name="Straight Connector 108">
              <a:extLst>
                <a:ext uri="{FF2B5EF4-FFF2-40B4-BE49-F238E27FC236}">
                  <a16:creationId xmlns:a16="http://schemas.microsoft.com/office/drawing/2014/main" id="{2000604A-B20F-EB2A-627F-F95068AF2343}"/>
                </a:ext>
              </a:extLst>
            </p:cNvPr>
            <p:cNvCxnSpPr/>
            <p:nvPr/>
          </p:nvCxnSpPr>
          <p:spPr>
            <a:xfrm>
              <a:off x="3132654" y="4421555"/>
              <a:ext cx="1048319" cy="0"/>
            </a:xfrm>
            <a:prstGeom prst="line">
              <a:avLst/>
            </a:prstGeom>
            <a:ln w="1905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F2CFA78-4B9F-AC46-48D5-9C2F28F2016D}"/>
                </a:ext>
              </a:extLst>
            </p:cNvPr>
            <p:cNvCxnSpPr>
              <a:cxnSpLocks/>
            </p:cNvCxnSpPr>
            <p:nvPr/>
          </p:nvCxnSpPr>
          <p:spPr>
            <a:xfrm>
              <a:off x="3917149" y="2963933"/>
              <a:ext cx="446543" cy="0"/>
            </a:xfrm>
            <a:prstGeom prst="line">
              <a:avLst/>
            </a:prstGeom>
            <a:ln w="19050">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276D6838-BFE2-6DD0-E66A-9D6E345D2D09}"/>
                </a:ext>
              </a:extLst>
            </p:cNvPr>
            <p:cNvCxnSpPr/>
            <p:nvPr/>
          </p:nvCxnSpPr>
          <p:spPr>
            <a:xfrm>
              <a:off x="4037941" y="5929861"/>
              <a:ext cx="1048319" cy="0"/>
            </a:xfrm>
            <a:prstGeom prst="line">
              <a:avLst/>
            </a:prstGeom>
            <a:ln w="19050">
              <a:solidFill>
                <a:srgbClr val="EDA13E"/>
              </a:solidFill>
              <a:prstDash val="sysDot"/>
            </a:ln>
          </p:spPr>
          <p:style>
            <a:lnRef idx="1">
              <a:schemeClr val="accent1"/>
            </a:lnRef>
            <a:fillRef idx="0">
              <a:schemeClr val="accent1"/>
            </a:fillRef>
            <a:effectRef idx="0">
              <a:schemeClr val="accent1"/>
            </a:effectRef>
            <a:fontRef idx="minor">
              <a:schemeClr val="tx1"/>
            </a:fontRef>
          </p:style>
        </p:cxnSp>
        <p:sp>
          <p:nvSpPr>
            <p:cNvPr id="112" name="Text Placeholder 2">
              <a:extLst>
                <a:ext uri="{FF2B5EF4-FFF2-40B4-BE49-F238E27FC236}">
                  <a16:creationId xmlns:a16="http://schemas.microsoft.com/office/drawing/2014/main" id="{5C38E1EB-2AB0-604B-5CEF-169E23540B6A}"/>
                </a:ext>
              </a:extLst>
            </p:cNvPr>
            <p:cNvSpPr txBox="1">
              <a:spLocks/>
            </p:cNvSpPr>
            <p:nvPr/>
          </p:nvSpPr>
          <p:spPr>
            <a:xfrm>
              <a:off x="7405685" y="4117497"/>
              <a:ext cx="813649" cy="13065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None/>
              </a:pPr>
              <a:r>
                <a:rPr lang="en-US" sz="4000" dirty="0">
                  <a:solidFill>
                    <a:schemeClr val="bg1"/>
                  </a:solidFill>
                </a:rPr>
                <a:t>02</a:t>
              </a:r>
            </a:p>
          </p:txBody>
        </p:sp>
        <p:sp>
          <p:nvSpPr>
            <p:cNvPr id="113" name="Text Placeholder 2">
              <a:extLst>
                <a:ext uri="{FF2B5EF4-FFF2-40B4-BE49-F238E27FC236}">
                  <a16:creationId xmlns:a16="http://schemas.microsoft.com/office/drawing/2014/main" id="{ACEF241F-163D-9662-04AE-005B9A67F389}"/>
                </a:ext>
              </a:extLst>
            </p:cNvPr>
            <p:cNvSpPr txBox="1">
              <a:spLocks/>
            </p:cNvSpPr>
            <p:nvPr/>
          </p:nvSpPr>
          <p:spPr>
            <a:xfrm>
              <a:off x="6633432" y="5660233"/>
              <a:ext cx="813649" cy="13065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None/>
              </a:pPr>
              <a:r>
                <a:rPr lang="en-US" sz="4000" dirty="0">
                  <a:solidFill>
                    <a:schemeClr val="bg1"/>
                  </a:solidFill>
                </a:rPr>
                <a:t>03</a:t>
              </a:r>
            </a:p>
          </p:txBody>
        </p:sp>
        <p:sp>
          <p:nvSpPr>
            <p:cNvPr id="114" name="Text Placeholder 2">
              <a:extLst>
                <a:ext uri="{FF2B5EF4-FFF2-40B4-BE49-F238E27FC236}">
                  <a16:creationId xmlns:a16="http://schemas.microsoft.com/office/drawing/2014/main" id="{8239AC02-5450-0979-7969-7A788CDE2B6B}"/>
                </a:ext>
              </a:extLst>
            </p:cNvPr>
            <p:cNvSpPr txBox="1">
              <a:spLocks/>
            </p:cNvSpPr>
            <p:nvPr/>
          </p:nvSpPr>
          <p:spPr>
            <a:xfrm>
              <a:off x="4357299" y="5650246"/>
              <a:ext cx="813649" cy="13065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None/>
              </a:pPr>
              <a:r>
                <a:rPr lang="en-US" sz="4000" dirty="0">
                  <a:solidFill>
                    <a:schemeClr val="bg1"/>
                  </a:solidFill>
                </a:rPr>
                <a:t>04</a:t>
              </a:r>
            </a:p>
          </p:txBody>
        </p:sp>
        <p:sp>
          <p:nvSpPr>
            <p:cNvPr id="115" name="Text Placeholder 2">
              <a:extLst>
                <a:ext uri="{FF2B5EF4-FFF2-40B4-BE49-F238E27FC236}">
                  <a16:creationId xmlns:a16="http://schemas.microsoft.com/office/drawing/2014/main" id="{01520EFC-EAA4-2109-C7BB-E99AD2750388}"/>
                </a:ext>
              </a:extLst>
            </p:cNvPr>
            <p:cNvSpPr txBox="1">
              <a:spLocks/>
            </p:cNvSpPr>
            <p:nvPr/>
          </p:nvSpPr>
          <p:spPr>
            <a:xfrm>
              <a:off x="3550043" y="4100660"/>
              <a:ext cx="813649" cy="13065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None/>
              </a:pPr>
              <a:r>
                <a:rPr lang="en-US" sz="4000" dirty="0">
                  <a:solidFill>
                    <a:schemeClr val="bg1"/>
                  </a:solidFill>
                </a:rPr>
                <a:t>05</a:t>
              </a:r>
            </a:p>
          </p:txBody>
        </p:sp>
        <p:sp>
          <p:nvSpPr>
            <p:cNvPr id="116" name="Text Placeholder 2">
              <a:extLst>
                <a:ext uri="{FF2B5EF4-FFF2-40B4-BE49-F238E27FC236}">
                  <a16:creationId xmlns:a16="http://schemas.microsoft.com/office/drawing/2014/main" id="{1B0D154D-94E2-C198-955D-03C7462E51C3}"/>
                </a:ext>
              </a:extLst>
            </p:cNvPr>
            <p:cNvSpPr txBox="1">
              <a:spLocks/>
            </p:cNvSpPr>
            <p:nvPr/>
          </p:nvSpPr>
          <p:spPr>
            <a:xfrm>
              <a:off x="4369915" y="2646969"/>
              <a:ext cx="813649" cy="13065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None/>
              </a:pPr>
              <a:r>
                <a:rPr lang="en-US" sz="4000" dirty="0">
                  <a:solidFill>
                    <a:schemeClr val="bg1"/>
                  </a:solidFill>
                </a:rPr>
                <a:t>06</a:t>
              </a:r>
            </a:p>
          </p:txBody>
        </p:sp>
        <p:grpSp>
          <p:nvGrpSpPr>
            <p:cNvPr id="117" name="Graphic 2">
              <a:extLst>
                <a:ext uri="{FF2B5EF4-FFF2-40B4-BE49-F238E27FC236}">
                  <a16:creationId xmlns:a16="http://schemas.microsoft.com/office/drawing/2014/main" id="{5A81C7C3-5770-7954-C6F7-9B660BE5C892}"/>
                </a:ext>
              </a:extLst>
            </p:cNvPr>
            <p:cNvGrpSpPr/>
            <p:nvPr/>
          </p:nvGrpSpPr>
          <p:grpSpPr>
            <a:xfrm>
              <a:off x="6545948" y="4050491"/>
              <a:ext cx="713640" cy="712940"/>
              <a:chOff x="10376768" y="2334933"/>
              <a:chExt cx="920484" cy="919581"/>
            </a:xfrm>
            <a:solidFill>
              <a:schemeClr val="bg1"/>
            </a:solidFill>
          </p:grpSpPr>
          <p:sp>
            <p:nvSpPr>
              <p:cNvPr id="118" name="Freeform 117">
                <a:extLst>
                  <a:ext uri="{FF2B5EF4-FFF2-40B4-BE49-F238E27FC236}">
                    <a16:creationId xmlns:a16="http://schemas.microsoft.com/office/drawing/2014/main" id="{1A31F3FF-6326-5569-705C-020C08EC41FC}"/>
                  </a:ext>
                </a:extLst>
              </p:cNvPr>
              <p:cNvSpPr/>
              <p:nvPr/>
            </p:nvSpPr>
            <p:spPr>
              <a:xfrm>
                <a:off x="11043419" y="2944675"/>
                <a:ext cx="88525" cy="88525"/>
              </a:xfrm>
              <a:custGeom>
                <a:avLst/>
                <a:gdLst>
                  <a:gd name="connsiteX0" fmla="*/ 44263 w 88525"/>
                  <a:gd name="connsiteY0" fmla="*/ 88525 h 88525"/>
                  <a:gd name="connsiteX1" fmla="*/ 88525 w 88525"/>
                  <a:gd name="connsiteY1" fmla="*/ 44263 h 88525"/>
                  <a:gd name="connsiteX2" fmla="*/ 44263 w 88525"/>
                  <a:gd name="connsiteY2" fmla="*/ 0 h 88525"/>
                  <a:gd name="connsiteX3" fmla="*/ 0 w 88525"/>
                  <a:gd name="connsiteY3" fmla="*/ 44263 h 88525"/>
                  <a:gd name="connsiteX4" fmla="*/ 44263 w 88525"/>
                  <a:gd name="connsiteY4" fmla="*/ 88525 h 88525"/>
                  <a:gd name="connsiteX5" fmla="*/ 44263 w 88525"/>
                  <a:gd name="connsiteY5" fmla="*/ 28906 h 88525"/>
                  <a:gd name="connsiteX6" fmla="*/ 58716 w 88525"/>
                  <a:gd name="connsiteY6" fmla="*/ 43359 h 88525"/>
                  <a:gd name="connsiteX7" fmla="*/ 44263 w 88525"/>
                  <a:gd name="connsiteY7" fmla="*/ 57813 h 88525"/>
                  <a:gd name="connsiteX8" fmla="*/ 29809 w 88525"/>
                  <a:gd name="connsiteY8" fmla="*/ 43359 h 88525"/>
                  <a:gd name="connsiteX9" fmla="*/ 44263 w 88525"/>
                  <a:gd name="connsiteY9" fmla="*/ 28906 h 8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525" h="88525">
                    <a:moveTo>
                      <a:pt x="44263" y="88525"/>
                    </a:moveTo>
                    <a:cubicBezTo>
                      <a:pt x="68652" y="88525"/>
                      <a:pt x="88525" y="68652"/>
                      <a:pt x="88525" y="44263"/>
                    </a:cubicBezTo>
                    <a:cubicBezTo>
                      <a:pt x="88525" y="19873"/>
                      <a:pt x="68652" y="0"/>
                      <a:pt x="44263" y="0"/>
                    </a:cubicBezTo>
                    <a:cubicBezTo>
                      <a:pt x="19873" y="0"/>
                      <a:pt x="0" y="19873"/>
                      <a:pt x="0" y="44263"/>
                    </a:cubicBezTo>
                    <a:cubicBezTo>
                      <a:pt x="0" y="68652"/>
                      <a:pt x="19873" y="88525"/>
                      <a:pt x="44263" y="88525"/>
                    </a:cubicBezTo>
                    <a:close/>
                    <a:moveTo>
                      <a:pt x="44263" y="28906"/>
                    </a:moveTo>
                    <a:cubicBezTo>
                      <a:pt x="52393" y="28906"/>
                      <a:pt x="58716" y="35230"/>
                      <a:pt x="58716" y="43359"/>
                    </a:cubicBezTo>
                    <a:cubicBezTo>
                      <a:pt x="58716" y="51489"/>
                      <a:pt x="52393" y="57813"/>
                      <a:pt x="44263" y="57813"/>
                    </a:cubicBezTo>
                    <a:cubicBezTo>
                      <a:pt x="36133" y="57813"/>
                      <a:pt x="29809" y="51489"/>
                      <a:pt x="29809" y="43359"/>
                    </a:cubicBezTo>
                    <a:cubicBezTo>
                      <a:pt x="29809" y="35230"/>
                      <a:pt x="36133" y="28906"/>
                      <a:pt x="44263" y="28906"/>
                    </a:cubicBez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sp>
            <p:nvSpPr>
              <p:cNvPr id="119" name="Freeform 118">
                <a:extLst>
                  <a:ext uri="{FF2B5EF4-FFF2-40B4-BE49-F238E27FC236}">
                    <a16:creationId xmlns:a16="http://schemas.microsoft.com/office/drawing/2014/main" id="{2ED330E6-3274-7DD0-0FFF-1107269B2ABD}"/>
                  </a:ext>
                </a:extLst>
              </p:cNvPr>
              <p:cNvSpPr/>
              <p:nvPr/>
            </p:nvSpPr>
            <p:spPr>
              <a:xfrm>
                <a:off x="10376768" y="2334933"/>
                <a:ext cx="920484" cy="919581"/>
              </a:xfrm>
              <a:custGeom>
                <a:avLst/>
                <a:gdLst>
                  <a:gd name="connsiteX0" fmla="*/ 861768 w 920484"/>
                  <a:gd name="connsiteY0" fmla="*/ 590772 h 919581"/>
                  <a:gd name="connsiteX1" fmla="*/ 868092 w 920484"/>
                  <a:gd name="connsiteY1" fmla="*/ 559156 h 919581"/>
                  <a:gd name="connsiteX2" fmla="*/ 889772 w 920484"/>
                  <a:gd name="connsiteY2" fmla="*/ 537476 h 919581"/>
                  <a:gd name="connsiteX3" fmla="*/ 826539 w 920484"/>
                  <a:gd name="connsiteY3" fmla="*/ 474244 h 919581"/>
                  <a:gd name="connsiteX4" fmla="*/ 804859 w 920484"/>
                  <a:gd name="connsiteY4" fmla="*/ 495924 h 919581"/>
                  <a:gd name="connsiteX5" fmla="*/ 773243 w 920484"/>
                  <a:gd name="connsiteY5" fmla="*/ 501343 h 919581"/>
                  <a:gd name="connsiteX6" fmla="*/ 756080 w 920484"/>
                  <a:gd name="connsiteY6" fmla="*/ 475147 h 919581"/>
                  <a:gd name="connsiteX7" fmla="*/ 756080 w 920484"/>
                  <a:gd name="connsiteY7" fmla="*/ 444434 h 919581"/>
                  <a:gd name="connsiteX8" fmla="*/ 725367 w 920484"/>
                  <a:gd name="connsiteY8" fmla="*/ 444434 h 919581"/>
                  <a:gd name="connsiteX9" fmla="*/ 711817 w 920484"/>
                  <a:gd name="connsiteY9" fmla="*/ 375782 h 919581"/>
                  <a:gd name="connsiteX10" fmla="*/ 883448 w 920484"/>
                  <a:gd name="connsiteY10" fmla="*/ 204150 h 919581"/>
                  <a:gd name="connsiteX11" fmla="*/ 918678 w 920484"/>
                  <a:gd name="connsiteY11" fmla="*/ 119239 h 919581"/>
                  <a:gd name="connsiteX12" fmla="*/ 799440 w 920484"/>
                  <a:gd name="connsiteY12" fmla="*/ 0 h 919581"/>
                  <a:gd name="connsiteX13" fmla="*/ 714527 w 920484"/>
                  <a:gd name="connsiteY13" fmla="*/ 35230 h 919581"/>
                  <a:gd name="connsiteX14" fmla="*/ 542896 w 920484"/>
                  <a:gd name="connsiteY14" fmla="*/ 206861 h 919581"/>
                  <a:gd name="connsiteX15" fmla="*/ 473340 w 920484"/>
                  <a:gd name="connsiteY15" fmla="*/ 194214 h 919581"/>
                  <a:gd name="connsiteX16" fmla="*/ 370362 w 920484"/>
                  <a:gd name="connsiteY16" fmla="*/ 134595 h 919581"/>
                  <a:gd name="connsiteX17" fmla="*/ 337842 w 920484"/>
                  <a:gd name="connsiteY17" fmla="*/ 139112 h 919581"/>
                  <a:gd name="connsiteX18" fmla="*/ 207764 w 920484"/>
                  <a:gd name="connsiteY18" fmla="*/ 60523 h 919581"/>
                  <a:gd name="connsiteX19" fmla="*/ 59619 w 920484"/>
                  <a:gd name="connsiteY19" fmla="*/ 208667 h 919581"/>
                  <a:gd name="connsiteX20" fmla="*/ 63233 w 920484"/>
                  <a:gd name="connsiteY20" fmla="*/ 242090 h 919581"/>
                  <a:gd name="connsiteX21" fmla="*/ 0 w 920484"/>
                  <a:gd name="connsiteY21" fmla="*/ 327002 h 919581"/>
                  <a:gd name="connsiteX22" fmla="*/ 88525 w 920484"/>
                  <a:gd name="connsiteY22" fmla="*/ 415528 h 919581"/>
                  <a:gd name="connsiteX23" fmla="*/ 196021 w 920484"/>
                  <a:gd name="connsiteY23" fmla="*/ 415528 h 919581"/>
                  <a:gd name="connsiteX24" fmla="*/ 192407 w 920484"/>
                  <a:gd name="connsiteY24" fmla="*/ 459791 h 919581"/>
                  <a:gd name="connsiteX25" fmla="*/ 207764 w 920484"/>
                  <a:gd name="connsiteY25" fmla="*/ 541993 h 919581"/>
                  <a:gd name="connsiteX26" fmla="*/ 75879 w 920484"/>
                  <a:gd name="connsiteY26" fmla="*/ 673878 h 919581"/>
                  <a:gd name="connsiteX27" fmla="*/ 2710 w 920484"/>
                  <a:gd name="connsiteY27" fmla="*/ 865382 h 919581"/>
                  <a:gd name="connsiteX28" fmla="*/ 0 w 920484"/>
                  <a:gd name="connsiteY28" fmla="*/ 879835 h 919581"/>
                  <a:gd name="connsiteX29" fmla="*/ 39746 w 920484"/>
                  <a:gd name="connsiteY29" fmla="*/ 919581 h 919581"/>
                  <a:gd name="connsiteX30" fmla="*/ 54199 w 920484"/>
                  <a:gd name="connsiteY30" fmla="*/ 916871 h 919581"/>
                  <a:gd name="connsiteX31" fmla="*/ 245704 w 920484"/>
                  <a:gd name="connsiteY31" fmla="*/ 843702 h 919581"/>
                  <a:gd name="connsiteX32" fmla="*/ 342359 w 920484"/>
                  <a:gd name="connsiteY32" fmla="*/ 747047 h 919581"/>
                  <a:gd name="connsiteX33" fmla="*/ 341455 w 920484"/>
                  <a:gd name="connsiteY33" fmla="*/ 756983 h 919581"/>
                  <a:gd name="connsiteX34" fmla="*/ 353198 w 920484"/>
                  <a:gd name="connsiteY34" fmla="*/ 786793 h 919581"/>
                  <a:gd name="connsiteX35" fmla="*/ 341455 w 920484"/>
                  <a:gd name="connsiteY35" fmla="*/ 816603 h 919581"/>
                  <a:gd name="connsiteX36" fmla="*/ 374878 w 920484"/>
                  <a:gd name="connsiteY36" fmla="*/ 859059 h 919581"/>
                  <a:gd name="connsiteX37" fmla="*/ 460694 w 920484"/>
                  <a:gd name="connsiteY37" fmla="*/ 919581 h 919581"/>
                  <a:gd name="connsiteX38" fmla="*/ 546510 w 920484"/>
                  <a:gd name="connsiteY38" fmla="*/ 859059 h 919581"/>
                  <a:gd name="connsiteX39" fmla="*/ 579933 w 920484"/>
                  <a:gd name="connsiteY39" fmla="*/ 816603 h 919581"/>
                  <a:gd name="connsiteX40" fmla="*/ 579933 w 920484"/>
                  <a:gd name="connsiteY40" fmla="*/ 812989 h 919581"/>
                  <a:gd name="connsiteX41" fmla="*/ 597999 w 920484"/>
                  <a:gd name="connsiteY41" fmla="*/ 831056 h 919581"/>
                  <a:gd name="connsiteX42" fmla="*/ 619678 w 920484"/>
                  <a:gd name="connsiteY42" fmla="*/ 809376 h 919581"/>
                  <a:gd name="connsiteX43" fmla="*/ 651295 w 920484"/>
                  <a:gd name="connsiteY43" fmla="*/ 803956 h 919581"/>
                  <a:gd name="connsiteX44" fmla="*/ 668458 w 920484"/>
                  <a:gd name="connsiteY44" fmla="*/ 830153 h 919581"/>
                  <a:gd name="connsiteX45" fmla="*/ 668458 w 920484"/>
                  <a:gd name="connsiteY45" fmla="*/ 860865 h 919581"/>
                  <a:gd name="connsiteX46" fmla="*/ 756983 w 920484"/>
                  <a:gd name="connsiteY46" fmla="*/ 860865 h 919581"/>
                  <a:gd name="connsiteX47" fmla="*/ 756983 w 920484"/>
                  <a:gd name="connsiteY47" fmla="*/ 831056 h 919581"/>
                  <a:gd name="connsiteX48" fmla="*/ 775050 w 920484"/>
                  <a:gd name="connsiteY48" fmla="*/ 804859 h 919581"/>
                  <a:gd name="connsiteX49" fmla="*/ 805763 w 920484"/>
                  <a:gd name="connsiteY49" fmla="*/ 811183 h 919581"/>
                  <a:gd name="connsiteX50" fmla="*/ 827442 w 920484"/>
                  <a:gd name="connsiteY50" fmla="*/ 832863 h 919581"/>
                  <a:gd name="connsiteX51" fmla="*/ 890675 w 920484"/>
                  <a:gd name="connsiteY51" fmla="*/ 769630 h 919581"/>
                  <a:gd name="connsiteX52" fmla="*/ 868995 w 920484"/>
                  <a:gd name="connsiteY52" fmla="*/ 747950 h 919581"/>
                  <a:gd name="connsiteX53" fmla="*/ 863575 w 920484"/>
                  <a:gd name="connsiteY53" fmla="*/ 716334 h 919581"/>
                  <a:gd name="connsiteX54" fmla="*/ 889772 w 920484"/>
                  <a:gd name="connsiteY54" fmla="*/ 699171 h 919581"/>
                  <a:gd name="connsiteX55" fmla="*/ 920484 w 920484"/>
                  <a:gd name="connsiteY55" fmla="*/ 699171 h 919581"/>
                  <a:gd name="connsiteX56" fmla="*/ 920484 w 920484"/>
                  <a:gd name="connsiteY56" fmla="*/ 610645 h 919581"/>
                  <a:gd name="connsiteX57" fmla="*/ 889772 w 920484"/>
                  <a:gd name="connsiteY57" fmla="*/ 610645 h 919581"/>
                  <a:gd name="connsiteX58" fmla="*/ 861768 w 920484"/>
                  <a:gd name="connsiteY58" fmla="*/ 590772 h 919581"/>
                  <a:gd name="connsiteX59" fmla="*/ 861768 w 920484"/>
                  <a:gd name="connsiteY59" fmla="*/ 590772 h 919581"/>
                  <a:gd name="connsiteX60" fmla="*/ 639552 w 920484"/>
                  <a:gd name="connsiteY60" fmla="*/ 635035 h 919581"/>
                  <a:gd name="connsiteX61" fmla="*/ 685621 w 920484"/>
                  <a:gd name="connsiteY61" fmla="*/ 584449 h 919581"/>
                  <a:gd name="connsiteX62" fmla="*/ 710914 w 920484"/>
                  <a:gd name="connsiteY62" fmla="*/ 579933 h 919581"/>
                  <a:gd name="connsiteX63" fmla="*/ 784986 w 920484"/>
                  <a:gd name="connsiteY63" fmla="*/ 654005 h 919581"/>
                  <a:gd name="connsiteX64" fmla="*/ 710914 w 920484"/>
                  <a:gd name="connsiteY64" fmla="*/ 728077 h 919581"/>
                  <a:gd name="connsiteX65" fmla="*/ 636842 w 920484"/>
                  <a:gd name="connsiteY65" fmla="*/ 654005 h 919581"/>
                  <a:gd name="connsiteX66" fmla="*/ 639552 w 920484"/>
                  <a:gd name="connsiteY66" fmla="*/ 635035 h 919581"/>
                  <a:gd name="connsiteX67" fmla="*/ 639552 w 920484"/>
                  <a:gd name="connsiteY67" fmla="*/ 635035 h 919581"/>
                  <a:gd name="connsiteX68" fmla="*/ 657618 w 920484"/>
                  <a:gd name="connsiteY68" fmla="*/ 283643 h 919581"/>
                  <a:gd name="connsiteX69" fmla="*/ 726270 w 920484"/>
                  <a:gd name="connsiteY69" fmla="*/ 214990 h 919581"/>
                  <a:gd name="connsiteX70" fmla="*/ 779566 w 920484"/>
                  <a:gd name="connsiteY70" fmla="*/ 268287 h 919581"/>
                  <a:gd name="connsiteX71" fmla="*/ 700074 w 920484"/>
                  <a:gd name="connsiteY71" fmla="*/ 347779 h 919581"/>
                  <a:gd name="connsiteX72" fmla="*/ 657618 w 920484"/>
                  <a:gd name="connsiteY72" fmla="*/ 283643 h 919581"/>
                  <a:gd name="connsiteX73" fmla="*/ 672975 w 920484"/>
                  <a:gd name="connsiteY73" fmla="*/ 120142 h 919581"/>
                  <a:gd name="connsiteX74" fmla="*/ 696461 w 920484"/>
                  <a:gd name="connsiteY74" fmla="*/ 96656 h 919581"/>
                  <a:gd name="connsiteX75" fmla="*/ 823829 w 920484"/>
                  <a:gd name="connsiteY75" fmla="*/ 224024 h 919581"/>
                  <a:gd name="connsiteX76" fmla="*/ 800343 w 920484"/>
                  <a:gd name="connsiteY76" fmla="*/ 247510 h 919581"/>
                  <a:gd name="connsiteX77" fmla="*/ 672975 w 920484"/>
                  <a:gd name="connsiteY77" fmla="*/ 120142 h 919581"/>
                  <a:gd name="connsiteX78" fmla="*/ 799440 w 920484"/>
                  <a:gd name="connsiteY78" fmla="*/ 30713 h 919581"/>
                  <a:gd name="connsiteX79" fmla="*/ 889772 w 920484"/>
                  <a:gd name="connsiteY79" fmla="*/ 121045 h 919581"/>
                  <a:gd name="connsiteX80" fmla="*/ 863575 w 920484"/>
                  <a:gd name="connsiteY80" fmla="*/ 184278 h 919581"/>
                  <a:gd name="connsiteX81" fmla="*/ 845509 w 920484"/>
                  <a:gd name="connsiteY81" fmla="*/ 202344 h 919581"/>
                  <a:gd name="connsiteX82" fmla="*/ 718141 w 920484"/>
                  <a:gd name="connsiteY82" fmla="*/ 74976 h 919581"/>
                  <a:gd name="connsiteX83" fmla="*/ 736207 w 920484"/>
                  <a:gd name="connsiteY83" fmla="*/ 56909 h 919581"/>
                  <a:gd name="connsiteX84" fmla="*/ 799440 w 920484"/>
                  <a:gd name="connsiteY84" fmla="*/ 30713 h 919581"/>
                  <a:gd name="connsiteX85" fmla="*/ 799440 w 920484"/>
                  <a:gd name="connsiteY85" fmla="*/ 30713 h 919581"/>
                  <a:gd name="connsiteX86" fmla="*/ 652198 w 920484"/>
                  <a:gd name="connsiteY86" fmla="*/ 140918 h 919581"/>
                  <a:gd name="connsiteX87" fmla="*/ 705494 w 920484"/>
                  <a:gd name="connsiteY87" fmla="*/ 194214 h 919581"/>
                  <a:gd name="connsiteX88" fmla="*/ 636842 w 920484"/>
                  <a:gd name="connsiteY88" fmla="*/ 262866 h 919581"/>
                  <a:gd name="connsiteX89" fmla="*/ 572706 w 920484"/>
                  <a:gd name="connsiteY89" fmla="*/ 220411 h 919581"/>
                  <a:gd name="connsiteX90" fmla="*/ 652198 w 920484"/>
                  <a:gd name="connsiteY90" fmla="*/ 140918 h 919581"/>
                  <a:gd name="connsiteX91" fmla="*/ 696461 w 920484"/>
                  <a:gd name="connsiteY91" fmla="*/ 460694 h 919581"/>
                  <a:gd name="connsiteX92" fmla="*/ 616065 w 920484"/>
                  <a:gd name="connsiteY92" fmla="*/ 616065 h 919581"/>
                  <a:gd name="connsiteX93" fmla="*/ 541993 w 920484"/>
                  <a:gd name="connsiteY93" fmla="*/ 713624 h 919581"/>
                  <a:gd name="connsiteX94" fmla="*/ 532960 w 920484"/>
                  <a:gd name="connsiteY94" fmla="*/ 712721 h 919581"/>
                  <a:gd name="connsiteX95" fmla="*/ 473340 w 920484"/>
                  <a:gd name="connsiteY95" fmla="*/ 712721 h 919581"/>
                  <a:gd name="connsiteX96" fmla="*/ 473340 w 920484"/>
                  <a:gd name="connsiteY96" fmla="*/ 638648 h 919581"/>
                  <a:gd name="connsiteX97" fmla="*/ 429078 w 920484"/>
                  <a:gd name="connsiteY97" fmla="*/ 594385 h 919581"/>
                  <a:gd name="connsiteX98" fmla="*/ 399268 w 920484"/>
                  <a:gd name="connsiteY98" fmla="*/ 594385 h 919581"/>
                  <a:gd name="connsiteX99" fmla="*/ 384815 w 920484"/>
                  <a:gd name="connsiteY99" fmla="*/ 579933 h 919581"/>
                  <a:gd name="connsiteX100" fmla="*/ 399268 w 920484"/>
                  <a:gd name="connsiteY100" fmla="*/ 565479 h 919581"/>
                  <a:gd name="connsiteX101" fmla="*/ 547413 w 920484"/>
                  <a:gd name="connsiteY101" fmla="*/ 565479 h 919581"/>
                  <a:gd name="connsiteX102" fmla="*/ 591676 w 920484"/>
                  <a:gd name="connsiteY102" fmla="*/ 521217 h 919581"/>
                  <a:gd name="connsiteX103" fmla="*/ 547413 w 920484"/>
                  <a:gd name="connsiteY103" fmla="*/ 476954 h 919581"/>
                  <a:gd name="connsiteX104" fmla="*/ 429078 w 920484"/>
                  <a:gd name="connsiteY104" fmla="*/ 476954 h 919581"/>
                  <a:gd name="connsiteX105" fmla="*/ 414624 w 920484"/>
                  <a:gd name="connsiteY105" fmla="*/ 462501 h 919581"/>
                  <a:gd name="connsiteX106" fmla="*/ 414624 w 920484"/>
                  <a:gd name="connsiteY106" fmla="*/ 418238 h 919581"/>
                  <a:gd name="connsiteX107" fmla="*/ 488697 w 920484"/>
                  <a:gd name="connsiteY107" fmla="*/ 418238 h 919581"/>
                  <a:gd name="connsiteX108" fmla="*/ 562769 w 920484"/>
                  <a:gd name="connsiteY108" fmla="*/ 344165 h 919581"/>
                  <a:gd name="connsiteX109" fmla="*/ 488697 w 920484"/>
                  <a:gd name="connsiteY109" fmla="*/ 270093 h 919581"/>
                  <a:gd name="connsiteX110" fmla="*/ 487794 w 920484"/>
                  <a:gd name="connsiteY110" fmla="*/ 270093 h 919581"/>
                  <a:gd name="connsiteX111" fmla="*/ 488697 w 920484"/>
                  <a:gd name="connsiteY111" fmla="*/ 254737 h 919581"/>
                  <a:gd name="connsiteX112" fmla="*/ 485084 w 920484"/>
                  <a:gd name="connsiteY112" fmla="*/ 226733 h 919581"/>
                  <a:gd name="connsiteX113" fmla="*/ 696461 w 920484"/>
                  <a:gd name="connsiteY113" fmla="*/ 460694 h 919581"/>
                  <a:gd name="connsiteX114" fmla="*/ 696461 w 920484"/>
                  <a:gd name="connsiteY114" fmla="*/ 460694 h 919581"/>
                  <a:gd name="connsiteX115" fmla="*/ 370362 w 920484"/>
                  <a:gd name="connsiteY115" fmla="*/ 756983 h 919581"/>
                  <a:gd name="connsiteX116" fmla="*/ 384815 w 920484"/>
                  <a:gd name="connsiteY116" fmla="*/ 742530 h 919581"/>
                  <a:gd name="connsiteX117" fmla="*/ 532960 w 920484"/>
                  <a:gd name="connsiteY117" fmla="*/ 742530 h 919581"/>
                  <a:gd name="connsiteX118" fmla="*/ 547413 w 920484"/>
                  <a:gd name="connsiteY118" fmla="*/ 756983 h 919581"/>
                  <a:gd name="connsiteX119" fmla="*/ 532960 w 920484"/>
                  <a:gd name="connsiteY119" fmla="*/ 771437 h 919581"/>
                  <a:gd name="connsiteX120" fmla="*/ 384815 w 920484"/>
                  <a:gd name="connsiteY120" fmla="*/ 771437 h 919581"/>
                  <a:gd name="connsiteX121" fmla="*/ 370362 w 920484"/>
                  <a:gd name="connsiteY121" fmla="*/ 756983 h 919581"/>
                  <a:gd name="connsiteX122" fmla="*/ 184277 w 920484"/>
                  <a:gd name="connsiteY122" fmla="*/ 756983 h 919581"/>
                  <a:gd name="connsiteX123" fmla="*/ 293579 w 920484"/>
                  <a:gd name="connsiteY123" fmla="*/ 647682 h 919581"/>
                  <a:gd name="connsiteX124" fmla="*/ 341455 w 920484"/>
                  <a:gd name="connsiteY124" fmla="*/ 706398 h 919581"/>
                  <a:gd name="connsiteX125" fmla="*/ 237573 w 920484"/>
                  <a:gd name="connsiteY125" fmla="*/ 810279 h 919581"/>
                  <a:gd name="connsiteX126" fmla="*/ 184277 w 920484"/>
                  <a:gd name="connsiteY126" fmla="*/ 756983 h 919581"/>
                  <a:gd name="connsiteX127" fmla="*/ 29809 w 920484"/>
                  <a:gd name="connsiteY127" fmla="*/ 327906 h 919581"/>
                  <a:gd name="connsiteX128" fmla="*/ 89428 w 920484"/>
                  <a:gd name="connsiteY128" fmla="*/ 268287 h 919581"/>
                  <a:gd name="connsiteX129" fmla="*/ 149048 w 920484"/>
                  <a:gd name="connsiteY129" fmla="*/ 327906 h 919581"/>
                  <a:gd name="connsiteX130" fmla="*/ 178858 w 920484"/>
                  <a:gd name="connsiteY130" fmla="*/ 327906 h 919581"/>
                  <a:gd name="connsiteX131" fmla="*/ 93945 w 920484"/>
                  <a:gd name="connsiteY131" fmla="*/ 239380 h 919581"/>
                  <a:gd name="connsiteX132" fmla="*/ 90332 w 920484"/>
                  <a:gd name="connsiteY132" fmla="*/ 209571 h 919581"/>
                  <a:gd name="connsiteX133" fmla="*/ 208667 w 920484"/>
                  <a:gd name="connsiteY133" fmla="*/ 91235 h 919581"/>
                  <a:gd name="connsiteX134" fmla="*/ 311646 w 920484"/>
                  <a:gd name="connsiteY134" fmla="*/ 151758 h 919581"/>
                  <a:gd name="connsiteX135" fmla="*/ 253833 w 920484"/>
                  <a:gd name="connsiteY135" fmla="*/ 241187 h 919581"/>
                  <a:gd name="connsiteX136" fmla="*/ 208667 w 920484"/>
                  <a:gd name="connsiteY136" fmla="*/ 298999 h 919581"/>
                  <a:gd name="connsiteX137" fmla="*/ 238477 w 920484"/>
                  <a:gd name="connsiteY137" fmla="*/ 298999 h 919581"/>
                  <a:gd name="connsiteX138" fmla="*/ 268287 w 920484"/>
                  <a:gd name="connsiteY138" fmla="*/ 269190 h 919581"/>
                  <a:gd name="connsiteX139" fmla="*/ 298096 w 920484"/>
                  <a:gd name="connsiteY139" fmla="*/ 298999 h 919581"/>
                  <a:gd name="connsiteX140" fmla="*/ 327906 w 920484"/>
                  <a:gd name="connsiteY140" fmla="*/ 298999 h 919581"/>
                  <a:gd name="connsiteX141" fmla="*/ 284546 w 920484"/>
                  <a:gd name="connsiteY141" fmla="*/ 242090 h 919581"/>
                  <a:gd name="connsiteX142" fmla="*/ 372169 w 920484"/>
                  <a:gd name="connsiteY142" fmla="*/ 165308 h 919581"/>
                  <a:gd name="connsiteX143" fmla="*/ 460694 w 920484"/>
                  <a:gd name="connsiteY143" fmla="*/ 253833 h 919581"/>
                  <a:gd name="connsiteX144" fmla="*/ 457080 w 920484"/>
                  <a:gd name="connsiteY144" fmla="*/ 276416 h 919581"/>
                  <a:gd name="connsiteX145" fmla="*/ 415528 w 920484"/>
                  <a:gd name="connsiteY145" fmla="*/ 342359 h 919581"/>
                  <a:gd name="connsiteX146" fmla="*/ 445337 w 920484"/>
                  <a:gd name="connsiteY146" fmla="*/ 342359 h 919581"/>
                  <a:gd name="connsiteX147" fmla="*/ 489600 w 920484"/>
                  <a:gd name="connsiteY147" fmla="*/ 298096 h 919581"/>
                  <a:gd name="connsiteX148" fmla="*/ 533863 w 920484"/>
                  <a:gd name="connsiteY148" fmla="*/ 342359 h 919581"/>
                  <a:gd name="connsiteX149" fmla="*/ 489600 w 920484"/>
                  <a:gd name="connsiteY149" fmla="*/ 386621 h 919581"/>
                  <a:gd name="connsiteX150" fmla="*/ 88525 w 920484"/>
                  <a:gd name="connsiteY150" fmla="*/ 386621 h 919581"/>
                  <a:gd name="connsiteX151" fmla="*/ 29809 w 920484"/>
                  <a:gd name="connsiteY151" fmla="*/ 327906 h 919581"/>
                  <a:gd name="connsiteX152" fmla="*/ 384815 w 920484"/>
                  <a:gd name="connsiteY152" fmla="*/ 416431 h 919581"/>
                  <a:gd name="connsiteX153" fmla="*/ 384815 w 920484"/>
                  <a:gd name="connsiteY153" fmla="*/ 460694 h 919581"/>
                  <a:gd name="connsiteX154" fmla="*/ 429078 w 920484"/>
                  <a:gd name="connsiteY154" fmla="*/ 504957 h 919581"/>
                  <a:gd name="connsiteX155" fmla="*/ 547413 w 920484"/>
                  <a:gd name="connsiteY155" fmla="*/ 504957 h 919581"/>
                  <a:gd name="connsiteX156" fmla="*/ 561866 w 920484"/>
                  <a:gd name="connsiteY156" fmla="*/ 519410 h 919581"/>
                  <a:gd name="connsiteX157" fmla="*/ 547413 w 920484"/>
                  <a:gd name="connsiteY157" fmla="*/ 533863 h 919581"/>
                  <a:gd name="connsiteX158" fmla="*/ 399268 w 920484"/>
                  <a:gd name="connsiteY158" fmla="*/ 533863 h 919581"/>
                  <a:gd name="connsiteX159" fmla="*/ 355005 w 920484"/>
                  <a:gd name="connsiteY159" fmla="*/ 578126 h 919581"/>
                  <a:gd name="connsiteX160" fmla="*/ 399268 w 920484"/>
                  <a:gd name="connsiteY160" fmla="*/ 622389 h 919581"/>
                  <a:gd name="connsiteX161" fmla="*/ 429078 w 920484"/>
                  <a:gd name="connsiteY161" fmla="*/ 622389 h 919581"/>
                  <a:gd name="connsiteX162" fmla="*/ 443531 w 920484"/>
                  <a:gd name="connsiteY162" fmla="*/ 636842 h 919581"/>
                  <a:gd name="connsiteX163" fmla="*/ 443531 w 920484"/>
                  <a:gd name="connsiteY163" fmla="*/ 710914 h 919581"/>
                  <a:gd name="connsiteX164" fmla="*/ 383912 w 920484"/>
                  <a:gd name="connsiteY164" fmla="*/ 710914 h 919581"/>
                  <a:gd name="connsiteX165" fmla="*/ 374878 w 920484"/>
                  <a:gd name="connsiteY165" fmla="*/ 711817 h 919581"/>
                  <a:gd name="connsiteX166" fmla="*/ 300806 w 920484"/>
                  <a:gd name="connsiteY166" fmla="*/ 614259 h 919581"/>
                  <a:gd name="connsiteX167" fmla="*/ 220410 w 920484"/>
                  <a:gd name="connsiteY167" fmla="*/ 458887 h 919581"/>
                  <a:gd name="connsiteX168" fmla="*/ 224927 w 920484"/>
                  <a:gd name="connsiteY168" fmla="*/ 414625 h 919581"/>
                  <a:gd name="connsiteX169" fmla="*/ 384815 w 920484"/>
                  <a:gd name="connsiteY169" fmla="*/ 414625 h 919581"/>
                  <a:gd name="connsiteX170" fmla="*/ 271900 w 920484"/>
                  <a:gd name="connsiteY170" fmla="*/ 627808 h 919581"/>
                  <a:gd name="connsiteX171" fmla="*/ 163501 w 920484"/>
                  <a:gd name="connsiteY171" fmla="*/ 736207 h 919581"/>
                  <a:gd name="connsiteX172" fmla="*/ 110205 w 920484"/>
                  <a:gd name="connsiteY172" fmla="*/ 682911 h 919581"/>
                  <a:gd name="connsiteX173" fmla="*/ 223121 w 920484"/>
                  <a:gd name="connsiteY173" fmla="*/ 569996 h 919581"/>
                  <a:gd name="connsiteX174" fmla="*/ 271900 w 920484"/>
                  <a:gd name="connsiteY174" fmla="*/ 627808 h 919581"/>
                  <a:gd name="connsiteX175" fmla="*/ 271900 w 920484"/>
                  <a:gd name="connsiteY175" fmla="*/ 627808 h 919581"/>
                  <a:gd name="connsiteX176" fmla="*/ 94849 w 920484"/>
                  <a:gd name="connsiteY176" fmla="*/ 710010 h 919581"/>
                  <a:gd name="connsiteX177" fmla="*/ 210474 w 920484"/>
                  <a:gd name="connsiteY177" fmla="*/ 825636 h 919581"/>
                  <a:gd name="connsiteX178" fmla="*/ 112012 w 920484"/>
                  <a:gd name="connsiteY178" fmla="*/ 863575 h 919581"/>
                  <a:gd name="connsiteX179" fmla="*/ 56909 w 920484"/>
                  <a:gd name="connsiteY179" fmla="*/ 808473 h 919581"/>
                  <a:gd name="connsiteX180" fmla="*/ 94849 w 920484"/>
                  <a:gd name="connsiteY180" fmla="*/ 710010 h 919581"/>
                  <a:gd name="connsiteX181" fmla="*/ 43359 w 920484"/>
                  <a:gd name="connsiteY181" fmla="*/ 889772 h 919581"/>
                  <a:gd name="connsiteX182" fmla="*/ 29809 w 920484"/>
                  <a:gd name="connsiteY182" fmla="*/ 879835 h 919581"/>
                  <a:gd name="connsiteX183" fmla="*/ 30713 w 920484"/>
                  <a:gd name="connsiteY183" fmla="*/ 876222 h 919581"/>
                  <a:gd name="connsiteX184" fmla="*/ 45166 w 920484"/>
                  <a:gd name="connsiteY184" fmla="*/ 837379 h 919581"/>
                  <a:gd name="connsiteX185" fmla="*/ 82202 w 920484"/>
                  <a:gd name="connsiteY185" fmla="*/ 874415 h 919581"/>
                  <a:gd name="connsiteX186" fmla="*/ 43359 w 920484"/>
                  <a:gd name="connsiteY186" fmla="*/ 889772 h 919581"/>
                  <a:gd name="connsiteX187" fmla="*/ 458887 w 920484"/>
                  <a:gd name="connsiteY187" fmla="*/ 890675 h 919581"/>
                  <a:gd name="connsiteX188" fmla="*/ 406495 w 920484"/>
                  <a:gd name="connsiteY188" fmla="*/ 860865 h 919581"/>
                  <a:gd name="connsiteX189" fmla="*/ 511280 w 920484"/>
                  <a:gd name="connsiteY189" fmla="*/ 860865 h 919581"/>
                  <a:gd name="connsiteX190" fmla="*/ 458887 w 920484"/>
                  <a:gd name="connsiteY190" fmla="*/ 890675 h 919581"/>
                  <a:gd name="connsiteX191" fmla="*/ 458887 w 920484"/>
                  <a:gd name="connsiteY191" fmla="*/ 890675 h 919581"/>
                  <a:gd name="connsiteX192" fmla="*/ 533863 w 920484"/>
                  <a:gd name="connsiteY192" fmla="*/ 831056 h 919581"/>
                  <a:gd name="connsiteX193" fmla="*/ 385718 w 920484"/>
                  <a:gd name="connsiteY193" fmla="*/ 831056 h 919581"/>
                  <a:gd name="connsiteX194" fmla="*/ 371265 w 920484"/>
                  <a:gd name="connsiteY194" fmla="*/ 816603 h 919581"/>
                  <a:gd name="connsiteX195" fmla="*/ 385718 w 920484"/>
                  <a:gd name="connsiteY195" fmla="*/ 802149 h 919581"/>
                  <a:gd name="connsiteX196" fmla="*/ 533863 w 920484"/>
                  <a:gd name="connsiteY196" fmla="*/ 802149 h 919581"/>
                  <a:gd name="connsiteX197" fmla="*/ 548316 w 920484"/>
                  <a:gd name="connsiteY197" fmla="*/ 816603 h 919581"/>
                  <a:gd name="connsiteX198" fmla="*/ 533863 w 920484"/>
                  <a:gd name="connsiteY198" fmla="*/ 831056 h 919581"/>
                  <a:gd name="connsiteX199" fmla="*/ 888868 w 920484"/>
                  <a:gd name="connsiteY199" fmla="*/ 668458 h 919581"/>
                  <a:gd name="connsiteX200" fmla="*/ 888868 w 920484"/>
                  <a:gd name="connsiteY200" fmla="*/ 668458 h 919581"/>
                  <a:gd name="connsiteX201" fmla="*/ 834669 w 920484"/>
                  <a:gd name="connsiteY201" fmla="*/ 704591 h 919581"/>
                  <a:gd name="connsiteX202" fmla="*/ 847315 w 920484"/>
                  <a:gd name="connsiteY202" fmla="*/ 767823 h 919581"/>
                  <a:gd name="connsiteX203" fmla="*/ 848219 w 920484"/>
                  <a:gd name="connsiteY203" fmla="*/ 768726 h 919581"/>
                  <a:gd name="connsiteX204" fmla="*/ 827442 w 920484"/>
                  <a:gd name="connsiteY204" fmla="*/ 789503 h 919581"/>
                  <a:gd name="connsiteX205" fmla="*/ 826539 w 920484"/>
                  <a:gd name="connsiteY205" fmla="*/ 788600 h 919581"/>
                  <a:gd name="connsiteX206" fmla="*/ 762403 w 920484"/>
                  <a:gd name="connsiteY206" fmla="*/ 775953 h 919581"/>
                  <a:gd name="connsiteX207" fmla="*/ 726270 w 920484"/>
                  <a:gd name="connsiteY207" fmla="*/ 829249 h 919581"/>
                  <a:gd name="connsiteX208" fmla="*/ 726270 w 920484"/>
                  <a:gd name="connsiteY208" fmla="*/ 830153 h 919581"/>
                  <a:gd name="connsiteX209" fmla="*/ 696461 w 920484"/>
                  <a:gd name="connsiteY209" fmla="*/ 830153 h 919581"/>
                  <a:gd name="connsiteX210" fmla="*/ 696461 w 920484"/>
                  <a:gd name="connsiteY210" fmla="*/ 831056 h 919581"/>
                  <a:gd name="connsiteX211" fmla="*/ 660328 w 920484"/>
                  <a:gd name="connsiteY211" fmla="*/ 776856 h 919581"/>
                  <a:gd name="connsiteX212" fmla="*/ 597095 w 920484"/>
                  <a:gd name="connsiteY212" fmla="*/ 789503 h 919581"/>
                  <a:gd name="connsiteX213" fmla="*/ 596192 w 920484"/>
                  <a:gd name="connsiteY213" fmla="*/ 790406 h 919581"/>
                  <a:gd name="connsiteX214" fmla="*/ 576319 w 920484"/>
                  <a:gd name="connsiteY214" fmla="*/ 770533 h 919581"/>
                  <a:gd name="connsiteX215" fmla="*/ 578126 w 920484"/>
                  <a:gd name="connsiteY215" fmla="*/ 757887 h 919581"/>
                  <a:gd name="connsiteX216" fmla="*/ 568189 w 920484"/>
                  <a:gd name="connsiteY216" fmla="*/ 729884 h 919581"/>
                  <a:gd name="connsiteX217" fmla="*/ 608838 w 920484"/>
                  <a:gd name="connsiteY217" fmla="*/ 666651 h 919581"/>
                  <a:gd name="connsiteX218" fmla="*/ 711817 w 920484"/>
                  <a:gd name="connsiteY218" fmla="*/ 757887 h 919581"/>
                  <a:gd name="connsiteX219" fmla="*/ 815699 w 920484"/>
                  <a:gd name="connsiteY219" fmla="*/ 654005 h 919581"/>
                  <a:gd name="connsiteX220" fmla="*/ 711817 w 920484"/>
                  <a:gd name="connsiteY220" fmla="*/ 550123 h 919581"/>
                  <a:gd name="connsiteX221" fmla="*/ 707301 w 920484"/>
                  <a:gd name="connsiteY221" fmla="*/ 550123 h 919581"/>
                  <a:gd name="connsiteX222" fmla="*/ 726270 w 920484"/>
                  <a:gd name="connsiteY222" fmla="*/ 476051 h 919581"/>
                  <a:gd name="connsiteX223" fmla="*/ 727174 w 920484"/>
                  <a:gd name="connsiteY223" fmla="*/ 476051 h 919581"/>
                  <a:gd name="connsiteX224" fmla="*/ 727174 w 920484"/>
                  <a:gd name="connsiteY224" fmla="*/ 476954 h 919581"/>
                  <a:gd name="connsiteX225" fmla="*/ 763307 w 920484"/>
                  <a:gd name="connsiteY225" fmla="*/ 531153 h 919581"/>
                  <a:gd name="connsiteX226" fmla="*/ 826539 w 920484"/>
                  <a:gd name="connsiteY226" fmla="*/ 518507 h 919581"/>
                  <a:gd name="connsiteX227" fmla="*/ 827442 w 920484"/>
                  <a:gd name="connsiteY227" fmla="*/ 517603 h 919581"/>
                  <a:gd name="connsiteX228" fmla="*/ 848219 w 920484"/>
                  <a:gd name="connsiteY228" fmla="*/ 538379 h 919581"/>
                  <a:gd name="connsiteX229" fmla="*/ 847315 w 920484"/>
                  <a:gd name="connsiteY229" fmla="*/ 539283 h 919581"/>
                  <a:gd name="connsiteX230" fmla="*/ 834669 w 920484"/>
                  <a:gd name="connsiteY230" fmla="*/ 603419 h 919581"/>
                  <a:gd name="connsiteX231" fmla="*/ 887965 w 920484"/>
                  <a:gd name="connsiteY231" fmla="*/ 639552 h 919581"/>
                  <a:gd name="connsiteX232" fmla="*/ 888868 w 920484"/>
                  <a:gd name="connsiteY232" fmla="*/ 639552 h 919581"/>
                  <a:gd name="connsiteX233" fmla="*/ 888868 w 920484"/>
                  <a:gd name="connsiteY233" fmla="*/ 668458 h 919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920484" h="919581">
                    <a:moveTo>
                      <a:pt x="861768" y="590772"/>
                    </a:moveTo>
                    <a:cubicBezTo>
                      <a:pt x="857252" y="579933"/>
                      <a:pt x="859962" y="568189"/>
                      <a:pt x="868092" y="559156"/>
                    </a:cubicBezTo>
                    <a:lnTo>
                      <a:pt x="889772" y="537476"/>
                    </a:lnTo>
                    <a:lnTo>
                      <a:pt x="826539" y="474244"/>
                    </a:lnTo>
                    <a:lnTo>
                      <a:pt x="804859" y="495924"/>
                    </a:lnTo>
                    <a:cubicBezTo>
                      <a:pt x="796730" y="504053"/>
                      <a:pt x="784083" y="506763"/>
                      <a:pt x="773243" y="501343"/>
                    </a:cubicBezTo>
                    <a:cubicBezTo>
                      <a:pt x="762403" y="496827"/>
                      <a:pt x="756080" y="486890"/>
                      <a:pt x="756080" y="475147"/>
                    </a:cubicBezTo>
                    <a:lnTo>
                      <a:pt x="756080" y="444434"/>
                    </a:lnTo>
                    <a:lnTo>
                      <a:pt x="725367" y="444434"/>
                    </a:lnTo>
                    <a:cubicBezTo>
                      <a:pt x="724464" y="420948"/>
                      <a:pt x="719947" y="397461"/>
                      <a:pt x="711817" y="375782"/>
                    </a:cubicBezTo>
                    <a:lnTo>
                      <a:pt x="883448" y="204150"/>
                    </a:lnTo>
                    <a:cubicBezTo>
                      <a:pt x="906031" y="181567"/>
                      <a:pt x="918678" y="151758"/>
                      <a:pt x="918678" y="119239"/>
                    </a:cubicBezTo>
                    <a:cubicBezTo>
                      <a:pt x="918678" y="53296"/>
                      <a:pt x="865382" y="0"/>
                      <a:pt x="799440" y="0"/>
                    </a:cubicBezTo>
                    <a:cubicBezTo>
                      <a:pt x="767823" y="0"/>
                      <a:pt x="737110" y="12647"/>
                      <a:pt x="714527" y="35230"/>
                    </a:cubicBezTo>
                    <a:lnTo>
                      <a:pt x="542896" y="206861"/>
                    </a:lnTo>
                    <a:cubicBezTo>
                      <a:pt x="520313" y="199634"/>
                      <a:pt x="496827" y="195117"/>
                      <a:pt x="473340" y="194214"/>
                    </a:cubicBezTo>
                    <a:cubicBezTo>
                      <a:pt x="452564" y="158081"/>
                      <a:pt x="414624" y="134595"/>
                      <a:pt x="370362" y="134595"/>
                    </a:cubicBezTo>
                    <a:cubicBezTo>
                      <a:pt x="359522" y="134595"/>
                      <a:pt x="347779" y="136401"/>
                      <a:pt x="337842" y="139112"/>
                    </a:cubicBezTo>
                    <a:cubicBezTo>
                      <a:pt x="312549" y="91235"/>
                      <a:pt x="262866" y="60523"/>
                      <a:pt x="207764" y="60523"/>
                    </a:cubicBezTo>
                    <a:cubicBezTo>
                      <a:pt x="126465" y="60523"/>
                      <a:pt x="59619" y="127368"/>
                      <a:pt x="59619" y="208667"/>
                    </a:cubicBezTo>
                    <a:cubicBezTo>
                      <a:pt x="59619" y="220411"/>
                      <a:pt x="61426" y="231250"/>
                      <a:pt x="63233" y="242090"/>
                    </a:cubicBezTo>
                    <a:cubicBezTo>
                      <a:pt x="27100" y="252930"/>
                      <a:pt x="0" y="287256"/>
                      <a:pt x="0" y="327002"/>
                    </a:cubicBezTo>
                    <a:cubicBezTo>
                      <a:pt x="0" y="375782"/>
                      <a:pt x="39746" y="415528"/>
                      <a:pt x="88525" y="415528"/>
                    </a:cubicBezTo>
                    <a:lnTo>
                      <a:pt x="196021" y="415528"/>
                    </a:lnTo>
                    <a:cubicBezTo>
                      <a:pt x="193310" y="429981"/>
                      <a:pt x="192407" y="445337"/>
                      <a:pt x="192407" y="459791"/>
                    </a:cubicBezTo>
                    <a:cubicBezTo>
                      <a:pt x="192407" y="492310"/>
                      <a:pt x="198731" y="518507"/>
                      <a:pt x="207764" y="541993"/>
                    </a:cubicBezTo>
                    <a:lnTo>
                      <a:pt x="75879" y="673878"/>
                    </a:lnTo>
                    <a:lnTo>
                      <a:pt x="2710" y="865382"/>
                    </a:lnTo>
                    <a:cubicBezTo>
                      <a:pt x="903" y="869898"/>
                      <a:pt x="0" y="874415"/>
                      <a:pt x="0" y="879835"/>
                    </a:cubicBezTo>
                    <a:cubicBezTo>
                      <a:pt x="0" y="901515"/>
                      <a:pt x="18066" y="919581"/>
                      <a:pt x="39746" y="919581"/>
                    </a:cubicBezTo>
                    <a:cubicBezTo>
                      <a:pt x="44262" y="919581"/>
                      <a:pt x="49683" y="918678"/>
                      <a:pt x="54199" y="916871"/>
                    </a:cubicBezTo>
                    <a:lnTo>
                      <a:pt x="245704" y="843702"/>
                    </a:lnTo>
                    <a:lnTo>
                      <a:pt x="342359" y="747047"/>
                    </a:lnTo>
                    <a:cubicBezTo>
                      <a:pt x="341455" y="750660"/>
                      <a:pt x="341455" y="753370"/>
                      <a:pt x="341455" y="756983"/>
                    </a:cubicBezTo>
                    <a:cubicBezTo>
                      <a:pt x="341455" y="768726"/>
                      <a:pt x="345972" y="778663"/>
                      <a:pt x="353198" y="786793"/>
                    </a:cubicBezTo>
                    <a:cubicBezTo>
                      <a:pt x="345972" y="794923"/>
                      <a:pt x="341455" y="804859"/>
                      <a:pt x="341455" y="816603"/>
                    </a:cubicBezTo>
                    <a:cubicBezTo>
                      <a:pt x="341455" y="837379"/>
                      <a:pt x="355908" y="854542"/>
                      <a:pt x="374878" y="859059"/>
                    </a:cubicBezTo>
                    <a:cubicBezTo>
                      <a:pt x="387525" y="895191"/>
                      <a:pt x="420948" y="919581"/>
                      <a:pt x="460694" y="919581"/>
                    </a:cubicBezTo>
                    <a:cubicBezTo>
                      <a:pt x="500440" y="919581"/>
                      <a:pt x="533863" y="895191"/>
                      <a:pt x="546510" y="859059"/>
                    </a:cubicBezTo>
                    <a:cubicBezTo>
                      <a:pt x="565479" y="853639"/>
                      <a:pt x="579933" y="836475"/>
                      <a:pt x="579933" y="816603"/>
                    </a:cubicBezTo>
                    <a:cubicBezTo>
                      <a:pt x="579933" y="815699"/>
                      <a:pt x="579933" y="814796"/>
                      <a:pt x="579933" y="812989"/>
                    </a:cubicBezTo>
                    <a:lnTo>
                      <a:pt x="597999" y="831056"/>
                    </a:lnTo>
                    <a:lnTo>
                      <a:pt x="619678" y="809376"/>
                    </a:lnTo>
                    <a:cubicBezTo>
                      <a:pt x="627808" y="801246"/>
                      <a:pt x="640455" y="798536"/>
                      <a:pt x="651295" y="803956"/>
                    </a:cubicBezTo>
                    <a:cubicBezTo>
                      <a:pt x="662135" y="808473"/>
                      <a:pt x="668458" y="818409"/>
                      <a:pt x="668458" y="830153"/>
                    </a:cubicBezTo>
                    <a:lnTo>
                      <a:pt x="668458" y="860865"/>
                    </a:lnTo>
                    <a:lnTo>
                      <a:pt x="756983" y="860865"/>
                    </a:lnTo>
                    <a:lnTo>
                      <a:pt x="756983" y="831056"/>
                    </a:lnTo>
                    <a:cubicBezTo>
                      <a:pt x="756983" y="819313"/>
                      <a:pt x="764210" y="809376"/>
                      <a:pt x="775050" y="804859"/>
                    </a:cubicBezTo>
                    <a:cubicBezTo>
                      <a:pt x="785890" y="800343"/>
                      <a:pt x="797633" y="803053"/>
                      <a:pt x="805763" y="811183"/>
                    </a:cubicBezTo>
                    <a:lnTo>
                      <a:pt x="827442" y="832863"/>
                    </a:lnTo>
                    <a:lnTo>
                      <a:pt x="890675" y="769630"/>
                    </a:lnTo>
                    <a:lnTo>
                      <a:pt x="868995" y="747950"/>
                    </a:lnTo>
                    <a:cubicBezTo>
                      <a:pt x="860865" y="739821"/>
                      <a:pt x="858155" y="727174"/>
                      <a:pt x="863575" y="716334"/>
                    </a:cubicBezTo>
                    <a:cubicBezTo>
                      <a:pt x="868092" y="705494"/>
                      <a:pt x="878029" y="699171"/>
                      <a:pt x="889772" y="699171"/>
                    </a:cubicBezTo>
                    <a:lnTo>
                      <a:pt x="920484" y="699171"/>
                    </a:lnTo>
                    <a:lnTo>
                      <a:pt x="920484" y="610645"/>
                    </a:lnTo>
                    <a:lnTo>
                      <a:pt x="889772" y="610645"/>
                    </a:lnTo>
                    <a:cubicBezTo>
                      <a:pt x="877125" y="608839"/>
                      <a:pt x="866285" y="602516"/>
                      <a:pt x="861768" y="590772"/>
                    </a:cubicBezTo>
                    <a:lnTo>
                      <a:pt x="861768" y="590772"/>
                    </a:lnTo>
                    <a:close/>
                    <a:moveTo>
                      <a:pt x="639552" y="635035"/>
                    </a:moveTo>
                    <a:cubicBezTo>
                      <a:pt x="655811" y="619678"/>
                      <a:pt x="672071" y="603419"/>
                      <a:pt x="685621" y="584449"/>
                    </a:cubicBezTo>
                    <a:cubicBezTo>
                      <a:pt x="693751" y="581739"/>
                      <a:pt x="701881" y="579933"/>
                      <a:pt x="710914" y="579933"/>
                    </a:cubicBezTo>
                    <a:cubicBezTo>
                      <a:pt x="751564" y="579933"/>
                      <a:pt x="784986" y="613356"/>
                      <a:pt x="784986" y="654005"/>
                    </a:cubicBezTo>
                    <a:cubicBezTo>
                      <a:pt x="784986" y="694654"/>
                      <a:pt x="751564" y="728077"/>
                      <a:pt x="710914" y="728077"/>
                    </a:cubicBezTo>
                    <a:cubicBezTo>
                      <a:pt x="670265" y="728077"/>
                      <a:pt x="636842" y="694654"/>
                      <a:pt x="636842" y="654005"/>
                    </a:cubicBezTo>
                    <a:cubicBezTo>
                      <a:pt x="636842" y="646778"/>
                      <a:pt x="637745" y="640455"/>
                      <a:pt x="639552" y="635035"/>
                    </a:cubicBezTo>
                    <a:lnTo>
                      <a:pt x="639552" y="635035"/>
                    </a:lnTo>
                    <a:close/>
                    <a:moveTo>
                      <a:pt x="657618" y="283643"/>
                    </a:moveTo>
                    <a:lnTo>
                      <a:pt x="726270" y="214990"/>
                    </a:lnTo>
                    <a:lnTo>
                      <a:pt x="779566" y="268287"/>
                    </a:lnTo>
                    <a:lnTo>
                      <a:pt x="700074" y="347779"/>
                    </a:lnTo>
                    <a:cubicBezTo>
                      <a:pt x="689234" y="324293"/>
                      <a:pt x="674781" y="302613"/>
                      <a:pt x="657618" y="283643"/>
                    </a:cubicBezTo>
                    <a:close/>
                    <a:moveTo>
                      <a:pt x="672975" y="120142"/>
                    </a:moveTo>
                    <a:lnTo>
                      <a:pt x="696461" y="96656"/>
                    </a:lnTo>
                    <a:lnTo>
                      <a:pt x="823829" y="224024"/>
                    </a:lnTo>
                    <a:lnTo>
                      <a:pt x="800343" y="247510"/>
                    </a:lnTo>
                    <a:lnTo>
                      <a:pt x="672975" y="120142"/>
                    </a:lnTo>
                    <a:close/>
                    <a:moveTo>
                      <a:pt x="799440" y="30713"/>
                    </a:moveTo>
                    <a:cubicBezTo>
                      <a:pt x="849122" y="30713"/>
                      <a:pt x="889772" y="71363"/>
                      <a:pt x="889772" y="121045"/>
                    </a:cubicBezTo>
                    <a:cubicBezTo>
                      <a:pt x="889772" y="145435"/>
                      <a:pt x="880738" y="168018"/>
                      <a:pt x="863575" y="184278"/>
                    </a:cubicBezTo>
                    <a:lnTo>
                      <a:pt x="845509" y="202344"/>
                    </a:lnTo>
                    <a:lnTo>
                      <a:pt x="718141" y="74976"/>
                    </a:lnTo>
                    <a:lnTo>
                      <a:pt x="736207" y="56909"/>
                    </a:lnTo>
                    <a:cubicBezTo>
                      <a:pt x="752467" y="40649"/>
                      <a:pt x="775050" y="30713"/>
                      <a:pt x="799440" y="30713"/>
                    </a:cubicBezTo>
                    <a:lnTo>
                      <a:pt x="799440" y="30713"/>
                    </a:lnTo>
                    <a:close/>
                    <a:moveTo>
                      <a:pt x="652198" y="140918"/>
                    </a:moveTo>
                    <a:lnTo>
                      <a:pt x="705494" y="194214"/>
                    </a:lnTo>
                    <a:lnTo>
                      <a:pt x="636842" y="262866"/>
                    </a:lnTo>
                    <a:cubicBezTo>
                      <a:pt x="617872" y="245704"/>
                      <a:pt x="596192" y="231250"/>
                      <a:pt x="572706" y="220411"/>
                    </a:cubicBezTo>
                    <a:lnTo>
                      <a:pt x="652198" y="140918"/>
                    </a:lnTo>
                    <a:close/>
                    <a:moveTo>
                      <a:pt x="696461" y="460694"/>
                    </a:moveTo>
                    <a:cubicBezTo>
                      <a:pt x="696461" y="537476"/>
                      <a:pt x="657618" y="575416"/>
                      <a:pt x="616065" y="616065"/>
                    </a:cubicBezTo>
                    <a:cubicBezTo>
                      <a:pt x="588062" y="644068"/>
                      <a:pt x="558253" y="672071"/>
                      <a:pt x="541993" y="713624"/>
                    </a:cubicBezTo>
                    <a:cubicBezTo>
                      <a:pt x="539283" y="712721"/>
                      <a:pt x="536573" y="712721"/>
                      <a:pt x="532960" y="712721"/>
                    </a:cubicBezTo>
                    <a:lnTo>
                      <a:pt x="473340" y="712721"/>
                    </a:lnTo>
                    <a:lnTo>
                      <a:pt x="473340" y="638648"/>
                    </a:lnTo>
                    <a:cubicBezTo>
                      <a:pt x="473340" y="614259"/>
                      <a:pt x="453467" y="594385"/>
                      <a:pt x="429078" y="594385"/>
                    </a:cubicBezTo>
                    <a:lnTo>
                      <a:pt x="399268" y="594385"/>
                    </a:lnTo>
                    <a:cubicBezTo>
                      <a:pt x="391138" y="594385"/>
                      <a:pt x="384815" y="588062"/>
                      <a:pt x="384815" y="579933"/>
                    </a:cubicBezTo>
                    <a:cubicBezTo>
                      <a:pt x="384815" y="571802"/>
                      <a:pt x="391138" y="565479"/>
                      <a:pt x="399268" y="565479"/>
                    </a:cubicBezTo>
                    <a:lnTo>
                      <a:pt x="547413" y="565479"/>
                    </a:lnTo>
                    <a:cubicBezTo>
                      <a:pt x="571802" y="565479"/>
                      <a:pt x="591676" y="545606"/>
                      <a:pt x="591676" y="521217"/>
                    </a:cubicBezTo>
                    <a:cubicBezTo>
                      <a:pt x="591676" y="496827"/>
                      <a:pt x="571802" y="476954"/>
                      <a:pt x="547413" y="476954"/>
                    </a:cubicBezTo>
                    <a:lnTo>
                      <a:pt x="429078" y="476954"/>
                    </a:lnTo>
                    <a:cubicBezTo>
                      <a:pt x="420948" y="476954"/>
                      <a:pt x="414624" y="470630"/>
                      <a:pt x="414624" y="462501"/>
                    </a:cubicBezTo>
                    <a:lnTo>
                      <a:pt x="414624" y="418238"/>
                    </a:lnTo>
                    <a:lnTo>
                      <a:pt x="488697" y="418238"/>
                    </a:lnTo>
                    <a:cubicBezTo>
                      <a:pt x="529346" y="418238"/>
                      <a:pt x="562769" y="384815"/>
                      <a:pt x="562769" y="344165"/>
                    </a:cubicBezTo>
                    <a:cubicBezTo>
                      <a:pt x="562769" y="303516"/>
                      <a:pt x="529346" y="270093"/>
                      <a:pt x="488697" y="270093"/>
                    </a:cubicBezTo>
                    <a:cubicBezTo>
                      <a:pt x="488697" y="270093"/>
                      <a:pt x="487794" y="270093"/>
                      <a:pt x="487794" y="270093"/>
                    </a:cubicBezTo>
                    <a:cubicBezTo>
                      <a:pt x="488697" y="265577"/>
                      <a:pt x="488697" y="260156"/>
                      <a:pt x="488697" y="254737"/>
                    </a:cubicBezTo>
                    <a:cubicBezTo>
                      <a:pt x="488697" y="244800"/>
                      <a:pt x="487794" y="235767"/>
                      <a:pt x="485084" y="226733"/>
                    </a:cubicBezTo>
                    <a:cubicBezTo>
                      <a:pt x="603419" y="238477"/>
                      <a:pt x="696461" y="339649"/>
                      <a:pt x="696461" y="460694"/>
                    </a:cubicBezTo>
                    <a:lnTo>
                      <a:pt x="696461" y="460694"/>
                    </a:lnTo>
                    <a:close/>
                    <a:moveTo>
                      <a:pt x="370362" y="756983"/>
                    </a:moveTo>
                    <a:cubicBezTo>
                      <a:pt x="370362" y="748854"/>
                      <a:pt x="376685" y="742530"/>
                      <a:pt x="384815" y="742530"/>
                    </a:cubicBezTo>
                    <a:lnTo>
                      <a:pt x="532960" y="742530"/>
                    </a:lnTo>
                    <a:cubicBezTo>
                      <a:pt x="541089" y="742530"/>
                      <a:pt x="547413" y="748854"/>
                      <a:pt x="547413" y="756983"/>
                    </a:cubicBezTo>
                    <a:cubicBezTo>
                      <a:pt x="547413" y="765113"/>
                      <a:pt x="541089" y="771437"/>
                      <a:pt x="532960" y="771437"/>
                    </a:cubicBezTo>
                    <a:lnTo>
                      <a:pt x="384815" y="771437"/>
                    </a:lnTo>
                    <a:cubicBezTo>
                      <a:pt x="376685" y="772340"/>
                      <a:pt x="370362" y="766017"/>
                      <a:pt x="370362" y="756983"/>
                    </a:cubicBezTo>
                    <a:close/>
                    <a:moveTo>
                      <a:pt x="184277" y="756983"/>
                    </a:moveTo>
                    <a:lnTo>
                      <a:pt x="293579" y="647682"/>
                    </a:lnTo>
                    <a:cubicBezTo>
                      <a:pt x="311646" y="665748"/>
                      <a:pt x="328809" y="683814"/>
                      <a:pt x="341455" y="706398"/>
                    </a:cubicBezTo>
                    <a:lnTo>
                      <a:pt x="237573" y="810279"/>
                    </a:lnTo>
                    <a:lnTo>
                      <a:pt x="184277" y="756983"/>
                    </a:lnTo>
                    <a:close/>
                    <a:moveTo>
                      <a:pt x="29809" y="327906"/>
                    </a:moveTo>
                    <a:cubicBezTo>
                      <a:pt x="29809" y="295386"/>
                      <a:pt x="56006" y="268287"/>
                      <a:pt x="89428" y="268287"/>
                    </a:cubicBezTo>
                    <a:cubicBezTo>
                      <a:pt x="121948" y="268287"/>
                      <a:pt x="149048" y="294483"/>
                      <a:pt x="149048" y="327906"/>
                    </a:cubicBezTo>
                    <a:lnTo>
                      <a:pt x="178858" y="327906"/>
                    </a:lnTo>
                    <a:cubicBezTo>
                      <a:pt x="178858" y="280030"/>
                      <a:pt x="140918" y="241187"/>
                      <a:pt x="93945" y="239380"/>
                    </a:cubicBezTo>
                    <a:cubicBezTo>
                      <a:pt x="91235" y="229444"/>
                      <a:pt x="90332" y="219507"/>
                      <a:pt x="90332" y="209571"/>
                    </a:cubicBezTo>
                    <a:cubicBezTo>
                      <a:pt x="90332" y="144531"/>
                      <a:pt x="143628" y="91235"/>
                      <a:pt x="208667" y="91235"/>
                    </a:cubicBezTo>
                    <a:cubicBezTo>
                      <a:pt x="252026" y="91235"/>
                      <a:pt x="290870" y="114722"/>
                      <a:pt x="311646" y="151758"/>
                    </a:cubicBezTo>
                    <a:cubicBezTo>
                      <a:pt x="280030" y="170728"/>
                      <a:pt x="257447" y="203247"/>
                      <a:pt x="253833" y="241187"/>
                    </a:cubicBezTo>
                    <a:cubicBezTo>
                      <a:pt x="227637" y="247510"/>
                      <a:pt x="208667" y="270996"/>
                      <a:pt x="208667" y="298999"/>
                    </a:cubicBezTo>
                    <a:lnTo>
                      <a:pt x="238477" y="298999"/>
                    </a:lnTo>
                    <a:cubicBezTo>
                      <a:pt x="238477" y="282740"/>
                      <a:pt x="252026" y="269190"/>
                      <a:pt x="268287" y="269190"/>
                    </a:cubicBezTo>
                    <a:cubicBezTo>
                      <a:pt x="284546" y="269190"/>
                      <a:pt x="298096" y="282740"/>
                      <a:pt x="298096" y="298999"/>
                    </a:cubicBezTo>
                    <a:lnTo>
                      <a:pt x="327906" y="298999"/>
                    </a:lnTo>
                    <a:cubicBezTo>
                      <a:pt x="327906" y="271900"/>
                      <a:pt x="309839" y="249317"/>
                      <a:pt x="284546" y="242090"/>
                    </a:cubicBezTo>
                    <a:cubicBezTo>
                      <a:pt x="290870" y="198731"/>
                      <a:pt x="327906" y="165308"/>
                      <a:pt x="372169" y="165308"/>
                    </a:cubicBezTo>
                    <a:cubicBezTo>
                      <a:pt x="420948" y="165308"/>
                      <a:pt x="460694" y="205054"/>
                      <a:pt x="460694" y="253833"/>
                    </a:cubicBezTo>
                    <a:cubicBezTo>
                      <a:pt x="460694" y="261963"/>
                      <a:pt x="459790" y="269190"/>
                      <a:pt x="457080" y="276416"/>
                    </a:cubicBezTo>
                    <a:cubicBezTo>
                      <a:pt x="432691" y="288160"/>
                      <a:pt x="415528" y="313453"/>
                      <a:pt x="415528" y="342359"/>
                    </a:cubicBezTo>
                    <a:lnTo>
                      <a:pt x="445337" y="342359"/>
                    </a:lnTo>
                    <a:cubicBezTo>
                      <a:pt x="445337" y="317969"/>
                      <a:pt x="465211" y="298096"/>
                      <a:pt x="489600" y="298096"/>
                    </a:cubicBezTo>
                    <a:cubicBezTo>
                      <a:pt x="513990" y="298096"/>
                      <a:pt x="533863" y="317969"/>
                      <a:pt x="533863" y="342359"/>
                    </a:cubicBezTo>
                    <a:cubicBezTo>
                      <a:pt x="533863" y="366748"/>
                      <a:pt x="513990" y="386621"/>
                      <a:pt x="489600" y="386621"/>
                    </a:cubicBezTo>
                    <a:lnTo>
                      <a:pt x="88525" y="386621"/>
                    </a:lnTo>
                    <a:cubicBezTo>
                      <a:pt x="56006" y="386621"/>
                      <a:pt x="29809" y="360425"/>
                      <a:pt x="29809" y="327906"/>
                    </a:cubicBezTo>
                    <a:close/>
                    <a:moveTo>
                      <a:pt x="384815" y="416431"/>
                    </a:moveTo>
                    <a:lnTo>
                      <a:pt x="384815" y="460694"/>
                    </a:lnTo>
                    <a:cubicBezTo>
                      <a:pt x="384815" y="485084"/>
                      <a:pt x="404688" y="504957"/>
                      <a:pt x="429078" y="504957"/>
                    </a:cubicBezTo>
                    <a:lnTo>
                      <a:pt x="547413" y="504957"/>
                    </a:lnTo>
                    <a:cubicBezTo>
                      <a:pt x="555543" y="504957"/>
                      <a:pt x="561866" y="511280"/>
                      <a:pt x="561866" y="519410"/>
                    </a:cubicBezTo>
                    <a:cubicBezTo>
                      <a:pt x="561866" y="527540"/>
                      <a:pt x="555543" y="533863"/>
                      <a:pt x="547413" y="533863"/>
                    </a:cubicBezTo>
                    <a:lnTo>
                      <a:pt x="399268" y="533863"/>
                    </a:lnTo>
                    <a:cubicBezTo>
                      <a:pt x="374878" y="533863"/>
                      <a:pt x="355005" y="553736"/>
                      <a:pt x="355005" y="578126"/>
                    </a:cubicBezTo>
                    <a:cubicBezTo>
                      <a:pt x="355005" y="602516"/>
                      <a:pt x="374878" y="622389"/>
                      <a:pt x="399268" y="622389"/>
                    </a:cubicBezTo>
                    <a:lnTo>
                      <a:pt x="429078" y="622389"/>
                    </a:lnTo>
                    <a:cubicBezTo>
                      <a:pt x="437207" y="622389"/>
                      <a:pt x="443531" y="628712"/>
                      <a:pt x="443531" y="636842"/>
                    </a:cubicBezTo>
                    <a:lnTo>
                      <a:pt x="443531" y="710914"/>
                    </a:lnTo>
                    <a:lnTo>
                      <a:pt x="383912" y="710914"/>
                    </a:lnTo>
                    <a:cubicBezTo>
                      <a:pt x="381202" y="710914"/>
                      <a:pt x="377588" y="710914"/>
                      <a:pt x="374878" y="711817"/>
                    </a:cubicBezTo>
                    <a:cubicBezTo>
                      <a:pt x="357715" y="670265"/>
                      <a:pt x="328809" y="641358"/>
                      <a:pt x="300806" y="614259"/>
                    </a:cubicBezTo>
                    <a:cubicBezTo>
                      <a:pt x="259253" y="574512"/>
                      <a:pt x="220410" y="536573"/>
                      <a:pt x="220410" y="458887"/>
                    </a:cubicBezTo>
                    <a:cubicBezTo>
                      <a:pt x="220410" y="443531"/>
                      <a:pt x="222217" y="429078"/>
                      <a:pt x="224927" y="414625"/>
                    </a:cubicBezTo>
                    <a:lnTo>
                      <a:pt x="384815" y="414625"/>
                    </a:lnTo>
                    <a:close/>
                    <a:moveTo>
                      <a:pt x="271900" y="627808"/>
                    </a:moveTo>
                    <a:lnTo>
                      <a:pt x="163501" y="736207"/>
                    </a:lnTo>
                    <a:lnTo>
                      <a:pt x="110205" y="682911"/>
                    </a:lnTo>
                    <a:lnTo>
                      <a:pt x="223121" y="569996"/>
                    </a:lnTo>
                    <a:cubicBezTo>
                      <a:pt x="236670" y="591676"/>
                      <a:pt x="253833" y="610645"/>
                      <a:pt x="271900" y="627808"/>
                    </a:cubicBezTo>
                    <a:lnTo>
                      <a:pt x="271900" y="627808"/>
                    </a:lnTo>
                    <a:close/>
                    <a:moveTo>
                      <a:pt x="94849" y="710010"/>
                    </a:moveTo>
                    <a:lnTo>
                      <a:pt x="210474" y="825636"/>
                    </a:lnTo>
                    <a:lnTo>
                      <a:pt x="112012" y="863575"/>
                    </a:lnTo>
                    <a:lnTo>
                      <a:pt x="56909" y="808473"/>
                    </a:lnTo>
                    <a:lnTo>
                      <a:pt x="94849" y="710010"/>
                    </a:lnTo>
                    <a:close/>
                    <a:moveTo>
                      <a:pt x="43359" y="889772"/>
                    </a:moveTo>
                    <a:cubicBezTo>
                      <a:pt x="37036" y="892482"/>
                      <a:pt x="29809" y="887062"/>
                      <a:pt x="29809" y="879835"/>
                    </a:cubicBezTo>
                    <a:cubicBezTo>
                      <a:pt x="29809" y="878932"/>
                      <a:pt x="29809" y="877125"/>
                      <a:pt x="30713" y="876222"/>
                    </a:cubicBezTo>
                    <a:lnTo>
                      <a:pt x="45166" y="837379"/>
                    </a:lnTo>
                    <a:lnTo>
                      <a:pt x="82202" y="874415"/>
                    </a:lnTo>
                    <a:lnTo>
                      <a:pt x="43359" y="889772"/>
                    </a:lnTo>
                    <a:close/>
                    <a:moveTo>
                      <a:pt x="458887" y="890675"/>
                    </a:moveTo>
                    <a:cubicBezTo>
                      <a:pt x="437207" y="890675"/>
                      <a:pt x="417335" y="878932"/>
                      <a:pt x="406495" y="860865"/>
                    </a:cubicBezTo>
                    <a:lnTo>
                      <a:pt x="511280" y="860865"/>
                    </a:lnTo>
                    <a:cubicBezTo>
                      <a:pt x="500440" y="878932"/>
                      <a:pt x="481470" y="890675"/>
                      <a:pt x="458887" y="890675"/>
                    </a:cubicBezTo>
                    <a:lnTo>
                      <a:pt x="458887" y="890675"/>
                    </a:lnTo>
                    <a:close/>
                    <a:moveTo>
                      <a:pt x="533863" y="831056"/>
                    </a:moveTo>
                    <a:lnTo>
                      <a:pt x="385718" y="831056"/>
                    </a:lnTo>
                    <a:cubicBezTo>
                      <a:pt x="377588" y="831056"/>
                      <a:pt x="371265" y="824732"/>
                      <a:pt x="371265" y="816603"/>
                    </a:cubicBezTo>
                    <a:cubicBezTo>
                      <a:pt x="371265" y="808473"/>
                      <a:pt x="377588" y="802149"/>
                      <a:pt x="385718" y="802149"/>
                    </a:cubicBezTo>
                    <a:lnTo>
                      <a:pt x="533863" y="802149"/>
                    </a:lnTo>
                    <a:cubicBezTo>
                      <a:pt x="541993" y="802149"/>
                      <a:pt x="548316" y="808473"/>
                      <a:pt x="548316" y="816603"/>
                    </a:cubicBezTo>
                    <a:cubicBezTo>
                      <a:pt x="548316" y="824732"/>
                      <a:pt x="541993" y="831056"/>
                      <a:pt x="533863" y="831056"/>
                    </a:cubicBezTo>
                    <a:close/>
                    <a:moveTo>
                      <a:pt x="888868" y="668458"/>
                    </a:moveTo>
                    <a:lnTo>
                      <a:pt x="888868" y="668458"/>
                    </a:lnTo>
                    <a:cubicBezTo>
                      <a:pt x="864479" y="668458"/>
                      <a:pt x="843702" y="682911"/>
                      <a:pt x="834669" y="704591"/>
                    </a:cubicBezTo>
                    <a:cubicBezTo>
                      <a:pt x="825636" y="726271"/>
                      <a:pt x="830152" y="751564"/>
                      <a:pt x="847315" y="767823"/>
                    </a:cubicBezTo>
                    <a:lnTo>
                      <a:pt x="848219" y="768726"/>
                    </a:lnTo>
                    <a:lnTo>
                      <a:pt x="827442" y="789503"/>
                    </a:lnTo>
                    <a:lnTo>
                      <a:pt x="826539" y="788600"/>
                    </a:lnTo>
                    <a:cubicBezTo>
                      <a:pt x="809376" y="771437"/>
                      <a:pt x="784986" y="766920"/>
                      <a:pt x="762403" y="775953"/>
                    </a:cubicBezTo>
                    <a:cubicBezTo>
                      <a:pt x="740724" y="784987"/>
                      <a:pt x="726270" y="805763"/>
                      <a:pt x="726270" y="829249"/>
                    </a:cubicBezTo>
                    <a:lnTo>
                      <a:pt x="726270" y="830153"/>
                    </a:lnTo>
                    <a:lnTo>
                      <a:pt x="696461" y="830153"/>
                    </a:lnTo>
                    <a:lnTo>
                      <a:pt x="696461" y="831056"/>
                    </a:lnTo>
                    <a:cubicBezTo>
                      <a:pt x="696461" y="807570"/>
                      <a:pt x="682008" y="786793"/>
                      <a:pt x="660328" y="776856"/>
                    </a:cubicBezTo>
                    <a:cubicBezTo>
                      <a:pt x="638648" y="767823"/>
                      <a:pt x="613355" y="772340"/>
                      <a:pt x="597095" y="789503"/>
                    </a:cubicBezTo>
                    <a:lnTo>
                      <a:pt x="596192" y="790406"/>
                    </a:lnTo>
                    <a:lnTo>
                      <a:pt x="576319" y="770533"/>
                    </a:lnTo>
                    <a:cubicBezTo>
                      <a:pt x="577222" y="766920"/>
                      <a:pt x="578126" y="762404"/>
                      <a:pt x="578126" y="757887"/>
                    </a:cubicBezTo>
                    <a:cubicBezTo>
                      <a:pt x="578126" y="747047"/>
                      <a:pt x="574512" y="738014"/>
                      <a:pt x="568189" y="729884"/>
                    </a:cubicBezTo>
                    <a:cubicBezTo>
                      <a:pt x="577222" y="704591"/>
                      <a:pt x="591676" y="684718"/>
                      <a:pt x="608838" y="666651"/>
                    </a:cubicBezTo>
                    <a:cubicBezTo>
                      <a:pt x="615162" y="718141"/>
                      <a:pt x="658521" y="757887"/>
                      <a:pt x="711817" y="757887"/>
                    </a:cubicBezTo>
                    <a:cubicBezTo>
                      <a:pt x="768726" y="757887"/>
                      <a:pt x="815699" y="710914"/>
                      <a:pt x="815699" y="654005"/>
                    </a:cubicBezTo>
                    <a:cubicBezTo>
                      <a:pt x="815699" y="597095"/>
                      <a:pt x="768726" y="550123"/>
                      <a:pt x="711817" y="550123"/>
                    </a:cubicBezTo>
                    <a:cubicBezTo>
                      <a:pt x="710010" y="550123"/>
                      <a:pt x="709107" y="550123"/>
                      <a:pt x="707301" y="550123"/>
                    </a:cubicBezTo>
                    <a:cubicBezTo>
                      <a:pt x="717237" y="529346"/>
                      <a:pt x="724464" y="504957"/>
                      <a:pt x="726270" y="476051"/>
                    </a:cubicBezTo>
                    <a:lnTo>
                      <a:pt x="727174" y="476051"/>
                    </a:lnTo>
                    <a:lnTo>
                      <a:pt x="727174" y="476954"/>
                    </a:lnTo>
                    <a:cubicBezTo>
                      <a:pt x="727174" y="500440"/>
                      <a:pt x="741627" y="521217"/>
                      <a:pt x="763307" y="531153"/>
                    </a:cubicBezTo>
                    <a:cubicBezTo>
                      <a:pt x="784986" y="540186"/>
                      <a:pt x="810279" y="535670"/>
                      <a:pt x="826539" y="518507"/>
                    </a:cubicBezTo>
                    <a:lnTo>
                      <a:pt x="827442" y="517603"/>
                    </a:lnTo>
                    <a:lnTo>
                      <a:pt x="848219" y="538379"/>
                    </a:lnTo>
                    <a:lnTo>
                      <a:pt x="847315" y="539283"/>
                    </a:lnTo>
                    <a:cubicBezTo>
                      <a:pt x="831056" y="555543"/>
                      <a:pt x="825636" y="580836"/>
                      <a:pt x="834669" y="603419"/>
                    </a:cubicBezTo>
                    <a:cubicBezTo>
                      <a:pt x="843702" y="625099"/>
                      <a:pt x="864479" y="639552"/>
                      <a:pt x="887965" y="639552"/>
                    </a:cubicBezTo>
                    <a:lnTo>
                      <a:pt x="888868" y="639552"/>
                    </a:lnTo>
                    <a:lnTo>
                      <a:pt x="888868" y="668458"/>
                    </a:lnTo>
                    <a:close/>
                  </a:path>
                </a:pathLst>
              </a:custGeom>
              <a:grpFill/>
              <a:ln w="9028" cap="flat">
                <a:noFill/>
                <a:prstDash val="solid"/>
                <a:miter/>
              </a:ln>
            </p:spPr>
            <p:txBody>
              <a:bodyPr rtlCol="0" anchor="ctr"/>
              <a:lstStyle/>
              <a:p>
                <a:pPr algn="l" rtl="0"/>
                <a:endParaRPr lang="en-US">
                  <a:latin typeface="Calibri" panose="020F0502020204030204" pitchFamily="34" charset="0"/>
                  <a:cs typeface="Calibri" panose="020F0502020204030204" pitchFamily="34" charset="0"/>
                </a:endParaRPr>
              </a:p>
            </p:txBody>
          </p:sp>
        </p:grpSp>
        <p:grpSp>
          <p:nvGrpSpPr>
            <p:cNvPr id="120" name="Graphic 3">
              <a:extLst>
                <a:ext uri="{FF2B5EF4-FFF2-40B4-BE49-F238E27FC236}">
                  <a16:creationId xmlns:a16="http://schemas.microsoft.com/office/drawing/2014/main" id="{D845616B-FAD8-BC2D-6D93-327EB522E75A}"/>
                </a:ext>
              </a:extLst>
            </p:cNvPr>
            <p:cNvGrpSpPr/>
            <p:nvPr/>
          </p:nvGrpSpPr>
          <p:grpSpPr>
            <a:xfrm>
              <a:off x="5112397" y="4875772"/>
              <a:ext cx="649846" cy="733313"/>
              <a:chOff x="4643578" y="432838"/>
              <a:chExt cx="1028134" cy="1160188"/>
            </a:xfrm>
            <a:solidFill>
              <a:schemeClr val="bg1"/>
            </a:solidFill>
          </p:grpSpPr>
          <p:sp>
            <p:nvSpPr>
              <p:cNvPr id="121" name="Freeform 120">
                <a:extLst>
                  <a:ext uri="{FF2B5EF4-FFF2-40B4-BE49-F238E27FC236}">
                    <a16:creationId xmlns:a16="http://schemas.microsoft.com/office/drawing/2014/main" id="{98B7800B-A44B-3D1B-3502-36174E94518D}"/>
                  </a:ext>
                </a:extLst>
              </p:cNvPr>
              <p:cNvSpPr/>
              <p:nvPr/>
            </p:nvSpPr>
            <p:spPr>
              <a:xfrm>
                <a:off x="5115334" y="53157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pPr algn="l" rtl="0"/>
                <a:endParaRPr lang="en-US"/>
              </a:p>
            </p:txBody>
          </p:sp>
          <p:grpSp>
            <p:nvGrpSpPr>
              <p:cNvPr id="122" name="Graphic 3">
                <a:extLst>
                  <a:ext uri="{FF2B5EF4-FFF2-40B4-BE49-F238E27FC236}">
                    <a16:creationId xmlns:a16="http://schemas.microsoft.com/office/drawing/2014/main" id="{1CDCBBCD-CF26-FC5E-399A-39221E54B171}"/>
                  </a:ext>
                </a:extLst>
              </p:cNvPr>
              <p:cNvGrpSpPr/>
              <p:nvPr/>
            </p:nvGrpSpPr>
            <p:grpSpPr>
              <a:xfrm>
                <a:off x="4643578" y="432838"/>
                <a:ext cx="1028134" cy="1160188"/>
                <a:chOff x="4643578" y="432838"/>
                <a:chExt cx="1028134" cy="1160188"/>
              </a:xfrm>
              <a:grpFill/>
            </p:grpSpPr>
            <p:sp>
              <p:nvSpPr>
                <p:cNvPr id="123" name="Freeform 122">
                  <a:extLst>
                    <a:ext uri="{FF2B5EF4-FFF2-40B4-BE49-F238E27FC236}">
                      <a16:creationId xmlns:a16="http://schemas.microsoft.com/office/drawing/2014/main" id="{3F9FEF64-2C6B-2FC1-6073-37E5271E128E}"/>
                    </a:ext>
                  </a:extLst>
                </p:cNvPr>
                <p:cNvSpPr/>
                <p:nvPr/>
              </p:nvSpPr>
              <p:spPr>
                <a:xfrm>
                  <a:off x="5115334" y="61111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pPr algn="l" rtl="0"/>
                  <a:endParaRPr lang="en-US"/>
                </a:p>
              </p:txBody>
            </p:sp>
            <p:sp>
              <p:nvSpPr>
                <p:cNvPr id="124" name="Freeform 123">
                  <a:extLst>
                    <a:ext uri="{FF2B5EF4-FFF2-40B4-BE49-F238E27FC236}">
                      <a16:creationId xmlns:a16="http://schemas.microsoft.com/office/drawing/2014/main" id="{29E7A41C-45D5-0049-7F58-BE551AEA5114}"/>
                    </a:ext>
                  </a:extLst>
                </p:cNvPr>
                <p:cNvSpPr/>
                <p:nvPr/>
              </p:nvSpPr>
              <p:spPr>
                <a:xfrm>
                  <a:off x="4643578" y="432838"/>
                  <a:ext cx="1028134" cy="1160188"/>
                </a:xfrm>
                <a:custGeom>
                  <a:avLst/>
                  <a:gdLst>
                    <a:gd name="connsiteX0" fmla="*/ 1017568 w 1028134"/>
                    <a:gd name="connsiteY0" fmla="*/ 661006 h 1160188"/>
                    <a:gd name="connsiteX1" fmla="*/ 935285 w 1028134"/>
                    <a:gd name="connsiteY1" fmla="*/ 515639 h 1160188"/>
                    <a:gd name="connsiteX2" fmla="*/ 935285 w 1028134"/>
                    <a:gd name="connsiteY2" fmla="*/ 515639 h 1160188"/>
                    <a:gd name="connsiteX3" fmla="*/ 880429 w 1028134"/>
                    <a:gd name="connsiteY3" fmla="*/ 469012 h 1160188"/>
                    <a:gd name="connsiteX4" fmla="*/ 855744 w 1028134"/>
                    <a:gd name="connsiteY4" fmla="*/ 469012 h 1160188"/>
                    <a:gd name="connsiteX5" fmla="*/ 855744 w 1028134"/>
                    <a:gd name="connsiteY5" fmla="*/ 293476 h 1160188"/>
                    <a:gd name="connsiteX6" fmla="*/ 839288 w 1028134"/>
                    <a:gd name="connsiteY6" fmla="*/ 277019 h 1160188"/>
                    <a:gd name="connsiteX7" fmla="*/ 822830 w 1028134"/>
                    <a:gd name="connsiteY7" fmla="*/ 293476 h 1160188"/>
                    <a:gd name="connsiteX8" fmla="*/ 822830 w 1028134"/>
                    <a:gd name="connsiteY8" fmla="*/ 469012 h 1160188"/>
                    <a:gd name="connsiteX9" fmla="*/ 441587 w 1028134"/>
                    <a:gd name="connsiteY9" fmla="*/ 469012 h 1160188"/>
                    <a:gd name="connsiteX10" fmla="*/ 441587 w 1028134"/>
                    <a:gd name="connsiteY10" fmla="*/ 337360 h 1160188"/>
                    <a:gd name="connsiteX11" fmla="*/ 405929 w 1028134"/>
                    <a:gd name="connsiteY11" fmla="*/ 200222 h 1160188"/>
                    <a:gd name="connsiteX12" fmla="*/ 405929 w 1028134"/>
                    <a:gd name="connsiteY12" fmla="*/ 60341 h 1160188"/>
                    <a:gd name="connsiteX13" fmla="*/ 430615 w 1028134"/>
                    <a:gd name="connsiteY13" fmla="*/ 35656 h 1160188"/>
                    <a:gd name="connsiteX14" fmla="*/ 693920 w 1028134"/>
                    <a:gd name="connsiteY14" fmla="*/ 35656 h 1160188"/>
                    <a:gd name="connsiteX15" fmla="*/ 693920 w 1028134"/>
                    <a:gd name="connsiteY15" fmla="*/ 106968 h 1160188"/>
                    <a:gd name="connsiteX16" fmla="*/ 751519 w 1028134"/>
                    <a:gd name="connsiteY16" fmla="*/ 164566 h 1160188"/>
                    <a:gd name="connsiteX17" fmla="*/ 822830 w 1028134"/>
                    <a:gd name="connsiteY17" fmla="*/ 164566 h 1160188"/>
                    <a:gd name="connsiteX18" fmla="*/ 822830 w 1028134"/>
                    <a:gd name="connsiteY18" fmla="*/ 213936 h 1160188"/>
                    <a:gd name="connsiteX19" fmla="*/ 839288 w 1028134"/>
                    <a:gd name="connsiteY19" fmla="*/ 230392 h 1160188"/>
                    <a:gd name="connsiteX20" fmla="*/ 855744 w 1028134"/>
                    <a:gd name="connsiteY20" fmla="*/ 213936 h 1160188"/>
                    <a:gd name="connsiteX21" fmla="*/ 855744 w 1028134"/>
                    <a:gd name="connsiteY21" fmla="*/ 159080 h 1160188"/>
                    <a:gd name="connsiteX22" fmla="*/ 842030 w 1028134"/>
                    <a:gd name="connsiteY22" fmla="*/ 128910 h 1160188"/>
                    <a:gd name="connsiteX23" fmla="*/ 726833 w 1028134"/>
                    <a:gd name="connsiteY23" fmla="*/ 13714 h 1160188"/>
                    <a:gd name="connsiteX24" fmla="*/ 696664 w 1028134"/>
                    <a:gd name="connsiteY24" fmla="*/ 0 h 1160188"/>
                    <a:gd name="connsiteX25" fmla="*/ 430615 w 1028134"/>
                    <a:gd name="connsiteY25" fmla="*/ 0 h 1160188"/>
                    <a:gd name="connsiteX26" fmla="*/ 373017 w 1028134"/>
                    <a:gd name="connsiteY26" fmla="*/ 57598 h 1160188"/>
                    <a:gd name="connsiteX27" fmla="*/ 373017 w 1028134"/>
                    <a:gd name="connsiteY27" fmla="*/ 120682 h 1160188"/>
                    <a:gd name="connsiteX28" fmla="*/ 329132 w 1028134"/>
                    <a:gd name="connsiteY28" fmla="*/ 24685 h 1160188"/>
                    <a:gd name="connsiteX29" fmla="*/ 255077 w 1028134"/>
                    <a:gd name="connsiteY29" fmla="*/ 24685 h 1160188"/>
                    <a:gd name="connsiteX30" fmla="*/ 200222 w 1028134"/>
                    <a:gd name="connsiteY30" fmla="*/ 145366 h 1160188"/>
                    <a:gd name="connsiteX31" fmla="*/ 200222 w 1028134"/>
                    <a:gd name="connsiteY31" fmla="*/ 145366 h 1160188"/>
                    <a:gd name="connsiteX32" fmla="*/ 142624 w 1028134"/>
                    <a:gd name="connsiteY32" fmla="*/ 334617 h 1160188"/>
                    <a:gd name="connsiteX33" fmla="*/ 142624 w 1028134"/>
                    <a:gd name="connsiteY33" fmla="*/ 466270 h 1160188"/>
                    <a:gd name="connsiteX34" fmla="*/ 57599 w 1028134"/>
                    <a:gd name="connsiteY34" fmla="*/ 466270 h 1160188"/>
                    <a:gd name="connsiteX35" fmla="*/ 2744 w 1028134"/>
                    <a:gd name="connsiteY35" fmla="*/ 512897 h 1160188"/>
                    <a:gd name="connsiteX36" fmla="*/ 0 w 1028134"/>
                    <a:gd name="connsiteY36" fmla="*/ 554038 h 1160188"/>
                    <a:gd name="connsiteX37" fmla="*/ 85027 w 1028134"/>
                    <a:gd name="connsiteY37" fmla="*/ 877684 h 1160188"/>
                    <a:gd name="connsiteX38" fmla="*/ 85027 w 1028134"/>
                    <a:gd name="connsiteY38" fmla="*/ 1044992 h 1160188"/>
                    <a:gd name="connsiteX39" fmla="*/ 41142 w 1028134"/>
                    <a:gd name="connsiteY39" fmla="*/ 1102591 h 1160188"/>
                    <a:gd name="connsiteX40" fmla="*/ 98741 w 1028134"/>
                    <a:gd name="connsiteY40" fmla="*/ 1160189 h 1160188"/>
                    <a:gd name="connsiteX41" fmla="*/ 693920 w 1028134"/>
                    <a:gd name="connsiteY41" fmla="*/ 1160189 h 1160188"/>
                    <a:gd name="connsiteX42" fmla="*/ 751519 w 1028134"/>
                    <a:gd name="connsiteY42" fmla="*/ 1102591 h 1160188"/>
                    <a:gd name="connsiteX43" fmla="*/ 707634 w 1028134"/>
                    <a:gd name="connsiteY43" fmla="*/ 1044992 h 1160188"/>
                    <a:gd name="connsiteX44" fmla="*/ 707634 w 1028134"/>
                    <a:gd name="connsiteY44" fmla="*/ 998366 h 1160188"/>
                    <a:gd name="connsiteX45" fmla="*/ 729577 w 1028134"/>
                    <a:gd name="connsiteY45" fmla="*/ 979166 h 1160188"/>
                    <a:gd name="connsiteX46" fmla="*/ 844772 w 1028134"/>
                    <a:gd name="connsiteY46" fmla="*/ 987394 h 1160188"/>
                    <a:gd name="connsiteX47" fmla="*/ 935285 w 1028134"/>
                    <a:gd name="connsiteY47" fmla="*/ 905112 h 1160188"/>
                    <a:gd name="connsiteX48" fmla="*/ 935285 w 1028134"/>
                    <a:gd name="connsiteY48" fmla="*/ 789916 h 1160188"/>
                    <a:gd name="connsiteX49" fmla="*/ 951741 w 1028134"/>
                    <a:gd name="connsiteY49" fmla="*/ 765231 h 1160188"/>
                    <a:gd name="connsiteX50" fmla="*/ 990140 w 1028134"/>
                    <a:gd name="connsiteY50" fmla="*/ 751517 h 1160188"/>
                    <a:gd name="connsiteX51" fmla="*/ 1017568 w 1028134"/>
                    <a:gd name="connsiteY51" fmla="*/ 661006 h 1160188"/>
                    <a:gd name="connsiteX52" fmla="*/ 1017568 w 1028134"/>
                    <a:gd name="connsiteY52" fmla="*/ 661006 h 1160188"/>
                    <a:gd name="connsiteX53" fmla="*/ 798146 w 1028134"/>
                    <a:gd name="connsiteY53" fmla="*/ 131653 h 1160188"/>
                    <a:gd name="connsiteX54" fmla="*/ 748775 w 1028134"/>
                    <a:gd name="connsiteY54" fmla="*/ 131653 h 1160188"/>
                    <a:gd name="connsiteX55" fmla="*/ 724091 w 1028134"/>
                    <a:gd name="connsiteY55" fmla="*/ 106968 h 1160188"/>
                    <a:gd name="connsiteX56" fmla="*/ 724091 w 1028134"/>
                    <a:gd name="connsiteY56" fmla="*/ 57598 h 1160188"/>
                    <a:gd name="connsiteX57" fmla="*/ 798146 w 1028134"/>
                    <a:gd name="connsiteY57" fmla="*/ 131653 h 1160188"/>
                    <a:gd name="connsiteX58" fmla="*/ 285248 w 1028134"/>
                    <a:gd name="connsiteY58" fmla="*/ 38399 h 1160188"/>
                    <a:gd name="connsiteX59" fmla="*/ 298962 w 1028134"/>
                    <a:gd name="connsiteY59" fmla="*/ 38399 h 1160188"/>
                    <a:gd name="connsiteX60" fmla="*/ 342846 w 1028134"/>
                    <a:gd name="connsiteY60" fmla="*/ 137138 h 1160188"/>
                    <a:gd name="connsiteX61" fmla="*/ 244107 w 1028134"/>
                    <a:gd name="connsiteY61" fmla="*/ 137138 h 1160188"/>
                    <a:gd name="connsiteX62" fmla="*/ 285248 w 1028134"/>
                    <a:gd name="connsiteY62" fmla="*/ 38399 h 1160188"/>
                    <a:gd name="connsiteX63" fmla="*/ 224907 w 1028134"/>
                    <a:gd name="connsiteY63" fmla="*/ 170051 h 1160188"/>
                    <a:gd name="connsiteX64" fmla="*/ 353818 w 1028134"/>
                    <a:gd name="connsiteY64" fmla="*/ 170051 h 1160188"/>
                    <a:gd name="connsiteX65" fmla="*/ 400445 w 1028134"/>
                    <a:gd name="connsiteY65" fmla="*/ 287990 h 1160188"/>
                    <a:gd name="connsiteX66" fmla="*/ 178280 w 1028134"/>
                    <a:gd name="connsiteY66" fmla="*/ 287990 h 1160188"/>
                    <a:gd name="connsiteX67" fmla="*/ 224907 w 1028134"/>
                    <a:gd name="connsiteY67" fmla="*/ 170051 h 1160188"/>
                    <a:gd name="connsiteX68" fmla="*/ 224907 w 1028134"/>
                    <a:gd name="connsiteY68" fmla="*/ 170051 h 1160188"/>
                    <a:gd name="connsiteX69" fmla="*/ 175538 w 1028134"/>
                    <a:gd name="connsiteY69" fmla="*/ 337360 h 1160188"/>
                    <a:gd name="connsiteX70" fmla="*/ 175538 w 1028134"/>
                    <a:gd name="connsiteY70" fmla="*/ 323646 h 1160188"/>
                    <a:gd name="connsiteX71" fmla="*/ 405929 w 1028134"/>
                    <a:gd name="connsiteY71" fmla="*/ 323646 h 1160188"/>
                    <a:gd name="connsiteX72" fmla="*/ 405929 w 1028134"/>
                    <a:gd name="connsiteY72" fmla="*/ 337360 h 1160188"/>
                    <a:gd name="connsiteX73" fmla="*/ 405929 w 1028134"/>
                    <a:gd name="connsiteY73" fmla="*/ 469012 h 1160188"/>
                    <a:gd name="connsiteX74" fmla="*/ 172794 w 1028134"/>
                    <a:gd name="connsiteY74" fmla="*/ 469012 h 1160188"/>
                    <a:gd name="connsiteX75" fmla="*/ 172794 w 1028134"/>
                    <a:gd name="connsiteY75" fmla="*/ 337360 h 1160188"/>
                    <a:gd name="connsiteX76" fmla="*/ 74055 w 1028134"/>
                    <a:gd name="connsiteY76" fmla="*/ 1105333 h 1160188"/>
                    <a:gd name="connsiteX77" fmla="*/ 98741 w 1028134"/>
                    <a:gd name="connsiteY77" fmla="*/ 1080648 h 1160188"/>
                    <a:gd name="connsiteX78" fmla="*/ 145366 w 1028134"/>
                    <a:gd name="connsiteY78" fmla="*/ 1080648 h 1160188"/>
                    <a:gd name="connsiteX79" fmla="*/ 161824 w 1028134"/>
                    <a:gd name="connsiteY79" fmla="*/ 1064192 h 1160188"/>
                    <a:gd name="connsiteX80" fmla="*/ 145366 w 1028134"/>
                    <a:gd name="connsiteY80" fmla="*/ 1047735 h 1160188"/>
                    <a:gd name="connsiteX81" fmla="*/ 117939 w 1028134"/>
                    <a:gd name="connsiteY81" fmla="*/ 1047735 h 1160188"/>
                    <a:gd name="connsiteX82" fmla="*/ 117939 w 1028134"/>
                    <a:gd name="connsiteY82" fmla="*/ 883170 h 1160188"/>
                    <a:gd name="connsiteX83" fmla="*/ 32914 w 1028134"/>
                    <a:gd name="connsiteY83" fmla="*/ 559524 h 1160188"/>
                    <a:gd name="connsiteX84" fmla="*/ 35656 w 1028134"/>
                    <a:gd name="connsiteY84" fmla="*/ 523868 h 1160188"/>
                    <a:gd name="connsiteX85" fmla="*/ 54855 w 1028134"/>
                    <a:gd name="connsiteY85" fmla="*/ 507411 h 1160188"/>
                    <a:gd name="connsiteX86" fmla="*/ 611637 w 1028134"/>
                    <a:gd name="connsiteY86" fmla="*/ 507411 h 1160188"/>
                    <a:gd name="connsiteX87" fmla="*/ 614381 w 1028134"/>
                    <a:gd name="connsiteY87" fmla="*/ 526610 h 1160188"/>
                    <a:gd name="connsiteX88" fmla="*/ 704892 w 1028134"/>
                    <a:gd name="connsiteY88" fmla="*/ 688433 h 1160188"/>
                    <a:gd name="connsiteX89" fmla="*/ 693920 w 1028134"/>
                    <a:gd name="connsiteY89" fmla="*/ 726832 h 1160188"/>
                    <a:gd name="connsiteX90" fmla="*/ 655522 w 1028134"/>
                    <a:gd name="connsiteY90" fmla="*/ 740546 h 1160188"/>
                    <a:gd name="connsiteX91" fmla="*/ 617123 w 1028134"/>
                    <a:gd name="connsiteY91" fmla="*/ 795401 h 1160188"/>
                    <a:gd name="connsiteX92" fmla="*/ 617123 w 1028134"/>
                    <a:gd name="connsiteY92" fmla="*/ 910597 h 1160188"/>
                    <a:gd name="connsiteX93" fmla="*/ 562267 w 1028134"/>
                    <a:gd name="connsiteY93" fmla="*/ 959967 h 1160188"/>
                    <a:gd name="connsiteX94" fmla="*/ 447071 w 1028134"/>
                    <a:gd name="connsiteY94" fmla="*/ 951739 h 1160188"/>
                    <a:gd name="connsiteX95" fmla="*/ 389473 w 1028134"/>
                    <a:gd name="connsiteY95" fmla="*/ 1006594 h 1160188"/>
                    <a:gd name="connsiteX96" fmla="*/ 389473 w 1028134"/>
                    <a:gd name="connsiteY96" fmla="*/ 1050478 h 1160188"/>
                    <a:gd name="connsiteX97" fmla="*/ 224907 w 1028134"/>
                    <a:gd name="connsiteY97" fmla="*/ 1050478 h 1160188"/>
                    <a:gd name="connsiteX98" fmla="*/ 208451 w 1028134"/>
                    <a:gd name="connsiteY98" fmla="*/ 1066935 h 1160188"/>
                    <a:gd name="connsiteX99" fmla="*/ 224907 w 1028134"/>
                    <a:gd name="connsiteY99" fmla="*/ 1083391 h 1160188"/>
                    <a:gd name="connsiteX100" fmla="*/ 408673 w 1028134"/>
                    <a:gd name="connsiteY100" fmla="*/ 1083391 h 1160188"/>
                    <a:gd name="connsiteX101" fmla="*/ 433357 w 1028134"/>
                    <a:gd name="connsiteY101" fmla="*/ 1108076 h 1160188"/>
                    <a:gd name="connsiteX102" fmla="*/ 408673 w 1028134"/>
                    <a:gd name="connsiteY102" fmla="*/ 1132761 h 1160188"/>
                    <a:gd name="connsiteX103" fmla="*/ 98741 w 1028134"/>
                    <a:gd name="connsiteY103" fmla="*/ 1132761 h 1160188"/>
                    <a:gd name="connsiteX104" fmla="*/ 74055 w 1028134"/>
                    <a:gd name="connsiteY104" fmla="*/ 1105333 h 1160188"/>
                    <a:gd name="connsiteX105" fmla="*/ 74055 w 1028134"/>
                    <a:gd name="connsiteY105" fmla="*/ 1105333 h 1160188"/>
                    <a:gd name="connsiteX106" fmla="*/ 718605 w 1028134"/>
                    <a:gd name="connsiteY106" fmla="*/ 1105333 h 1160188"/>
                    <a:gd name="connsiteX107" fmla="*/ 693920 w 1028134"/>
                    <a:gd name="connsiteY107" fmla="*/ 1130018 h 1160188"/>
                    <a:gd name="connsiteX108" fmla="*/ 460785 w 1028134"/>
                    <a:gd name="connsiteY108" fmla="*/ 1130018 h 1160188"/>
                    <a:gd name="connsiteX109" fmla="*/ 466270 w 1028134"/>
                    <a:gd name="connsiteY109" fmla="*/ 1105333 h 1160188"/>
                    <a:gd name="connsiteX110" fmla="*/ 460785 w 1028134"/>
                    <a:gd name="connsiteY110" fmla="*/ 1080648 h 1160188"/>
                    <a:gd name="connsiteX111" fmla="*/ 693920 w 1028134"/>
                    <a:gd name="connsiteY111" fmla="*/ 1080648 h 1160188"/>
                    <a:gd name="connsiteX112" fmla="*/ 718605 w 1028134"/>
                    <a:gd name="connsiteY112" fmla="*/ 1105333 h 1160188"/>
                    <a:gd name="connsiteX113" fmla="*/ 718605 w 1028134"/>
                    <a:gd name="connsiteY113" fmla="*/ 1105333 h 1160188"/>
                    <a:gd name="connsiteX114" fmla="*/ 976426 w 1028134"/>
                    <a:gd name="connsiteY114" fmla="*/ 721347 h 1160188"/>
                    <a:gd name="connsiteX115" fmla="*/ 938027 w 1028134"/>
                    <a:gd name="connsiteY115" fmla="*/ 735060 h 1160188"/>
                    <a:gd name="connsiteX116" fmla="*/ 899627 w 1028134"/>
                    <a:gd name="connsiteY116" fmla="*/ 789916 h 1160188"/>
                    <a:gd name="connsiteX117" fmla="*/ 899627 w 1028134"/>
                    <a:gd name="connsiteY117" fmla="*/ 905112 h 1160188"/>
                    <a:gd name="connsiteX118" fmla="*/ 844772 w 1028134"/>
                    <a:gd name="connsiteY118" fmla="*/ 954481 h 1160188"/>
                    <a:gd name="connsiteX119" fmla="*/ 729577 w 1028134"/>
                    <a:gd name="connsiteY119" fmla="*/ 946253 h 1160188"/>
                    <a:gd name="connsiteX120" fmla="*/ 671978 w 1028134"/>
                    <a:gd name="connsiteY120" fmla="*/ 1001108 h 1160188"/>
                    <a:gd name="connsiteX121" fmla="*/ 671978 w 1028134"/>
                    <a:gd name="connsiteY121" fmla="*/ 1044992 h 1160188"/>
                    <a:gd name="connsiteX122" fmla="*/ 419643 w 1028134"/>
                    <a:gd name="connsiteY122" fmla="*/ 1044992 h 1160188"/>
                    <a:gd name="connsiteX123" fmla="*/ 419643 w 1028134"/>
                    <a:gd name="connsiteY123" fmla="*/ 1001108 h 1160188"/>
                    <a:gd name="connsiteX124" fmla="*/ 441587 w 1028134"/>
                    <a:gd name="connsiteY124" fmla="*/ 981909 h 1160188"/>
                    <a:gd name="connsiteX125" fmla="*/ 556781 w 1028134"/>
                    <a:gd name="connsiteY125" fmla="*/ 990137 h 1160188"/>
                    <a:gd name="connsiteX126" fmla="*/ 647294 w 1028134"/>
                    <a:gd name="connsiteY126" fmla="*/ 907854 h 1160188"/>
                    <a:gd name="connsiteX127" fmla="*/ 647294 w 1028134"/>
                    <a:gd name="connsiteY127" fmla="*/ 792658 h 1160188"/>
                    <a:gd name="connsiteX128" fmla="*/ 663750 w 1028134"/>
                    <a:gd name="connsiteY128" fmla="*/ 767973 h 1160188"/>
                    <a:gd name="connsiteX129" fmla="*/ 702149 w 1028134"/>
                    <a:gd name="connsiteY129" fmla="*/ 754260 h 1160188"/>
                    <a:gd name="connsiteX130" fmla="*/ 729577 w 1028134"/>
                    <a:gd name="connsiteY130" fmla="*/ 663749 h 1160188"/>
                    <a:gd name="connsiteX131" fmla="*/ 647294 w 1028134"/>
                    <a:gd name="connsiteY131" fmla="*/ 518382 h 1160188"/>
                    <a:gd name="connsiteX132" fmla="*/ 644550 w 1028134"/>
                    <a:gd name="connsiteY132" fmla="*/ 504668 h 1160188"/>
                    <a:gd name="connsiteX133" fmla="*/ 877686 w 1028134"/>
                    <a:gd name="connsiteY133" fmla="*/ 504668 h 1160188"/>
                    <a:gd name="connsiteX134" fmla="*/ 896885 w 1028134"/>
                    <a:gd name="connsiteY134" fmla="*/ 521125 h 1160188"/>
                    <a:gd name="connsiteX135" fmla="*/ 896885 w 1028134"/>
                    <a:gd name="connsiteY135" fmla="*/ 521125 h 1160188"/>
                    <a:gd name="connsiteX136" fmla="*/ 987396 w 1028134"/>
                    <a:gd name="connsiteY136" fmla="*/ 682948 h 1160188"/>
                    <a:gd name="connsiteX137" fmla="*/ 976426 w 1028134"/>
                    <a:gd name="connsiteY137" fmla="*/ 721347 h 1160188"/>
                    <a:gd name="connsiteX138" fmla="*/ 976426 w 1028134"/>
                    <a:gd name="connsiteY138" fmla="*/ 721347 h 116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028134" h="1160188">
                      <a:moveTo>
                        <a:pt x="1017568" y="661006"/>
                      </a:moveTo>
                      <a:cubicBezTo>
                        <a:pt x="973682" y="592437"/>
                        <a:pt x="940769" y="567752"/>
                        <a:pt x="935285" y="515639"/>
                      </a:cubicBezTo>
                      <a:lnTo>
                        <a:pt x="935285" y="515639"/>
                      </a:lnTo>
                      <a:cubicBezTo>
                        <a:pt x="932541" y="488212"/>
                        <a:pt x="907857" y="469012"/>
                        <a:pt x="880429" y="469012"/>
                      </a:cubicBezTo>
                      <a:lnTo>
                        <a:pt x="855744" y="469012"/>
                      </a:lnTo>
                      <a:lnTo>
                        <a:pt x="855744" y="293476"/>
                      </a:lnTo>
                      <a:cubicBezTo>
                        <a:pt x="855744" y="285247"/>
                        <a:pt x="847516" y="277019"/>
                        <a:pt x="839288" y="277019"/>
                      </a:cubicBezTo>
                      <a:cubicBezTo>
                        <a:pt x="831058" y="277019"/>
                        <a:pt x="822830" y="285247"/>
                        <a:pt x="822830" y="293476"/>
                      </a:cubicBezTo>
                      <a:lnTo>
                        <a:pt x="822830" y="469012"/>
                      </a:lnTo>
                      <a:cubicBezTo>
                        <a:pt x="787175" y="469012"/>
                        <a:pt x="479984" y="469012"/>
                        <a:pt x="441587" y="469012"/>
                      </a:cubicBezTo>
                      <a:lnTo>
                        <a:pt x="441587" y="337360"/>
                      </a:lnTo>
                      <a:cubicBezTo>
                        <a:pt x="441587" y="263305"/>
                        <a:pt x="411415" y="216678"/>
                        <a:pt x="405929" y="200222"/>
                      </a:cubicBezTo>
                      <a:lnTo>
                        <a:pt x="405929" y="60341"/>
                      </a:lnTo>
                      <a:cubicBezTo>
                        <a:pt x="405929" y="46627"/>
                        <a:pt x="416901" y="35656"/>
                        <a:pt x="430615" y="35656"/>
                      </a:cubicBezTo>
                      <a:lnTo>
                        <a:pt x="693920" y="35656"/>
                      </a:lnTo>
                      <a:lnTo>
                        <a:pt x="693920" y="106968"/>
                      </a:lnTo>
                      <a:cubicBezTo>
                        <a:pt x="693920" y="139881"/>
                        <a:pt x="721348" y="164566"/>
                        <a:pt x="751519" y="164566"/>
                      </a:cubicBezTo>
                      <a:lnTo>
                        <a:pt x="822830" y="164566"/>
                      </a:lnTo>
                      <a:lnTo>
                        <a:pt x="822830" y="213936"/>
                      </a:lnTo>
                      <a:cubicBezTo>
                        <a:pt x="822830" y="222164"/>
                        <a:pt x="831058" y="230392"/>
                        <a:pt x="839288" y="230392"/>
                      </a:cubicBezTo>
                      <a:cubicBezTo>
                        <a:pt x="847516" y="230392"/>
                        <a:pt x="855744" y="222164"/>
                        <a:pt x="855744" y="213936"/>
                      </a:cubicBezTo>
                      <a:lnTo>
                        <a:pt x="855744" y="159080"/>
                      </a:lnTo>
                      <a:cubicBezTo>
                        <a:pt x="855744" y="148109"/>
                        <a:pt x="850258" y="137138"/>
                        <a:pt x="842030" y="128910"/>
                      </a:cubicBezTo>
                      <a:lnTo>
                        <a:pt x="726833" y="13714"/>
                      </a:lnTo>
                      <a:cubicBezTo>
                        <a:pt x="718605" y="5486"/>
                        <a:pt x="707634" y="0"/>
                        <a:pt x="696664" y="0"/>
                      </a:cubicBezTo>
                      <a:lnTo>
                        <a:pt x="430615" y="0"/>
                      </a:lnTo>
                      <a:cubicBezTo>
                        <a:pt x="397701" y="0"/>
                        <a:pt x="373017" y="27428"/>
                        <a:pt x="373017" y="57598"/>
                      </a:cubicBezTo>
                      <a:lnTo>
                        <a:pt x="373017" y="120682"/>
                      </a:lnTo>
                      <a:lnTo>
                        <a:pt x="329132" y="24685"/>
                      </a:lnTo>
                      <a:cubicBezTo>
                        <a:pt x="315418" y="-8228"/>
                        <a:pt x="268791" y="-8228"/>
                        <a:pt x="255077" y="24685"/>
                      </a:cubicBezTo>
                      <a:lnTo>
                        <a:pt x="200222" y="145366"/>
                      </a:lnTo>
                      <a:cubicBezTo>
                        <a:pt x="200222" y="145366"/>
                        <a:pt x="200222" y="145366"/>
                        <a:pt x="200222" y="145366"/>
                      </a:cubicBezTo>
                      <a:cubicBezTo>
                        <a:pt x="175538" y="205707"/>
                        <a:pt x="142624" y="252334"/>
                        <a:pt x="142624" y="334617"/>
                      </a:cubicBezTo>
                      <a:lnTo>
                        <a:pt x="142624" y="466270"/>
                      </a:lnTo>
                      <a:lnTo>
                        <a:pt x="57599" y="466270"/>
                      </a:lnTo>
                      <a:cubicBezTo>
                        <a:pt x="30171" y="466270"/>
                        <a:pt x="8228" y="485469"/>
                        <a:pt x="2744" y="512897"/>
                      </a:cubicBezTo>
                      <a:cubicBezTo>
                        <a:pt x="0" y="526610"/>
                        <a:pt x="0" y="540324"/>
                        <a:pt x="0" y="554038"/>
                      </a:cubicBezTo>
                      <a:cubicBezTo>
                        <a:pt x="2744" y="702147"/>
                        <a:pt x="85027" y="724089"/>
                        <a:pt x="85027" y="877684"/>
                      </a:cubicBezTo>
                      <a:lnTo>
                        <a:pt x="85027" y="1044992"/>
                      </a:lnTo>
                      <a:cubicBezTo>
                        <a:pt x="60341" y="1050478"/>
                        <a:pt x="41142" y="1075163"/>
                        <a:pt x="41142" y="1102591"/>
                      </a:cubicBezTo>
                      <a:cubicBezTo>
                        <a:pt x="41142" y="1135504"/>
                        <a:pt x="68569" y="1160189"/>
                        <a:pt x="98741" y="1160189"/>
                      </a:cubicBezTo>
                      <a:lnTo>
                        <a:pt x="693920" y="1160189"/>
                      </a:lnTo>
                      <a:cubicBezTo>
                        <a:pt x="726833" y="1160189"/>
                        <a:pt x="751519" y="1132761"/>
                        <a:pt x="751519" y="1102591"/>
                      </a:cubicBezTo>
                      <a:cubicBezTo>
                        <a:pt x="751519" y="1075163"/>
                        <a:pt x="732319" y="1053221"/>
                        <a:pt x="707634" y="1044992"/>
                      </a:cubicBezTo>
                      <a:lnTo>
                        <a:pt x="707634" y="998366"/>
                      </a:lnTo>
                      <a:cubicBezTo>
                        <a:pt x="707634" y="987394"/>
                        <a:pt x="718605" y="976423"/>
                        <a:pt x="729577" y="979166"/>
                      </a:cubicBezTo>
                      <a:lnTo>
                        <a:pt x="844772" y="987394"/>
                      </a:lnTo>
                      <a:cubicBezTo>
                        <a:pt x="894143" y="990137"/>
                        <a:pt x="935285" y="951739"/>
                        <a:pt x="935285" y="905112"/>
                      </a:cubicBezTo>
                      <a:lnTo>
                        <a:pt x="935285" y="789916"/>
                      </a:lnTo>
                      <a:cubicBezTo>
                        <a:pt x="935285" y="778945"/>
                        <a:pt x="940769" y="770716"/>
                        <a:pt x="951741" y="765231"/>
                      </a:cubicBezTo>
                      <a:lnTo>
                        <a:pt x="990140" y="751517"/>
                      </a:lnTo>
                      <a:cubicBezTo>
                        <a:pt x="1025796" y="737803"/>
                        <a:pt x="1039510" y="693919"/>
                        <a:pt x="1017568" y="661006"/>
                      </a:cubicBezTo>
                      <a:lnTo>
                        <a:pt x="1017568" y="661006"/>
                      </a:lnTo>
                      <a:close/>
                      <a:moveTo>
                        <a:pt x="798146" y="131653"/>
                      </a:moveTo>
                      <a:lnTo>
                        <a:pt x="748775" y="131653"/>
                      </a:lnTo>
                      <a:cubicBezTo>
                        <a:pt x="735061" y="131653"/>
                        <a:pt x="724091" y="120682"/>
                        <a:pt x="724091" y="106968"/>
                      </a:cubicBezTo>
                      <a:lnTo>
                        <a:pt x="724091" y="57598"/>
                      </a:lnTo>
                      <a:lnTo>
                        <a:pt x="798146" y="131653"/>
                      </a:lnTo>
                      <a:close/>
                      <a:moveTo>
                        <a:pt x="285248" y="38399"/>
                      </a:moveTo>
                      <a:cubicBezTo>
                        <a:pt x="287991" y="32913"/>
                        <a:pt x="296219" y="32913"/>
                        <a:pt x="298962" y="38399"/>
                      </a:cubicBezTo>
                      <a:lnTo>
                        <a:pt x="342846" y="137138"/>
                      </a:lnTo>
                      <a:lnTo>
                        <a:pt x="244107" y="137138"/>
                      </a:lnTo>
                      <a:lnTo>
                        <a:pt x="285248" y="38399"/>
                      </a:lnTo>
                      <a:close/>
                      <a:moveTo>
                        <a:pt x="224907" y="170051"/>
                      </a:moveTo>
                      <a:lnTo>
                        <a:pt x="353818" y="170051"/>
                      </a:lnTo>
                      <a:cubicBezTo>
                        <a:pt x="383987" y="238620"/>
                        <a:pt x="392215" y="255077"/>
                        <a:pt x="400445" y="287990"/>
                      </a:cubicBezTo>
                      <a:lnTo>
                        <a:pt x="178280" y="287990"/>
                      </a:lnTo>
                      <a:cubicBezTo>
                        <a:pt x="189252" y="246849"/>
                        <a:pt x="200222" y="227649"/>
                        <a:pt x="224907" y="170051"/>
                      </a:cubicBezTo>
                      <a:lnTo>
                        <a:pt x="224907" y="170051"/>
                      </a:lnTo>
                      <a:close/>
                      <a:moveTo>
                        <a:pt x="175538" y="337360"/>
                      </a:moveTo>
                      <a:cubicBezTo>
                        <a:pt x="175538" y="331874"/>
                        <a:pt x="175538" y="326389"/>
                        <a:pt x="175538" y="323646"/>
                      </a:cubicBezTo>
                      <a:lnTo>
                        <a:pt x="405929" y="323646"/>
                      </a:lnTo>
                      <a:cubicBezTo>
                        <a:pt x="405929" y="329131"/>
                        <a:pt x="405929" y="334617"/>
                        <a:pt x="405929" y="337360"/>
                      </a:cubicBezTo>
                      <a:lnTo>
                        <a:pt x="405929" y="469012"/>
                      </a:lnTo>
                      <a:lnTo>
                        <a:pt x="172794" y="469012"/>
                      </a:lnTo>
                      <a:lnTo>
                        <a:pt x="172794" y="337360"/>
                      </a:lnTo>
                      <a:close/>
                      <a:moveTo>
                        <a:pt x="74055" y="1105333"/>
                      </a:moveTo>
                      <a:cubicBezTo>
                        <a:pt x="74055" y="1091619"/>
                        <a:pt x="85027" y="1080648"/>
                        <a:pt x="98741" y="1080648"/>
                      </a:cubicBezTo>
                      <a:lnTo>
                        <a:pt x="145366" y="1080648"/>
                      </a:lnTo>
                      <a:cubicBezTo>
                        <a:pt x="153596" y="1080648"/>
                        <a:pt x="161824" y="1072420"/>
                        <a:pt x="161824" y="1064192"/>
                      </a:cubicBezTo>
                      <a:cubicBezTo>
                        <a:pt x="161824" y="1055964"/>
                        <a:pt x="153596" y="1047735"/>
                        <a:pt x="145366" y="1047735"/>
                      </a:cubicBezTo>
                      <a:lnTo>
                        <a:pt x="117939" y="1047735"/>
                      </a:lnTo>
                      <a:lnTo>
                        <a:pt x="117939" y="883170"/>
                      </a:lnTo>
                      <a:cubicBezTo>
                        <a:pt x="117939" y="718604"/>
                        <a:pt x="32914" y="696662"/>
                        <a:pt x="32914" y="559524"/>
                      </a:cubicBezTo>
                      <a:cubicBezTo>
                        <a:pt x="32914" y="545810"/>
                        <a:pt x="32914" y="534839"/>
                        <a:pt x="35656" y="523868"/>
                      </a:cubicBezTo>
                      <a:cubicBezTo>
                        <a:pt x="35656" y="512897"/>
                        <a:pt x="46627" y="507411"/>
                        <a:pt x="54855" y="507411"/>
                      </a:cubicBezTo>
                      <a:lnTo>
                        <a:pt x="611637" y="507411"/>
                      </a:lnTo>
                      <a:cubicBezTo>
                        <a:pt x="611637" y="512897"/>
                        <a:pt x="614381" y="518382"/>
                        <a:pt x="614381" y="526610"/>
                      </a:cubicBezTo>
                      <a:cubicBezTo>
                        <a:pt x="622609" y="592437"/>
                        <a:pt x="661008" y="622607"/>
                        <a:pt x="704892" y="688433"/>
                      </a:cubicBezTo>
                      <a:cubicBezTo>
                        <a:pt x="715863" y="702147"/>
                        <a:pt x="707634" y="721347"/>
                        <a:pt x="693920" y="726832"/>
                      </a:cubicBezTo>
                      <a:lnTo>
                        <a:pt x="655522" y="740546"/>
                      </a:lnTo>
                      <a:cubicBezTo>
                        <a:pt x="633580" y="748774"/>
                        <a:pt x="617123" y="770716"/>
                        <a:pt x="617123" y="795401"/>
                      </a:cubicBezTo>
                      <a:lnTo>
                        <a:pt x="617123" y="910597"/>
                      </a:lnTo>
                      <a:cubicBezTo>
                        <a:pt x="617123" y="940768"/>
                        <a:pt x="592439" y="962710"/>
                        <a:pt x="562267" y="959967"/>
                      </a:cubicBezTo>
                      <a:lnTo>
                        <a:pt x="447071" y="951739"/>
                      </a:lnTo>
                      <a:cubicBezTo>
                        <a:pt x="414159" y="948996"/>
                        <a:pt x="389473" y="973681"/>
                        <a:pt x="389473" y="1006594"/>
                      </a:cubicBezTo>
                      <a:lnTo>
                        <a:pt x="389473" y="1050478"/>
                      </a:lnTo>
                      <a:lnTo>
                        <a:pt x="224907" y="1050478"/>
                      </a:lnTo>
                      <a:cubicBezTo>
                        <a:pt x="216679" y="1050478"/>
                        <a:pt x="208451" y="1058706"/>
                        <a:pt x="208451" y="1066935"/>
                      </a:cubicBezTo>
                      <a:cubicBezTo>
                        <a:pt x="208451" y="1075163"/>
                        <a:pt x="216679" y="1083391"/>
                        <a:pt x="224907" y="1083391"/>
                      </a:cubicBezTo>
                      <a:lnTo>
                        <a:pt x="408673" y="1083391"/>
                      </a:lnTo>
                      <a:cubicBezTo>
                        <a:pt x="422387" y="1083391"/>
                        <a:pt x="433357" y="1094362"/>
                        <a:pt x="433357" y="1108076"/>
                      </a:cubicBezTo>
                      <a:cubicBezTo>
                        <a:pt x="433357" y="1121790"/>
                        <a:pt x="422387" y="1132761"/>
                        <a:pt x="408673" y="1132761"/>
                      </a:cubicBezTo>
                      <a:lnTo>
                        <a:pt x="98741" y="1132761"/>
                      </a:lnTo>
                      <a:cubicBezTo>
                        <a:pt x="85027" y="1130018"/>
                        <a:pt x="74055" y="1119047"/>
                        <a:pt x="74055" y="1105333"/>
                      </a:cubicBezTo>
                      <a:lnTo>
                        <a:pt x="74055" y="1105333"/>
                      </a:lnTo>
                      <a:close/>
                      <a:moveTo>
                        <a:pt x="718605" y="1105333"/>
                      </a:moveTo>
                      <a:cubicBezTo>
                        <a:pt x="718605" y="1119047"/>
                        <a:pt x="707634" y="1130018"/>
                        <a:pt x="693920" y="1130018"/>
                      </a:cubicBezTo>
                      <a:lnTo>
                        <a:pt x="460785" y="1130018"/>
                      </a:lnTo>
                      <a:cubicBezTo>
                        <a:pt x="463528" y="1121790"/>
                        <a:pt x="466270" y="1113561"/>
                        <a:pt x="466270" y="1105333"/>
                      </a:cubicBezTo>
                      <a:cubicBezTo>
                        <a:pt x="466270" y="1097105"/>
                        <a:pt x="463528" y="1088877"/>
                        <a:pt x="460785" y="1080648"/>
                      </a:cubicBezTo>
                      <a:lnTo>
                        <a:pt x="693920" y="1080648"/>
                      </a:lnTo>
                      <a:cubicBezTo>
                        <a:pt x="707634" y="1077906"/>
                        <a:pt x="718605" y="1091619"/>
                        <a:pt x="718605" y="1105333"/>
                      </a:cubicBezTo>
                      <a:lnTo>
                        <a:pt x="718605" y="1105333"/>
                      </a:lnTo>
                      <a:close/>
                      <a:moveTo>
                        <a:pt x="976426" y="721347"/>
                      </a:moveTo>
                      <a:lnTo>
                        <a:pt x="938027" y="735060"/>
                      </a:lnTo>
                      <a:cubicBezTo>
                        <a:pt x="916085" y="743289"/>
                        <a:pt x="899627" y="765231"/>
                        <a:pt x="899627" y="789916"/>
                      </a:cubicBezTo>
                      <a:lnTo>
                        <a:pt x="899627" y="905112"/>
                      </a:lnTo>
                      <a:cubicBezTo>
                        <a:pt x="899627" y="935282"/>
                        <a:pt x="874943" y="957224"/>
                        <a:pt x="844772" y="954481"/>
                      </a:cubicBezTo>
                      <a:lnTo>
                        <a:pt x="729577" y="946253"/>
                      </a:lnTo>
                      <a:cubicBezTo>
                        <a:pt x="696664" y="943510"/>
                        <a:pt x="671978" y="968195"/>
                        <a:pt x="671978" y="1001108"/>
                      </a:cubicBezTo>
                      <a:lnTo>
                        <a:pt x="671978" y="1044992"/>
                      </a:lnTo>
                      <a:lnTo>
                        <a:pt x="419643" y="1044992"/>
                      </a:lnTo>
                      <a:lnTo>
                        <a:pt x="419643" y="1001108"/>
                      </a:lnTo>
                      <a:cubicBezTo>
                        <a:pt x="419643" y="990137"/>
                        <a:pt x="430615" y="979166"/>
                        <a:pt x="441587" y="981909"/>
                      </a:cubicBezTo>
                      <a:lnTo>
                        <a:pt x="556781" y="990137"/>
                      </a:lnTo>
                      <a:cubicBezTo>
                        <a:pt x="606153" y="992880"/>
                        <a:pt x="647294" y="954481"/>
                        <a:pt x="647294" y="907854"/>
                      </a:cubicBezTo>
                      <a:lnTo>
                        <a:pt x="647294" y="792658"/>
                      </a:lnTo>
                      <a:cubicBezTo>
                        <a:pt x="647294" y="781687"/>
                        <a:pt x="652778" y="773459"/>
                        <a:pt x="663750" y="767973"/>
                      </a:cubicBezTo>
                      <a:lnTo>
                        <a:pt x="702149" y="754260"/>
                      </a:lnTo>
                      <a:cubicBezTo>
                        <a:pt x="737805" y="740546"/>
                        <a:pt x="751519" y="696662"/>
                        <a:pt x="729577" y="663749"/>
                      </a:cubicBezTo>
                      <a:cubicBezTo>
                        <a:pt x="685692" y="595180"/>
                        <a:pt x="652778" y="570495"/>
                        <a:pt x="647294" y="518382"/>
                      </a:cubicBezTo>
                      <a:cubicBezTo>
                        <a:pt x="647294" y="512897"/>
                        <a:pt x="647294" y="510154"/>
                        <a:pt x="644550" y="504668"/>
                      </a:cubicBezTo>
                      <a:lnTo>
                        <a:pt x="877686" y="504668"/>
                      </a:lnTo>
                      <a:cubicBezTo>
                        <a:pt x="888657" y="504668"/>
                        <a:pt x="896885" y="512897"/>
                        <a:pt x="896885" y="521125"/>
                      </a:cubicBezTo>
                      <a:lnTo>
                        <a:pt x="896885" y="521125"/>
                      </a:lnTo>
                      <a:cubicBezTo>
                        <a:pt x="905113" y="586951"/>
                        <a:pt x="943513" y="617122"/>
                        <a:pt x="987396" y="682948"/>
                      </a:cubicBezTo>
                      <a:cubicBezTo>
                        <a:pt x="998368" y="693919"/>
                        <a:pt x="992882" y="713118"/>
                        <a:pt x="976426" y="721347"/>
                      </a:cubicBezTo>
                      <a:lnTo>
                        <a:pt x="976426" y="721347"/>
                      </a:lnTo>
                      <a:close/>
                    </a:path>
                  </a:pathLst>
                </a:custGeom>
                <a:grpFill/>
                <a:ln w="27426" cap="flat">
                  <a:noFill/>
                  <a:prstDash val="solid"/>
                  <a:miter/>
                </a:ln>
              </p:spPr>
              <p:txBody>
                <a:bodyPr rtlCol="0" anchor="ctr"/>
                <a:lstStyle/>
                <a:p>
                  <a:pPr algn="l" rtl="0"/>
                  <a:endParaRPr lang="en-US"/>
                </a:p>
              </p:txBody>
            </p:sp>
          </p:grpSp>
        </p:grpSp>
      </p:grpSp>
    </p:spTree>
    <p:extLst>
      <p:ext uri="{BB962C8B-B14F-4D97-AF65-F5344CB8AC3E}">
        <p14:creationId xmlns:p14="http://schemas.microsoft.com/office/powerpoint/2010/main" val="152249448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1" y="0"/>
            <a:ext cx="5774386"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 name="Text Placeholder 2">
            <a:extLst>
              <a:ext uri="{FF2B5EF4-FFF2-40B4-BE49-F238E27FC236}">
                <a16:creationId xmlns:a16="http://schemas.microsoft.com/office/drawing/2014/main" id="{816DEE1E-7145-ABE3-709F-6073509D6351}"/>
              </a:ext>
            </a:extLst>
          </p:cNvPr>
          <p:cNvSpPr>
            <a:spLocks noGrp="1"/>
          </p:cNvSpPr>
          <p:nvPr>
            <p:ph type="body" sz="quarter" idx="18"/>
          </p:nvPr>
        </p:nvSpPr>
        <p:spPr>
          <a:xfrm>
            <a:off x="526269" y="2692399"/>
            <a:ext cx="4943282" cy="4657204"/>
          </a:xfrm>
        </p:spPr>
        <p:txBody>
          <a:bodyPr>
            <a:normAutofit fontScale="92500"/>
          </a:bodyPr>
          <a:lstStyle/>
          <a:p>
            <a:pPr marL="15875" indent="-15875" algn="l" rtl="0">
              <a:lnSpc>
                <a:spcPts val="2280"/>
              </a:lnSpc>
              <a:spcBef>
                <a:spcPts val="0"/>
              </a:spcBef>
            </a:pPr>
            <a:r>
              <a:rPr lang="en-US" sz="2200" dirty="0" err="1">
                <a:solidFill>
                  <a:schemeClr val="bg1"/>
                </a:solidFill>
              </a:rPr>
              <a:t>Analizar</a:t>
            </a:r>
            <a:r>
              <a:rPr lang="en-US" sz="2200" dirty="0">
                <a:solidFill>
                  <a:schemeClr val="bg1"/>
                </a:solidFill>
              </a:rPr>
              <a:t>los Stakeholders más importantes (aquellos que son de especial importancia para el éxito de la recuperación). Mapee sus audiencias sobre la base de la matriz de análisis de audiencia.</a:t>
            </a:r>
          </a:p>
          <a:p>
            <a:pPr marL="15875" indent="-15875" algn="l" rtl="0">
              <a:lnSpc>
                <a:spcPts val="2280"/>
              </a:lnSpc>
              <a:spcBef>
                <a:spcPts val="0"/>
              </a:spcBef>
            </a:pPr>
            <a:endParaRPr lang="en-US" sz="2200" dirty="0">
              <a:solidFill>
                <a:schemeClr val="bg1"/>
              </a:solidFill>
            </a:endParaRPr>
          </a:p>
          <a:p>
            <a:pPr marL="15875" indent="-15875" algn="l" rtl="0">
              <a:lnSpc>
                <a:spcPts val="2280"/>
              </a:lnSpc>
              <a:spcBef>
                <a:spcPts val="0"/>
              </a:spcBef>
            </a:pPr>
            <a:r>
              <a:rPr lang="en-US" sz="2200" b="1" dirty="0">
                <a:solidFill>
                  <a:schemeClr val="bg1"/>
                </a:solidFill>
              </a:rPr>
              <a:t>Su estrategia de comunicación debe</a:t>
            </a:r>
          </a:p>
          <a:p>
            <a:pPr marL="342900" indent="-342900" algn="l" rtl="0">
              <a:lnSpc>
                <a:spcPts val="2280"/>
              </a:lnSpc>
              <a:spcBef>
                <a:spcPts val="0"/>
              </a:spcBef>
              <a:buFont typeface="Arial" panose="020B0604020202020204" pitchFamily="34" charset="0"/>
              <a:buChar char="•"/>
            </a:pPr>
            <a:r>
              <a:rPr lang="en-US" sz="2200" dirty="0">
                <a:solidFill>
                  <a:schemeClr val="bg1"/>
                </a:solidFill>
              </a:rPr>
              <a:t>Interactuar activamente con los campeones</a:t>
            </a:r>
          </a:p>
          <a:p>
            <a:pPr marL="342900" indent="-342900" algn="l" rtl="0">
              <a:lnSpc>
                <a:spcPts val="2280"/>
              </a:lnSpc>
              <a:spcBef>
                <a:spcPts val="0"/>
              </a:spcBef>
              <a:buFont typeface="Arial" panose="020B0604020202020204" pitchFamily="34" charset="0"/>
              <a:buChar char="•"/>
            </a:pPr>
            <a:r>
              <a:rPr lang="en-US" sz="2200" dirty="0">
                <a:solidFill>
                  <a:schemeClr val="bg1"/>
                </a:solidFill>
              </a:rPr>
              <a:t>Trate de cambiar los bloqueadores a evitadores</a:t>
            </a:r>
          </a:p>
          <a:p>
            <a:pPr marL="342900" indent="-342900" algn="l" rtl="0">
              <a:lnSpc>
                <a:spcPts val="2280"/>
              </a:lnSpc>
              <a:spcBef>
                <a:spcPts val="0"/>
              </a:spcBef>
              <a:buFont typeface="Arial" panose="020B0604020202020204" pitchFamily="34" charset="0"/>
              <a:buChar char="•"/>
            </a:pPr>
            <a:r>
              <a:rPr lang="en-US" sz="2200" dirty="0">
                <a:solidFill>
                  <a:schemeClr val="bg1"/>
                </a:solidFill>
              </a:rPr>
              <a:t>Trate de cambiar los evasores por refuerzos silenciosos</a:t>
            </a:r>
          </a:p>
          <a:p>
            <a:pPr marL="342900" indent="-342900" algn="l" rtl="0">
              <a:lnSpc>
                <a:spcPts val="2280"/>
              </a:lnSpc>
              <a:spcBef>
                <a:spcPts val="0"/>
              </a:spcBef>
              <a:buFont typeface="Arial" panose="020B0604020202020204" pitchFamily="34" charset="0"/>
              <a:buChar char="•"/>
            </a:pPr>
            <a:r>
              <a:rPr lang="en-US" sz="2200" dirty="0">
                <a:solidFill>
                  <a:schemeClr val="bg1"/>
                </a:solidFill>
              </a:rPr>
              <a:t>Intenta cambiar los refuerzos silenciosos a los campeones.</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3"/>
            <a:ext cx="4480446" cy="1875850"/>
          </a:xfrm>
        </p:spPr>
        <p:txBody>
          <a:bodyPr>
            <a:normAutofit lnSpcReduction="10000"/>
          </a:bodyPr>
          <a:lstStyle/>
          <a:p>
            <a:pPr algn="l" rtl="0"/>
            <a:r>
              <a:rPr lang="en-GB" dirty="0">
                <a:solidFill>
                  <a:schemeClr val="bg1"/>
                </a:solidFill>
              </a:rPr>
              <a:t>Analizar la posición de los Stakeholders en el</a:t>
            </a:r>
            <a:r>
              <a:rPr lang="en-GB" b="1" dirty="0">
                <a:solidFill>
                  <a:schemeClr val="bg1"/>
                </a:solidFill>
              </a:rPr>
              <a:t>Comienzo</a:t>
            </a:r>
            <a:r>
              <a:rPr lang="en-GB" dirty="0">
                <a:solidFill>
                  <a:schemeClr val="bg1"/>
                </a:solidFill>
              </a:rPr>
              <a:t>de una crisis</a:t>
            </a:r>
          </a:p>
        </p:txBody>
      </p:sp>
      <p:sp>
        <p:nvSpPr>
          <p:cNvPr id="5" name="Freeform 316">
            <a:extLst>
              <a:ext uri="{FF2B5EF4-FFF2-40B4-BE49-F238E27FC236}">
                <a16:creationId xmlns:a16="http://schemas.microsoft.com/office/drawing/2014/main" id="{B43B32F2-40E3-737C-D114-07F268237A11}"/>
              </a:ext>
            </a:extLst>
          </p:cNvPr>
          <p:cNvSpPr>
            <a:spLocks/>
          </p:cNvSpPr>
          <p:nvPr/>
        </p:nvSpPr>
        <p:spPr bwMode="auto">
          <a:xfrm>
            <a:off x="6867328" y="1289157"/>
            <a:ext cx="2796043" cy="2519547"/>
          </a:xfrm>
          <a:custGeom>
            <a:avLst/>
            <a:gdLst>
              <a:gd name="T0" fmla="*/ 1503759 w 4380"/>
              <a:gd name="T1" fmla="*/ 3006829 h 4380"/>
              <a:gd name="T2" fmla="*/ 1503759 w 4380"/>
              <a:gd name="T3" fmla="*/ 3006829 h 4380"/>
              <a:gd name="T4" fmla="*/ 0 w 4380"/>
              <a:gd name="T5" fmla="*/ 1503758 h 4380"/>
              <a:gd name="T6" fmla="*/ 0 w 4380"/>
              <a:gd name="T7" fmla="*/ 1503758 h 4380"/>
              <a:gd name="T8" fmla="*/ 1503759 w 4380"/>
              <a:gd name="T9" fmla="*/ 0 h 4380"/>
              <a:gd name="T10" fmla="*/ 1503759 w 4380"/>
              <a:gd name="T11" fmla="*/ 0 h 4380"/>
              <a:gd name="T12" fmla="*/ 3006830 w 4380"/>
              <a:gd name="T13" fmla="*/ 1503758 h 4380"/>
              <a:gd name="T14" fmla="*/ 3006830 w 4380"/>
              <a:gd name="T15" fmla="*/ 3006829 h 4380"/>
              <a:gd name="T16" fmla="*/ 1503759 w 4380"/>
              <a:gd name="T17" fmla="*/ 3006829 h 43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80" h="4380">
                <a:moveTo>
                  <a:pt x="2190" y="4379"/>
                </a:moveTo>
                <a:lnTo>
                  <a:pt x="2190" y="4379"/>
                </a:lnTo>
                <a:cubicBezTo>
                  <a:pt x="981" y="4379"/>
                  <a:pt x="0" y="3399"/>
                  <a:pt x="0" y="2190"/>
                </a:cubicBezTo>
                <a:cubicBezTo>
                  <a:pt x="0" y="981"/>
                  <a:pt x="981" y="0"/>
                  <a:pt x="2190" y="0"/>
                </a:cubicBezTo>
                <a:cubicBezTo>
                  <a:pt x="3399" y="0"/>
                  <a:pt x="4379" y="981"/>
                  <a:pt x="4379" y="2190"/>
                </a:cubicBezTo>
                <a:lnTo>
                  <a:pt x="4379" y="4379"/>
                </a:lnTo>
                <a:lnTo>
                  <a:pt x="2190" y="4379"/>
                </a:lnTo>
              </a:path>
            </a:pathLst>
          </a:custGeom>
          <a:solidFill>
            <a:srgbClr val="7F1C58">
              <a:alpha val="90769"/>
            </a:srgbClr>
          </a:solidFill>
          <a:ln>
            <a:noFill/>
          </a:ln>
        </p:spPr>
        <p:txBody>
          <a:bodyPr wrap="none" anchor="ctr"/>
          <a:lstStyle/>
          <a:p>
            <a:pPr algn="l" rtl="0"/>
            <a:endParaRPr lang="en-GB" sz="2449" dirty="0">
              <a:latin typeface="+mj-lt"/>
            </a:endParaRPr>
          </a:p>
        </p:txBody>
      </p:sp>
      <p:sp>
        <p:nvSpPr>
          <p:cNvPr id="7" name="Freeform 315">
            <a:extLst>
              <a:ext uri="{FF2B5EF4-FFF2-40B4-BE49-F238E27FC236}">
                <a16:creationId xmlns:a16="http://schemas.microsoft.com/office/drawing/2014/main" id="{2E6BDED8-839E-D086-0D8D-9A661079F1F2}"/>
              </a:ext>
            </a:extLst>
          </p:cNvPr>
          <p:cNvSpPr>
            <a:spLocks/>
          </p:cNvSpPr>
          <p:nvPr/>
        </p:nvSpPr>
        <p:spPr bwMode="auto">
          <a:xfrm>
            <a:off x="8921688" y="1289157"/>
            <a:ext cx="2796043" cy="2519547"/>
          </a:xfrm>
          <a:custGeom>
            <a:avLst/>
            <a:gdLst>
              <a:gd name="T0" fmla="*/ 1503072 w 4380"/>
              <a:gd name="T1" fmla="*/ 3006829 h 4380"/>
              <a:gd name="T2" fmla="*/ 1503072 w 4380"/>
              <a:gd name="T3" fmla="*/ 3006829 h 4380"/>
              <a:gd name="T4" fmla="*/ 3006830 w 4380"/>
              <a:gd name="T5" fmla="*/ 1503758 h 4380"/>
              <a:gd name="T6" fmla="*/ 3006830 w 4380"/>
              <a:gd name="T7" fmla="*/ 1503758 h 4380"/>
              <a:gd name="T8" fmla="*/ 1503072 w 4380"/>
              <a:gd name="T9" fmla="*/ 0 h 4380"/>
              <a:gd name="T10" fmla="*/ 1503072 w 4380"/>
              <a:gd name="T11" fmla="*/ 0 h 4380"/>
              <a:gd name="T12" fmla="*/ 0 w 4380"/>
              <a:gd name="T13" fmla="*/ 1503758 h 4380"/>
              <a:gd name="T14" fmla="*/ 0 w 4380"/>
              <a:gd name="T15" fmla="*/ 3006829 h 4380"/>
              <a:gd name="T16" fmla="*/ 1503072 w 4380"/>
              <a:gd name="T17" fmla="*/ 3006829 h 43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80" h="4380">
                <a:moveTo>
                  <a:pt x="2189" y="4379"/>
                </a:moveTo>
                <a:lnTo>
                  <a:pt x="2189" y="4379"/>
                </a:lnTo>
                <a:cubicBezTo>
                  <a:pt x="3398" y="4379"/>
                  <a:pt x="4379" y="3399"/>
                  <a:pt x="4379" y="2190"/>
                </a:cubicBezTo>
                <a:cubicBezTo>
                  <a:pt x="4379" y="981"/>
                  <a:pt x="3398" y="0"/>
                  <a:pt x="2189" y="0"/>
                </a:cubicBezTo>
                <a:cubicBezTo>
                  <a:pt x="981" y="0"/>
                  <a:pt x="0" y="981"/>
                  <a:pt x="0" y="2190"/>
                </a:cubicBezTo>
                <a:lnTo>
                  <a:pt x="0" y="4379"/>
                </a:lnTo>
                <a:lnTo>
                  <a:pt x="2189" y="4379"/>
                </a:lnTo>
              </a:path>
            </a:pathLst>
          </a:custGeom>
          <a:solidFill>
            <a:srgbClr val="B41F7A">
              <a:alpha val="86000"/>
            </a:srgbClr>
          </a:solidFill>
          <a:ln>
            <a:noFill/>
          </a:ln>
        </p:spPr>
        <p:txBody>
          <a:bodyPr wrap="none" anchor="ctr"/>
          <a:lstStyle/>
          <a:p>
            <a:pPr algn="l" rtl="0"/>
            <a:endParaRPr lang="en-GB" sz="2449" dirty="0">
              <a:latin typeface="+mj-lt"/>
            </a:endParaRPr>
          </a:p>
        </p:txBody>
      </p:sp>
      <p:sp>
        <p:nvSpPr>
          <p:cNvPr id="32" name="Freeform 313">
            <a:extLst>
              <a:ext uri="{FF2B5EF4-FFF2-40B4-BE49-F238E27FC236}">
                <a16:creationId xmlns:a16="http://schemas.microsoft.com/office/drawing/2014/main" id="{50343E79-9508-BF60-F955-0E3738368527}"/>
              </a:ext>
            </a:extLst>
          </p:cNvPr>
          <p:cNvSpPr>
            <a:spLocks noChangeArrowheads="1"/>
          </p:cNvSpPr>
          <p:nvPr/>
        </p:nvSpPr>
        <p:spPr bwMode="auto">
          <a:xfrm>
            <a:off x="6867328" y="3247623"/>
            <a:ext cx="2796043" cy="2519547"/>
          </a:xfrm>
          <a:custGeom>
            <a:avLst/>
            <a:gdLst>
              <a:gd name="T0" fmla="*/ 2190 w 4380"/>
              <a:gd name="T1" fmla="*/ 0 h 4381"/>
              <a:gd name="T2" fmla="*/ 2190 w 4380"/>
              <a:gd name="T3" fmla="*/ 0 h 4381"/>
              <a:gd name="T4" fmla="*/ 0 w 4380"/>
              <a:gd name="T5" fmla="*/ 2190 h 4381"/>
              <a:gd name="T6" fmla="*/ 0 w 4380"/>
              <a:gd name="T7" fmla="*/ 2190 h 4381"/>
              <a:gd name="T8" fmla="*/ 2190 w 4380"/>
              <a:gd name="T9" fmla="*/ 4380 h 4381"/>
              <a:gd name="T10" fmla="*/ 2190 w 4380"/>
              <a:gd name="T11" fmla="*/ 4380 h 4381"/>
              <a:gd name="T12" fmla="*/ 4379 w 4380"/>
              <a:gd name="T13" fmla="*/ 2190 h 4381"/>
              <a:gd name="T14" fmla="*/ 4379 w 4380"/>
              <a:gd name="T15" fmla="*/ 0 h 4381"/>
              <a:gd name="T16" fmla="*/ 2190 w 4380"/>
              <a:gd name="T17" fmla="*/ 0 h 4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80" h="4381">
                <a:moveTo>
                  <a:pt x="2190" y="0"/>
                </a:moveTo>
                <a:lnTo>
                  <a:pt x="2190" y="0"/>
                </a:lnTo>
                <a:cubicBezTo>
                  <a:pt x="981" y="0"/>
                  <a:pt x="0" y="981"/>
                  <a:pt x="0" y="2190"/>
                </a:cubicBezTo>
                <a:lnTo>
                  <a:pt x="0" y="2190"/>
                </a:lnTo>
                <a:cubicBezTo>
                  <a:pt x="0" y="3400"/>
                  <a:pt x="981" y="4380"/>
                  <a:pt x="2190" y="4380"/>
                </a:cubicBezTo>
                <a:lnTo>
                  <a:pt x="2190" y="4380"/>
                </a:lnTo>
                <a:cubicBezTo>
                  <a:pt x="3399" y="4380"/>
                  <a:pt x="4379" y="3400"/>
                  <a:pt x="4379" y="2190"/>
                </a:cubicBezTo>
                <a:lnTo>
                  <a:pt x="4379" y="0"/>
                </a:lnTo>
                <a:lnTo>
                  <a:pt x="2190" y="0"/>
                </a:lnTo>
              </a:path>
            </a:pathLst>
          </a:custGeom>
          <a:solidFill>
            <a:srgbClr val="F16924">
              <a:alpha val="93203"/>
            </a:srgbClr>
          </a:solidFill>
          <a:ln>
            <a:noFill/>
          </a:ln>
          <a:effectLst/>
        </p:spPr>
        <p:txBody>
          <a:bodyPr wrap="none" anchor="ctr"/>
          <a:lstStyle/>
          <a:p>
            <a:pPr algn="l" rtl="0">
              <a:defRPr/>
            </a:pPr>
            <a:endParaRPr lang="en-GB" sz="2449" dirty="0">
              <a:latin typeface="+mj-lt"/>
            </a:endParaRPr>
          </a:p>
        </p:txBody>
      </p:sp>
      <p:sp>
        <p:nvSpPr>
          <p:cNvPr id="33" name="Freeform 314">
            <a:extLst>
              <a:ext uri="{FF2B5EF4-FFF2-40B4-BE49-F238E27FC236}">
                <a16:creationId xmlns:a16="http://schemas.microsoft.com/office/drawing/2014/main" id="{3E0DEA17-3C8D-7D3E-7781-DD4A8ECDD2D7}"/>
              </a:ext>
            </a:extLst>
          </p:cNvPr>
          <p:cNvSpPr>
            <a:spLocks noChangeArrowheads="1"/>
          </p:cNvSpPr>
          <p:nvPr/>
        </p:nvSpPr>
        <p:spPr bwMode="auto">
          <a:xfrm>
            <a:off x="8921692" y="3247623"/>
            <a:ext cx="2796043" cy="2519547"/>
          </a:xfrm>
          <a:custGeom>
            <a:avLst/>
            <a:gdLst>
              <a:gd name="T0" fmla="*/ 2189 w 4380"/>
              <a:gd name="T1" fmla="*/ 0 h 4381"/>
              <a:gd name="T2" fmla="*/ 2189 w 4380"/>
              <a:gd name="T3" fmla="*/ 0 h 4381"/>
              <a:gd name="T4" fmla="*/ 4379 w 4380"/>
              <a:gd name="T5" fmla="*/ 2190 h 4381"/>
              <a:gd name="T6" fmla="*/ 4379 w 4380"/>
              <a:gd name="T7" fmla="*/ 2190 h 4381"/>
              <a:gd name="T8" fmla="*/ 2189 w 4380"/>
              <a:gd name="T9" fmla="*/ 4380 h 4381"/>
              <a:gd name="T10" fmla="*/ 2189 w 4380"/>
              <a:gd name="T11" fmla="*/ 4380 h 4381"/>
              <a:gd name="T12" fmla="*/ 0 w 4380"/>
              <a:gd name="T13" fmla="*/ 2190 h 4381"/>
              <a:gd name="T14" fmla="*/ 0 w 4380"/>
              <a:gd name="T15" fmla="*/ 0 h 4381"/>
              <a:gd name="T16" fmla="*/ 2189 w 4380"/>
              <a:gd name="T17" fmla="*/ 0 h 4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80" h="4381">
                <a:moveTo>
                  <a:pt x="2189" y="0"/>
                </a:moveTo>
                <a:lnTo>
                  <a:pt x="2189" y="0"/>
                </a:lnTo>
                <a:cubicBezTo>
                  <a:pt x="3398" y="0"/>
                  <a:pt x="4379" y="981"/>
                  <a:pt x="4379" y="2190"/>
                </a:cubicBezTo>
                <a:lnTo>
                  <a:pt x="4379" y="2190"/>
                </a:lnTo>
                <a:cubicBezTo>
                  <a:pt x="4379" y="3400"/>
                  <a:pt x="3398" y="4380"/>
                  <a:pt x="2189" y="4380"/>
                </a:cubicBezTo>
                <a:lnTo>
                  <a:pt x="2189" y="4380"/>
                </a:lnTo>
                <a:cubicBezTo>
                  <a:pt x="981" y="4380"/>
                  <a:pt x="0" y="3400"/>
                  <a:pt x="0" y="2190"/>
                </a:cubicBezTo>
                <a:lnTo>
                  <a:pt x="0" y="0"/>
                </a:lnTo>
                <a:lnTo>
                  <a:pt x="2189" y="0"/>
                </a:lnTo>
              </a:path>
            </a:pathLst>
          </a:custGeom>
          <a:solidFill>
            <a:srgbClr val="EDA13E">
              <a:alpha val="90000"/>
            </a:srgbClr>
          </a:solidFill>
          <a:ln>
            <a:noFill/>
          </a:ln>
          <a:effectLst/>
        </p:spPr>
        <p:txBody>
          <a:bodyPr wrap="none" anchor="ctr"/>
          <a:lstStyle/>
          <a:p>
            <a:pPr algn="l" rtl="0">
              <a:defRPr/>
            </a:pPr>
            <a:endParaRPr lang="en-GB" sz="2449" dirty="0">
              <a:latin typeface="+mj-lt"/>
            </a:endParaRPr>
          </a:p>
        </p:txBody>
      </p:sp>
      <p:sp>
        <p:nvSpPr>
          <p:cNvPr id="34" name="TextBox 13">
            <a:extLst>
              <a:ext uri="{FF2B5EF4-FFF2-40B4-BE49-F238E27FC236}">
                <a16:creationId xmlns:a16="http://schemas.microsoft.com/office/drawing/2014/main" id="{C8E2D341-9B1B-E737-30D7-1AC5FB3EED24}"/>
              </a:ext>
            </a:extLst>
          </p:cNvPr>
          <p:cNvSpPr txBox="1"/>
          <p:nvPr/>
        </p:nvSpPr>
        <p:spPr>
          <a:xfrm>
            <a:off x="7428753" y="2086547"/>
            <a:ext cx="1393267" cy="523220"/>
          </a:xfrm>
          <a:prstGeom prst="rect">
            <a:avLst/>
          </a:prstGeom>
          <a:noFill/>
        </p:spPr>
        <p:txBody>
          <a:bodyPr wrap="none" rtlCol="0" anchor="ctr">
            <a:spAutoFit/>
          </a:bodyPr>
          <a:lstStyle/>
          <a:p>
            <a:pPr algn="ctr" rtl="0"/>
            <a:r>
              <a:rPr lang="en-GB" sz="2800" dirty="0">
                <a:solidFill>
                  <a:schemeClr val="bg1"/>
                </a:solidFill>
                <a:ea typeface="Source Sans Pro" panose="020B0503030403020204" pitchFamily="34" charset="0"/>
              </a:rPr>
              <a:t>bloqueadores</a:t>
            </a:r>
          </a:p>
        </p:txBody>
      </p:sp>
      <p:sp>
        <p:nvSpPr>
          <p:cNvPr id="35" name="TextBox 14">
            <a:extLst>
              <a:ext uri="{FF2B5EF4-FFF2-40B4-BE49-F238E27FC236}">
                <a16:creationId xmlns:a16="http://schemas.microsoft.com/office/drawing/2014/main" id="{EAC5723A-ADB9-B091-6DC8-EC2A289B8B7D}"/>
              </a:ext>
            </a:extLst>
          </p:cNvPr>
          <p:cNvSpPr txBox="1"/>
          <p:nvPr/>
        </p:nvSpPr>
        <p:spPr>
          <a:xfrm>
            <a:off x="9485858" y="2086547"/>
            <a:ext cx="1813317" cy="523220"/>
          </a:xfrm>
          <a:prstGeom prst="rect">
            <a:avLst/>
          </a:prstGeom>
          <a:noFill/>
        </p:spPr>
        <p:txBody>
          <a:bodyPr wrap="none" rtlCol="0" anchor="ctr">
            <a:spAutoFit/>
          </a:bodyPr>
          <a:lstStyle/>
          <a:p>
            <a:pPr algn="ctr" rtl="0"/>
            <a:r>
              <a:rPr lang="en-GB" sz="2800">
                <a:solidFill>
                  <a:schemeClr val="bg1"/>
                </a:solidFill>
                <a:ea typeface="Source Sans Pro" panose="020B0503030403020204" pitchFamily="34" charset="0"/>
              </a:rPr>
              <a:t>campeones</a:t>
            </a:r>
            <a:endParaRPr lang="en-GB" sz="2800" dirty="0">
              <a:solidFill>
                <a:schemeClr val="bg1"/>
              </a:solidFill>
              <a:ea typeface="Source Sans Pro" panose="020B0503030403020204" pitchFamily="34" charset="0"/>
            </a:endParaRPr>
          </a:p>
        </p:txBody>
      </p:sp>
      <p:sp>
        <p:nvSpPr>
          <p:cNvPr id="36" name="TextBox 15">
            <a:extLst>
              <a:ext uri="{FF2B5EF4-FFF2-40B4-BE49-F238E27FC236}">
                <a16:creationId xmlns:a16="http://schemas.microsoft.com/office/drawing/2014/main" id="{B9DC6567-86A2-E6C0-3A94-33EEDB116F25}"/>
              </a:ext>
            </a:extLst>
          </p:cNvPr>
          <p:cNvSpPr txBox="1"/>
          <p:nvPr/>
        </p:nvSpPr>
        <p:spPr>
          <a:xfrm>
            <a:off x="7403938" y="4248065"/>
            <a:ext cx="1442896" cy="523220"/>
          </a:xfrm>
          <a:prstGeom prst="rect">
            <a:avLst/>
          </a:prstGeom>
          <a:noFill/>
        </p:spPr>
        <p:txBody>
          <a:bodyPr wrap="none" rtlCol="0" anchor="ctr">
            <a:spAutoFit/>
          </a:bodyPr>
          <a:lstStyle/>
          <a:p>
            <a:pPr algn="ctr" rtl="0"/>
            <a:r>
              <a:rPr lang="en-GB" sz="2800">
                <a:solidFill>
                  <a:schemeClr val="bg1"/>
                </a:solidFill>
                <a:ea typeface="Source Sans Pro" panose="020B0503030403020204" pitchFamily="34" charset="0"/>
              </a:rPr>
              <a:t>evitadores</a:t>
            </a:r>
            <a:endParaRPr lang="en-GB" sz="2800" dirty="0">
              <a:solidFill>
                <a:schemeClr val="bg1"/>
              </a:solidFill>
              <a:ea typeface="Source Sans Pro" panose="020B0503030403020204" pitchFamily="34" charset="0"/>
            </a:endParaRPr>
          </a:p>
        </p:txBody>
      </p:sp>
      <p:sp>
        <p:nvSpPr>
          <p:cNvPr id="37" name="TextBox 16">
            <a:extLst>
              <a:ext uri="{FF2B5EF4-FFF2-40B4-BE49-F238E27FC236}">
                <a16:creationId xmlns:a16="http://schemas.microsoft.com/office/drawing/2014/main" id="{BFDCD7E3-967A-EDB3-23EA-00ABC80711A7}"/>
              </a:ext>
            </a:extLst>
          </p:cNvPr>
          <p:cNvSpPr txBox="1"/>
          <p:nvPr/>
        </p:nvSpPr>
        <p:spPr>
          <a:xfrm>
            <a:off x="9220432" y="4248065"/>
            <a:ext cx="2344168" cy="523220"/>
          </a:xfrm>
          <a:prstGeom prst="rect">
            <a:avLst/>
          </a:prstGeom>
          <a:noFill/>
        </p:spPr>
        <p:txBody>
          <a:bodyPr wrap="none" rtlCol="0" anchor="ctr">
            <a:spAutoFit/>
          </a:bodyPr>
          <a:lstStyle/>
          <a:p>
            <a:pPr algn="ctr" rtl="0"/>
            <a:r>
              <a:rPr lang="en-GB" sz="2800" dirty="0">
                <a:solidFill>
                  <a:schemeClr val="bg1"/>
                </a:solidFill>
                <a:ea typeface="Source Sans Pro" panose="020B0503030403020204" pitchFamily="34" charset="0"/>
              </a:rPr>
              <a:t>Impulsores silenciosos</a:t>
            </a:r>
          </a:p>
        </p:txBody>
      </p:sp>
      <p:cxnSp>
        <p:nvCxnSpPr>
          <p:cNvPr id="38" name="Gerade Verbindung mit Pfeil 5">
            <a:extLst>
              <a:ext uri="{FF2B5EF4-FFF2-40B4-BE49-F238E27FC236}">
                <a16:creationId xmlns:a16="http://schemas.microsoft.com/office/drawing/2014/main" id="{B3DF8680-F993-7481-76E9-98C797C1503C}"/>
              </a:ext>
            </a:extLst>
          </p:cNvPr>
          <p:cNvCxnSpPr>
            <a:cxnSpLocks/>
          </p:cNvCxnSpPr>
          <p:nvPr/>
        </p:nvCxnSpPr>
        <p:spPr>
          <a:xfrm>
            <a:off x="6417615" y="6039883"/>
            <a:ext cx="5228358" cy="0"/>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7">
            <a:extLst>
              <a:ext uri="{FF2B5EF4-FFF2-40B4-BE49-F238E27FC236}">
                <a16:creationId xmlns:a16="http://schemas.microsoft.com/office/drawing/2014/main" id="{D4FA430D-FE9D-BFC1-6FC0-CC1639220BE8}"/>
              </a:ext>
            </a:extLst>
          </p:cNvPr>
          <p:cNvCxnSpPr>
            <a:cxnSpLocks/>
          </p:cNvCxnSpPr>
          <p:nvPr/>
        </p:nvCxnSpPr>
        <p:spPr>
          <a:xfrm flipV="1">
            <a:off x="6417615" y="914400"/>
            <a:ext cx="0" cy="5125483"/>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21">
            <a:extLst>
              <a:ext uri="{FF2B5EF4-FFF2-40B4-BE49-F238E27FC236}">
                <a16:creationId xmlns:a16="http://schemas.microsoft.com/office/drawing/2014/main" id="{CAEA5434-C201-71CA-50D4-EA08643D90CE}"/>
              </a:ext>
            </a:extLst>
          </p:cNvPr>
          <p:cNvSpPr txBox="1"/>
          <p:nvPr/>
        </p:nvSpPr>
        <p:spPr>
          <a:xfrm>
            <a:off x="6417615" y="6170298"/>
            <a:ext cx="5192708" cy="369332"/>
          </a:xfrm>
          <a:prstGeom prst="rect">
            <a:avLst/>
          </a:prstGeom>
          <a:noFill/>
        </p:spPr>
        <p:txBody>
          <a:bodyPr wrap="square" rtlCol="0" anchor="b" anchorCtr="0">
            <a:spAutoFit/>
          </a:bodyPr>
          <a:lstStyle/>
          <a:p>
            <a:pPr algn="ctr" rtl="0"/>
            <a:r>
              <a:rPr lang="en-GB" b="1" dirty="0">
                <a:solidFill>
                  <a:srgbClr val="595959"/>
                </a:solidFill>
                <a:ea typeface="League Spartan" charset="0"/>
                <a:cs typeface="Poppins" pitchFamily="2" charset="77"/>
              </a:rPr>
              <a:t>Interés común</a:t>
            </a:r>
          </a:p>
        </p:txBody>
      </p:sp>
      <p:sp>
        <p:nvSpPr>
          <p:cNvPr id="41" name="TextBox 21">
            <a:extLst>
              <a:ext uri="{FF2B5EF4-FFF2-40B4-BE49-F238E27FC236}">
                <a16:creationId xmlns:a16="http://schemas.microsoft.com/office/drawing/2014/main" id="{FC8AA3D6-F9A4-F877-9C8F-7805A3D7908B}"/>
              </a:ext>
            </a:extLst>
          </p:cNvPr>
          <p:cNvSpPr txBox="1"/>
          <p:nvPr/>
        </p:nvSpPr>
        <p:spPr>
          <a:xfrm rot="5400000">
            <a:off x="3763876" y="3380690"/>
            <a:ext cx="4949055" cy="369332"/>
          </a:xfrm>
          <a:prstGeom prst="rect">
            <a:avLst/>
          </a:prstGeom>
          <a:noFill/>
        </p:spPr>
        <p:txBody>
          <a:bodyPr wrap="square" rtlCol="0" anchor="b" anchorCtr="0">
            <a:spAutoFit/>
          </a:bodyPr>
          <a:lstStyle/>
          <a:p>
            <a:pPr algn="ctr" rtl="0"/>
            <a:r>
              <a:rPr lang="en-GB" b="1" dirty="0">
                <a:solidFill>
                  <a:srgbClr val="595959"/>
                </a:solidFill>
                <a:ea typeface="League Spartan" charset="0"/>
                <a:cs typeface="Poppins" pitchFamily="2" charset="77"/>
              </a:rPr>
              <a:t>Energía invertida</a:t>
            </a:r>
          </a:p>
        </p:txBody>
      </p:sp>
      <p:sp>
        <p:nvSpPr>
          <p:cNvPr id="42" name="TextBox 13">
            <a:extLst>
              <a:ext uri="{FF2B5EF4-FFF2-40B4-BE49-F238E27FC236}">
                <a16:creationId xmlns:a16="http://schemas.microsoft.com/office/drawing/2014/main" id="{8D2ADA10-3862-2E0C-5CA2-4A77914D62B4}"/>
              </a:ext>
            </a:extLst>
          </p:cNvPr>
          <p:cNvSpPr txBox="1"/>
          <p:nvPr/>
        </p:nvSpPr>
        <p:spPr>
          <a:xfrm>
            <a:off x="7261435" y="2533845"/>
            <a:ext cx="1727903" cy="338554"/>
          </a:xfrm>
          <a:prstGeom prst="rect">
            <a:avLst/>
          </a:prstGeom>
          <a:noFill/>
        </p:spPr>
        <p:txBody>
          <a:bodyPr wrap="square" rtlCol="0" anchor="ctr">
            <a:spAutoFit/>
          </a:bodyPr>
          <a:lstStyle/>
          <a:p>
            <a:pPr algn="ctr" rtl="0"/>
            <a:r>
              <a:rPr lang="en-GB" sz="1600" b="1" dirty="0">
                <a:solidFill>
                  <a:schemeClr val="bg1"/>
                </a:solidFill>
                <a:ea typeface="Source Sans Pro" panose="020B0503030403020204" pitchFamily="34" charset="0"/>
              </a:rPr>
              <a:t>Resistencias activas</a:t>
            </a:r>
          </a:p>
        </p:txBody>
      </p:sp>
      <p:sp>
        <p:nvSpPr>
          <p:cNvPr id="43" name="TextBox 14">
            <a:extLst>
              <a:ext uri="{FF2B5EF4-FFF2-40B4-BE49-F238E27FC236}">
                <a16:creationId xmlns:a16="http://schemas.microsoft.com/office/drawing/2014/main" id="{A06D59D7-3941-A514-A518-EAC5EBD6A3E1}"/>
              </a:ext>
            </a:extLst>
          </p:cNvPr>
          <p:cNvSpPr txBox="1"/>
          <p:nvPr/>
        </p:nvSpPr>
        <p:spPr>
          <a:xfrm>
            <a:off x="9548760" y="2576888"/>
            <a:ext cx="1687513" cy="338554"/>
          </a:xfrm>
          <a:prstGeom prst="rect">
            <a:avLst/>
          </a:prstGeom>
          <a:noFill/>
        </p:spPr>
        <p:txBody>
          <a:bodyPr wrap="square" rtlCol="0" anchor="ctr">
            <a:spAutoFit/>
          </a:bodyPr>
          <a:lstStyle/>
          <a:p>
            <a:pPr algn="ctr" rtl="0"/>
            <a:r>
              <a:rPr lang="en-GB" sz="1600" b="1" dirty="0">
                <a:solidFill>
                  <a:schemeClr val="bg1"/>
                </a:solidFill>
                <a:ea typeface="Source Sans Pro" panose="020B0503030403020204" pitchFamily="34" charset="0"/>
              </a:rPr>
              <a:t>Partidarios activos</a:t>
            </a:r>
          </a:p>
        </p:txBody>
      </p:sp>
      <p:sp>
        <p:nvSpPr>
          <p:cNvPr id="44" name="TextBox 15">
            <a:extLst>
              <a:ext uri="{FF2B5EF4-FFF2-40B4-BE49-F238E27FC236}">
                <a16:creationId xmlns:a16="http://schemas.microsoft.com/office/drawing/2014/main" id="{DDBAA945-641A-3A1C-8776-286D244D6DB0}"/>
              </a:ext>
            </a:extLst>
          </p:cNvPr>
          <p:cNvSpPr txBox="1"/>
          <p:nvPr/>
        </p:nvSpPr>
        <p:spPr>
          <a:xfrm>
            <a:off x="7147633" y="4738365"/>
            <a:ext cx="1955506" cy="338554"/>
          </a:xfrm>
          <a:prstGeom prst="rect">
            <a:avLst/>
          </a:prstGeom>
          <a:noFill/>
        </p:spPr>
        <p:txBody>
          <a:bodyPr wrap="square" rtlCol="0" anchor="ctr">
            <a:spAutoFit/>
          </a:bodyPr>
          <a:lstStyle/>
          <a:p>
            <a:pPr algn="ctr" rtl="0"/>
            <a:r>
              <a:rPr lang="en-GB" sz="1600" b="1" dirty="0">
                <a:solidFill>
                  <a:schemeClr val="bg1"/>
                </a:solidFill>
                <a:ea typeface="Source Sans Pro" panose="020B0503030403020204" pitchFamily="34" charset="0"/>
              </a:rPr>
              <a:t>Resistencias Pasivas</a:t>
            </a:r>
          </a:p>
        </p:txBody>
      </p:sp>
      <p:sp>
        <p:nvSpPr>
          <p:cNvPr id="45" name="TextBox 16">
            <a:extLst>
              <a:ext uri="{FF2B5EF4-FFF2-40B4-BE49-F238E27FC236}">
                <a16:creationId xmlns:a16="http://schemas.microsoft.com/office/drawing/2014/main" id="{BCD33C7E-8101-8ECC-2DA5-B051DF6EBD74}"/>
              </a:ext>
            </a:extLst>
          </p:cNvPr>
          <p:cNvSpPr txBox="1"/>
          <p:nvPr/>
        </p:nvSpPr>
        <p:spPr>
          <a:xfrm>
            <a:off x="9485492" y="4784289"/>
            <a:ext cx="1814049" cy="338554"/>
          </a:xfrm>
          <a:prstGeom prst="rect">
            <a:avLst/>
          </a:prstGeom>
          <a:noFill/>
        </p:spPr>
        <p:txBody>
          <a:bodyPr wrap="square" rtlCol="0" anchor="ctr">
            <a:spAutoFit/>
          </a:bodyPr>
          <a:lstStyle/>
          <a:p>
            <a:pPr algn="ctr" rtl="0"/>
            <a:r>
              <a:rPr lang="en-GB" sz="1600" b="1" dirty="0">
                <a:solidFill>
                  <a:schemeClr val="bg1"/>
                </a:solidFill>
                <a:ea typeface="Source Sans Pro" panose="020B0503030403020204" pitchFamily="34" charset="0"/>
              </a:rPr>
              <a:t>Partidarios pasivos</a:t>
            </a:r>
          </a:p>
        </p:txBody>
      </p:sp>
      <p:sp>
        <p:nvSpPr>
          <p:cNvPr id="46" name="Rectangle 45">
            <a:extLst>
              <a:ext uri="{FF2B5EF4-FFF2-40B4-BE49-F238E27FC236}">
                <a16:creationId xmlns:a16="http://schemas.microsoft.com/office/drawing/2014/main" id="{0BFEFE3E-83F0-94C6-FF41-9FEC2E496AE6}"/>
              </a:ext>
            </a:extLst>
          </p:cNvPr>
          <p:cNvSpPr/>
          <p:nvPr/>
        </p:nvSpPr>
        <p:spPr>
          <a:xfrm>
            <a:off x="474265" y="231620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Tree>
    <p:extLst>
      <p:ext uri="{BB962C8B-B14F-4D97-AF65-F5344CB8AC3E}">
        <p14:creationId xmlns:p14="http://schemas.microsoft.com/office/powerpoint/2010/main" val="6127353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271946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4" name="Text Placeholder 2">
            <a:extLst>
              <a:ext uri="{FF2B5EF4-FFF2-40B4-BE49-F238E27FC236}">
                <a16:creationId xmlns:a16="http://schemas.microsoft.com/office/drawing/2014/main" id="{E14E7544-3E64-27D1-24B3-C598C4FF7AD7}"/>
              </a:ext>
            </a:extLst>
          </p:cNvPr>
          <p:cNvSpPr txBox="1">
            <a:spLocks/>
          </p:cNvSpPr>
          <p:nvPr/>
        </p:nvSpPr>
        <p:spPr>
          <a:xfrm>
            <a:off x="4728073" y="406400"/>
            <a:ext cx="7057528" cy="1799036"/>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5875" indent="-15875" algn="l" rtl="0"/>
            <a:r>
              <a:rPr lang="en-US" dirty="0">
                <a:solidFill>
                  <a:schemeClr val="bg1"/>
                </a:solidFill>
              </a:rPr>
              <a:t>El objetivo de la gestión de crisis es eliminar el daño potencial y permitir que la</a:t>
            </a:r>
            <a:r>
              <a:rPr lang="en-US" dirty="0" err="1">
                <a:solidFill>
                  <a:schemeClr val="bg1"/>
                </a:solidFill>
              </a:rPr>
              <a:t>organización</a:t>
            </a:r>
            <a:r>
              <a:rPr lang="en-US" dirty="0">
                <a:solidFill>
                  <a:schemeClr val="bg1"/>
                </a:solidFill>
              </a:rPr>
              <a:t>reanudar la ejecución de su estrategia. Durante la crisis empresarial, la comunicación con los principales stakeholders es fundamental.</a:t>
            </a:r>
          </a:p>
          <a:p>
            <a:pPr marL="15875" indent="-15875" algn="l" rtl="0">
              <a:lnSpc>
                <a:spcPct val="150000"/>
              </a:lnSpc>
            </a:pPr>
            <a:endParaRPr lang="en-US" sz="800" dirty="0">
              <a:solidFill>
                <a:schemeClr val="bg1"/>
              </a:solidFill>
            </a:endParaRPr>
          </a:p>
          <a:p>
            <a:pPr marL="15875" indent="-15875" algn="l" rtl="0"/>
            <a:r>
              <a:rPr lang="en-US" b="1" dirty="0">
                <a:solidFill>
                  <a:schemeClr val="bg1"/>
                </a:solidFill>
              </a:rPr>
              <a:t>Business Crisis Communication tiene los siguientes objetivos principales:</a:t>
            </a:r>
          </a:p>
          <a:p>
            <a:pPr marL="15875" indent="-15875" algn="l" rtl="0"/>
            <a:endParaRPr lang="en-US" dirty="0">
              <a:solidFill>
                <a:schemeClr val="bg1"/>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530826" y="282512"/>
            <a:ext cx="3666420" cy="217018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Objetivos Estratégicos de Comunicación</a:t>
            </a:r>
            <a:r>
              <a:rPr lang="en-GB" b="1" dirty="0">
                <a:solidFill>
                  <a:schemeClr val="bg1"/>
                </a:solidFill>
              </a:rPr>
              <a:t>DURANTE</a:t>
            </a:r>
            <a:r>
              <a:rPr lang="en-GB" dirty="0">
                <a:solidFill>
                  <a:schemeClr val="bg1"/>
                </a:solidFill>
              </a:rPr>
              <a:t>una crisis</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3327159" y="1293888"/>
            <a:ext cx="205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grpSp>
        <p:nvGrpSpPr>
          <p:cNvPr id="2" name="Gruppieren 3">
            <a:extLst>
              <a:ext uri="{FF2B5EF4-FFF2-40B4-BE49-F238E27FC236}">
                <a16:creationId xmlns:a16="http://schemas.microsoft.com/office/drawing/2014/main" id="{A48ED906-58BC-1727-FFA0-BF2B2756959F}"/>
              </a:ext>
            </a:extLst>
          </p:cNvPr>
          <p:cNvGrpSpPr/>
          <p:nvPr/>
        </p:nvGrpSpPr>
        <p:grpSpPr>
          <a:xfrm>
            <a:off x="530826" y="2854387"/>
            <a:ext cx="10896391" cy="3448907"/>
            <a:chOff x="3649227" y="1891861"/>
            <a:chExt cx="12559024" cy="4080288"/>
          </a:xfrm>
        </p:grpSpPr>
        <p:sp>
          <p:nvSpPr>
            <p:cNvPr id="3" name="Pentagon 6">
              <a:extLst>
                <a:ext uri="{FF2B5EF4-FFF2-40B4-BE49-F238E27FC236}">
                  <a16:creationId xmlns:a16="http://schemas.microsoft.com/office/drawing/2014/main" id="{51679894-A8DD-CC6C-2583-05C0FB96D719}"/>
                </a:ext>
              </a:extLst>
            </p:cNvPr>
            <p:cNvSpPr/>
            <p:nvPr/>
          </p:nvSpPr>
          <p:spPr>
            <a:xfrm>
              <a:off x="7915823" y="3106373"/>
              <a:ext cx="8147109" cy="839242"/>
            </a:xfrm>
            <a:prstGeom prst="homePlate">
              <a:avLst/>
            </a:pr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lnSpc>
                  <a:spcPts val="2240"/>
                </a:lnSpc>
              </a:pPr>
              <a:endParaRPr lang="en-GB" sz="2200" dirty="0"/>
            </a:p>
          </p:txBody>
        </p:sp>
        <p:sp>
          <p:nvSpPr>
            <p:cNvPr id="4" name="Pentagon 7">
              <a:extLst>
                <a:ext uri="{FF2B5EF4-FFF2-40B4-BE49-F238E27FC236}">
                  <a16:creationId xmlns:a16="http://schemas.microsoft.com/office/drawing/2014/main" id="{363E3A73-614F-75D6-E873-1C955787EDE5}"/>
                </a:ext>
              </a:extLst>
            </p:cNvPr>
            <p:cNvSpPr/>
            <p:nvPr/>
          </p:nvSpPr>
          <p:spPr>
            <a:xfrm>
              <a:off x="7925556" y="3874279"/>
              <a:ext cx="8282687" cy="824473"/>
            </a:xfrm>
            <a:prstGeom prst="homePlate">
              <a:avLst/>
            </a:pr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lnSpc>
                  <a:spcPts val="2240"/>
                </a:lnSpc>
              </a:pPr>
              <a:endParaRPr lang="en-GB" sz="2200" dirty="0"/>
            </a:p>
          </p:txBody>
        </p:sp>
        <p:sp>
          <p:nvSpPr>
            <p:cNvPr id="5" name="Pentagon 8">
              <a:extLst>
                <a:ext uri="{FF2B5EF4-FFF2-40B4-BE49-F238E27FC236}">
                  <a16:creationId xmlns:a16="http://schemas.microsoft.com/office/drawing/2014/main" id="{51F02347-1C8D-7E95-F646-53EDAC520403}"/>
                </a:ext>
              </a:extLst>
            </p:cNvPr>
            <p:cNvSpPr/>
            <p:nvPr/>
          </p:nvSpPr>
          <p:spPr>
            <a:xfrm>
              <a:off x="7925556" y="4694375"/>
              <a:ext cx="8282695" cy="844078"/>
            </a:xfrm>
            <a:prstGeom prst="homePlate">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lnSpc>
                  <a:spcPts val="2240"/>
                </a:lnSpc>
              </a:pPr>
              <a:endParaRPr lang="en-GB" sz="2200" dirty="0"/>
            </a:p>
          </p:txBody>
        </p:sp>
        <p:sp>
          <p:nvSpPr>
            <p:cNvPr id="6" name="Pentagon 9">
              <a:extLst>
                <a:ext uri="{FF2B5EF4-FFF2-40B4-BE49-F238E27FC236}">
                  <a16:creationId xmlns:a16="http://schemas.microsoft.com/office/drawing/2014/main" id="{21378E91-5A8F-9C56-CC70-41B2F462B7C2}"/>
                </a:ext>
              </a:extLst>
            </p:cNvPr>
            <p:cNvSpPr/>
            <p:nvPr/>
          </p:nvSpPr>
          <p:spPr>
            <a:xfrm>
              <a:off x="7915824" y="2301045"/>
              <a:ext cx="8066168" cy="824473"/>
            </a:xfrm>
            <a:prstGeom prst="homePlate">
              <a:avLst/>
            </a:pr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lnSpc>
                  <a:spcPts val="2240"/>
                </a:lnSpc>
              </a:pPr>
              <a:endParaRPr lang="en-GB" sz="2200" dirty="0"/>
            </a:p>
          </p:txBody>
        </p:sp>
        <p:sp>
          <p:nvSpPr>
            <p:cNvPr id="7" name="Rectangle 10">
              <a:extLst>
                <a:ext uri="{FF2B5EF4-FFF2-40B4-BE49-F238E27FC236}">
                  <a16:creationId xmlns:a16="http://schemas.microsoft.com/office/drawing/2014/main" id="{B0BC658F-F251-F2E8-D79B-90A22413AD4E}"/>
                </a:ext>
              </a:extLst>
            </p:cNvPr>
            <p:cNvSpPr/>
            <p:nvPr/>
          </p:nvSpPr>
          <p:spPr>
            <a:xfrm>
              <a:off x="5657923" y="3427445"/>
              <a:ext cx="1798582" cy="519724"/>
            </a:xfrm>
            <a:prstGeom prst="rect">
              <a:avLst/>
            </a:pr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lnSpc>
                  <a:spcPts val="2240"/>
                </a:lnSpc>
              </a:pPr>
              <a:endParaRPr lang="en-GB" sz="2200" dirty="0"/>
            </a:p>
          </p:txBody>
        </p:sp>
        <p:sp>
          <p:nvSpPr>
            <p:cNvPr id="8" name="Rectangle 11">
              <a:extLst>
                <a:ext uri="{FF2B5EF4-FFF2-40B4-BE49-F238E27FC236}">
                  <a16:creationId xmlns:a16="http://schemas.microsoft.com/office/drawing/2014/main" id="{B3A4E317-B5E9-4079-BA39-2C39005E1335}"/>
                </a:ext>
              </a:extLst>
            </p:cNvPr>
            <p:cNvSpPr/>
            <p:nvPr/>
          </p:nvSpPr>
          <p:spPr>
            <a:xfrm>
              <a:off x="5661365" y="3876235"/>
              <a:ext cx="1795141" cy="506237"/>
            </a:xfrm>
            <a:prstGeom prst="rect">
              <a:avLst/>
            </a:pr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lnSpc>
                  <a:spcPts val="2240"/>
                </a:lnSpc>
              </a:pPr>
              <a:endParaRPr lang="en-GB" sz="2200" dirty="0"/>
            </a:p>
          </p:txBody>
        </p:sp>
        <p:sp>
          <p:nvSpPr>
            <p:cNvPr id="9" name="Rectangle 12">
              <a:extLst>
                <a:ext uri="{FF2B5EF4-FFF2-40B4-BE49-F238E27FC236}">
                  <a16:creationId xmlns:a16="http://schemas.microsoft.com/office/drawing/2014/main" id="{115F0692-E55B-F7B0-8437-0F40FD23DBEA}"/>
                </a:ext>
              </a:extLst>
            </p:cNvPr>
            <p:cNvSpPr/>
            <p:nvPr/>
          </p:nvSpPr>
          <p:spPr>
            <a:xfrm>
              <a:off x="5658941" y="4383904"/>
              <a:ext cx="1819439" cy="587028"/>
            </a:xfrm>
            <a:prstGeom prst="rect">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lnSpc>
                  <a:spcPts val="2240"/>
                </a:lnSpc>
              </a:pPr>
              <a:endParaRPr lang="en-GB" sz="2200" dirty="0"/>
            </a:p>
          </p:txBody>
        </p:sp>
        <p:sp>
          <p:nvSpPr>
            <p:cNvPr id="10" name="Rectangle 13">
              <a:extLst>
                <a:ext uri="{FF2B5EF4-FFF2-40B4-BE49-F238E27FC236}">
                  <a16:creationId xmlns:a16="http://schemas.microsoft.com/office/drawing/2014/main" id="{0F8E1343-C0D7-DB91-F776-47B569B52387}"/>
                </a:ext>
              </a:extLst>
            </p:cNvPr>
            <p:cNvSpPr/>
            <p:nvPr/>
          </p:nvSpPr>
          <p:spPr>
            <a:xfrm>
              <a:off x="5638612" y="2884053"/>
              <a:ext cx="1862293" cy="544947"/>
            </a:xfrm>
            <a:prstGeom prst="rect">
              <a:avLst/>
            </a:pr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lnSpc>
                  <a:spcPts val="2240"/>
                </a:lnSpc>
              </a:pPr>
              <a:endParaRPr lang="en-GB" sz="2200" dirty="0"/>
            </a:p>
          </p:txBody>
        </p:sp>
        <p:grpSp>
          <p:nvGrpSpPr>
            <p:cNvPr id="11" name="Group 14">
              <a:extLst>
                <a:ext uri="{FF2B5EF4-FFF2-40B4-BE49-F238E27FC236}">
                  <a16:creationId xmlns:a16="http://schemas.microsoft.com/office/drawing/2014/main" id="{DA218EA2-FA36-47EE-14D7-EF6B2F0FF4A2}"/>
                </a:ext>
              </a:extLst>
            </p:cNvPr>
            <p:cNvGrpSpPr/>
            <p:nvPr/>
          </p:nvGrpSpPr>
          <p:grpSpPr>
            <a:xfrm>
              <a:off x="7456505" y="2285407"/>
              <a:ext cx="469052" cy="1661763"/>
              <a:chOff x="413581" y="698501"/>
              <a:chExt cx="556244" cy="1970670"/>
            </a:xfrm>
          </p:grpSpPr>
          <p:sp>
            <p:nvSpPr>
              <p:cNvPr id="29" name="Freeform 15">
                <a:extLst>
                  <a:ext uri="{FF2B5EF4-FFF2-40B4-BE49-F238E27FC236}">
                    <a16:creationId xmlns:a16="http://schemas.microsoft.com/office/drawing/2014/main" id="{201E2E5C-5A73-EE7A-CB5D-B8CE5D4B4630}"/>
                  </a:ext>
                </a:extLst>
              </p:cNvPr>
              <p:cNvSpPr/>
              <p:nvPr/>
            </p:nvSpPr>
            <p:spPr>
              <a:xfrm>
                <a:off x="413845" y="698501"/>
                <a:ext cx="555980" cy="1354334"/>
              </a:xfrm>
              <a:custGeom>
                <a:avLst/>
                <a:gdLst>
                  <a:gd name="connsiteX0" fmla="*/ 555980 w 555980"/>
                  <a:gd name="connsiteY0" fmla="*/ 0 h 1354334"/>
                  <a:gd name="connsiteX1" fmla="*/ 555980 w 555980"/>
                  <a:gd name="connsiteY1" fmla="*/ 968242 h 1354334"/>
                  <a:gd name="connsiteX2" fmla="*/ 0 w 555980"/>
                  <a:gd name="connsiteY2" fmla="*/ 1354334 h 1354334"/>
                  <a:gd name="connsiteX3" fmla="*/ 737 w 555980"/>
                  <a:gd name="connsiteY3" fmla="*/ 709226 h 1354334"/>
                  <a:gd name="connsiteX4" fmla="*/ 555980 w 555980"/>
                  <a:gd name="connsiteY4" fmla="*/ 0 h 1354334"/>
                  <a:gd name="connsiteX0" fmla="*/ 555980 w 555980"/>
                  <a:gd name="connsiteY0" fmla="*/ 0 h 1354334"/>
                  <a:gd name="connsiteX1" fmla="*/ 555980 w 555980"/>
                  <a:gd name="connsiteY1" fmla="*/ 976179 h 1354334"/>
                  <a:gd name="connsiteX2" fmla="*/ 0 w 555980"/>
                  <a:gd name="connsiteY2" fmla="*/ 1354334 h 1354334"/>
                  <a:gd name="connsiteX3" fmla="*/ 737 w 555980"/>
                  <a:gd name="connsiteY3" fmla="*/ 709226 h 1354334"/>
                  <a:gd name="connsiteX4" fmla="*/ 555980 w 555980"/>
                  <a:gd name="connsiteY4" fmla="*/ 0 h 1354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980" h="1354334">
                    <a:moveTo>
                      <a:pt x="555980" y="0"/>
                    </a:moveTo>
                    <a:lnTo>
                      <a:pt x="555980" y="976179"/>
                    </a:lnTo>
                    <a:lnTo>
                      <a:pt x="0" y="1354334"/>
                    </a:lnTo>
                    <a:cubicBezTo>
                      <a:pt x="246" y="1139298"/>
                      <a:pt x="491" y="924262"/>
                      <a:pt x="737" y="709226"/>
                    </a:cubicBezTo>
                    <a:lnTo>
                      <a:pt x="555980" y="0"/>
                    </a:lnTo>
                    <a:close/>
                  </a:path>
                </a:pathLst>
              </a:cu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rtl="0">
                  <a:lnSpc>
                    <a:spcPts val="2240"/>
                  </a:lnSpc>
                </a:pPr>
                <a:endParaRPr lang="en-GB" sz="2200" dirty="0"/>
              </a:p>
            </p:txBody>
          </p:sp>
          <p:sp>
            <p:nvSpPr>
              <p:cNvPr id="30" name="Freeform 16">
                <a:extLst>
                  <a:ext uri="{FF2B5EF4-FFF2-40B4-BE49-F238E27FC236}">
                    <a16:creationId xmlns:a16="http://schemas.microsoft.com/office/drawing/2014/main" id="{91D914CC-592C-FD3C-7E16-5181AC0D5835}"/>
                  </a:ext>
                </a:extLst>
              </p:cNvPr>
              <p:cNvSpPr/>
              <p:nvPr/>
            </p:nvSpPr>
            <p:spPr>
              <a:xfrm>
                <a:off x="413581" y="1673921"/>
                <a:ext cx="556244" cy="995250"/>
              </a:xfrm>
              <a:custGeom>
                <a:avLst/>
                <a:gdLst>
                  <a:gd name="connsiteX0" fmla="*/ 556244 w 556244"/>
                  <a:gd name="connsiteY0" fmla="*/ 0 h 995250"/>
                  <a:gd name="connsiteX1" fmla="*/ 556244 w 556244"/>
                  <a:gd name="connsiteY1" fmla="*/ 148222 h 995250"/>
                  <a:gd name="connsiteX2" fmla="*/ 556244 w 556244"/>
                  <a:gd name="connsiteY2" fmla="*/ 847028 h 995250"/>
                  <a:gd name="connsiteX3" fmla="*/ 556244 w 556244"/>
                  <a:gd name="connsiteY3" fmla="*/ 995250 h 995250"/>
                  <a:gd name="connsiteX4" fmla="*/ 0 w 556244"/>
                  <a:gd name="connsiteY4" fmla="*/ 995250 h 995250"/>
                  <a:gd name="connsiteX5" fmla="*/ 317 w 556244"/>
                  <a:gd name="connsiteY5" fmla="*/ 847028 h 995250"/>
                  <a:gd name="connsiteX6" fmla="*/ 0 w 556244"/>
                  <a:gd name="connsiteY6" fmla="*/ 847028 h 995250"/>
                  <a:gd name="connsiteX7" fmla="*/ 1001 w 556244"/>
                  <a:gd name="connsiteY7" fmla="*/ 378960 h 9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6244" h="995250">
                    <a:moveTo>
                      <a:pt x="556244" y="0"/>
                    </a:moveTo>
                    <a:lnTo>
                      <a:pt x="556244" y="148222"/>
                    </a:lnTo>
                    <a:lnTo>
                      <a:pt x="556244" y="847028"/>
                    </a:lnTo>
                    <a:lnTo>
                      <a:pt x="556244" y="995250"/>
                    </a:lnTo>
                    <a:lnTo>
                      <a:pt x="0" y="995250"/>
                    </a:lnTo>
                    <a:lnTo>
                      <a:pt x="317" y="847028"/>
                    </a:lnTo>
                    <a:lnTo>
                      <a:pt x="0" y="847028"/>
                    </a:lnTo>
                    <a:lnTo>
                      <a:pt x="1001" y="378960"/>
                    </a:lnTo>
                    <a:close/>
                  </a:path>
                </a:pathLst>
              </a:cu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rtl="0">
                  <a:lnSpc>
                    <a:spcPts val="2240"/>
                  </a:lnSpc>
                </a:pPr>
                <a:endParaRPr lang="en-GB" sz="2200" dirty="0"/>
              </a:p>
            </p:txBody>
          </p:sp>
        </p:grpSp>
        <p:sp>
          <p:nvSpPr>
            <p:cNvPr id="12" name="Freeform 11">
              <a:extLst>
                <a:ext uri="{FF2B5EF4-FFF2-40B4-BE49-F238E27FC236}">
                  <a16:creationId xmlns:a16="http://schemas.microsoft.com/office/drawing/2014/main" id="{AA8EA921-0E73-70C2-E5F6-A1C35C502359}"/>
                </a:ext>
              </a:extLst>
            </p:cNvPr>
            <p:cNvSpPr/>
            <p:nvPr/>
          </p:nvSpPr>
          <p:spPr>
            <a:xfrm flipV="1">
              <a:off x="7456725" y="4327228"/>
              <a:ext cx="468830" cy="1229672"/>
            </a:xfrm>
            <a:custGeom>
              <a:avLst/>
              <a:gdLst>
                <a:gd name="connsiteX0" fmla="*/ 555980 w 555980"/>
                <a:gd name="connsiteY0" fmla="*/ 0 h 1354334"/>
                <a:gd name="connsiteX1" fmla="*/ 555980 w 555980"/>
                <a:gd name="connsiteY1" fmla="*/ 968242 h 1354334"/>
                <a:gd name="connsiteX2" fmla="*/ 0 w 555980"/>
                <a:gd name="connsiteY2" fmla="*/ 1354334 h 1354334"/>
                <a:gd name="connsiteX3" fmla="*/ 737 w 555980"/>
                <a:gd name="connsiteY3" fmla="*/ 709226 h 1354334"/>
                <a:gd name="connsiteX4" fmla="*/ 555980 w 555980"/>
                <a:gd name="connsiteY4" fmla="*/ 0 h 1354334"/>
                <a:gd name="connsiteX0" fmla="*/ 555980 w 555980"/>
                <a:gd name="connsiteY0" fmla="*/ 0 h 1354334"/>
                <a:gd name="connsiteX1" fmla="*/ 555980 w 555980"/>
                <a:gd name="connsiteY1" fmla="*/ 976179 h 1354334"/>
                <a:gd name="connsiteX2" fmla="*/ 0 w 555980"/>
                <a:gd name="connsiteY2" fmla="*/ 1354334 h 1354334"/>
                <a:gd name="connsiteX3" fmla="*/ 737 w 555980"/>
                <a:gd name="connsiteY3" fmla="*/ 709226 h 1354334"/>
                <a:gd name="connsiteX4" fmla="*/ 555980 w 555980"/>
                <a:gd name="connsiteY4" fmla="*/ 0 h 1354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980" h="1354334">
                  <a:moveTo>
                    <a:pt x="555980" y="0"/>
                  </a:moveTo>
                  <a:lnTo>
                    <a:pt x="555980" y="976179"/>
                  </a:lnTo>
                  <a:lnTo>
                    <a:pt x="0" y="1354334"/>
                  </a:lnTo>
                  <a:cubicBezTo>
                    <a:pt x="246" y="1139298"/>
                    <a:pt x="491" y="924262"/>
                    <a:pt x="737" y="709226"/>
                  </a:cubicBezTo>
                  <a:lnTo>
                    <a:pt x="555980" y="0"/>
                  </a:lnTo>
                  <a:close/>
                </a:path>
              </a:pathLst>
            </a:cu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rtl="0">
                <a:lnSpc>
                  <a:spcPts val="2240"/>
                </a:lnSpc>
              </a:pPr>
              <a:endParaRPr lang="en-GB" sz="2200" dirty="0"/>
            </a:p>
          </p:txBody>
        </p:sp>
        <p:sp>
          <p:nvSpPr>
            <p:cNvPr id="13" name="Freeform 12">
              <a:extLst>
                <a:ext uri="{FF2B5EF4-FFF2-40B4-BE49-F238E27FC236}">
                  <a16:creationId xmlns:a16="http://schemas.microsoft.com/office/drawing/2014/main" id="{36325E37-FE82-378D-8A71-880D5E3F5BA5}"/>
                </a:ext>
              </a:extLst>
            </p:cNvPr>
            <p:cNvSpPr/>
            <p:nvPr/>
          </p:nvSpPr>
          <p:spPr>
            <a:xfrm flipV="1">
              <a:off x="7456503" y="3876236"/>
              <a:ext cx="469052" cy="823948"/>
            </a:xfrm>
            <a:custGeom>
              <a:avLst/>
              <a:gdLst>
                <a:gd name="connsiteX0" fmla="*/ 556244 w 556244"/>
                <a:gd name="connsiteY0" fmla="*/ 0 h 995250"/>
                <a:gd name="connsiteX1" fmla="*/ 556244 w 556244"/>
                <a:gd name="connsiteY1" fmla="*/ 148222 h 995250"/>
                <a:gd name="connsiteX2" fmla="*/ 556244 w 556244"/>
                <a:gd name="connsiteY2" fmla="*/ 847028 h 995250"/>
                <a:gd name="connsiteX3" fmla="*/ 556244 w 556244"/>
                <a:gd name="connsiteY3" fmla="*/ 995250 h 995250"/>
                <a:gd name="connsiteX4" fmla="*/ 0 w 556244"/>
                <a:gd name="connsiteY4" fmla="*/ 995250 h 995250"/>
                <a:gd name="connsiteX5" fmla="*/ 317 w 556244"/>
                <a:gd name="connsiteY5" fmla="*/ 847028 h 995250"/>
                <a:gd name="connsiteX6" fmla="*/ 0 w 556244"/>
                <a:gd name="connsiteY6" fmla="*/ 847028 h 995250"/>
                <a:gd name="connsiteX7" fmla="*/ 1001 w 556244"/>
                <a:gd name="connsiteY7" fmla="*/ 378960 h 9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6244" h="995250">
                  <a:moveTo>
                    <a:pt x="556244" y="0"/>
                  </a:moveTo>
                  <a:lnTo>
                    <a:pt x="556244" y="148222"/>
                  </a:lnTo>
                  <a:lnTo>
                    <a:pt x="556244" y="847028"/>
                  </a:lnTo>
                  <a:lnTo>
                    <a:pt x="556244" y="995250"/>
                  </a:lnTo>
                  <a:lnTo>
                    <a:pt x="0" y="995250"/>
                  </a:lnTo>
                  <a:lnTo>
                    <a:pt x="317" y="847028"/>
                  </a:lnTo>
                  <a:lnTo>
                    <a:pt x="0" y="847028"/>
                  </a:lnTo>
                  <a:lnTo>
                    <a:pt x="1001" y="378960"/>
                  </a:lnTo>
                  <a:close/>
                </a:path>
              </a:pathLst>
            </a:cu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rtl="0">
                <a:lnSpc>
                  <a:spcPts val="2240"/>
                </a:lnSpc>
              </a:pPr>
              <a:endParaRPr lang="en-GB" sz="2200" dirty="0"/>
            </a:p>
          </p:txBody>
        </p:sp>
        <p:sp>
          <p:nvSpPr>
            <p:cNvPr id="14" name="Freeform 3">
              <a:extLst>
                <a:ext uri="{FF2B5EF4-FFF2-40B4-BE49-F238E27FC236}">
                  <a16:creationId xmlns:a16="http://schemas.microsoft.com/office/drawing/2014/main" id="{09972734-09AC-2235-2184-499FD38DCEBD}"/>
                </a:ext>
              </a:extLst>
            </p:cNvPr>
            <p:cNvSpPr>
              <a:spLocks noChangeArrowheads="1"/>
            </p:cNvSpPr>
            <p:nvPr/>
          </p:nvSpPr>
          <p:spPr bwMode="auto">
            <a:xfrm>
              <a:off x="4557960" y="2829893"/>
              <a:ext cx="2204587" cy="2204587"/>
            </a:xfrm>
            <a:custGeom>
              <a:avLst/>
              <a:gdLst>
                <a:gd name="T0" fmla="*/ 5571 w 11134"/>
                <a:gd name="T1" fmla="*/ 11132 h 11134"/>
                <a:gd name="T2" fmla="*/ 5571 w 11134"/>
                <a:gd name="T3" fmla="*/ 11132 h 11134"/>
                <a:gd name="T4" fmla="*/ 11131 w 11134"/>
                <a:gd name="T5" fmla="*/ 5563 h 11134"/>
                <a:gd name="T6" fmla="*/ 11131 w 11134"/>
                <a:gd name="T7" fmla="*/ 5563 h 11134"/>
                <a:gd name="T8" fmla="*/ 5563 w 11134"/>
                <a:gd name="T9" fmla="*/ 3 h 11134"/>
                <a:gd name="T10" fmla="*/ 5563 w 11134"/>
                <a:gd name="T11" fmla="*/ 3 h 11134"/>
                <a:gd name="T12" fmla="*/ 2 w 11134"/>
                <a:gd name="T13" fmla="*/ 5571 h 11134"/>
                <a:gd name="T14" fmla="*/ 2 w 11134"/>
                <a:gd name="T15" fmla="*/ 5571 h 11134"/>
                <a:gd name="T16" fmla="*/ 5571 w 11134"/>
                <a:gd name="T17" fmla="*/ 11132 h 1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34" h="11134">
                  <a:moveTo>
                    <a:pt x="5571" y="11132"/>
                  </a:moveTo>
                  <a:lnTo>
                    <a:pt x="5571" y="11132"/>
                  </a:lnTo>
                  <a:cubicBezTo>
                    <a:pt x="8644" y="11128"/>
                    <a:pt x="11133" y="8636"/>
                    <a:pt x="11131" y="5563"/>
                  </a:cubicBezTo>
                  <a:lnTo>
                    <a:pt x="11131" y="5563"/>
                  </a:lnTo>
                  <a:cubicBezTo>
                    <a:pt x="11129" y="2489"/>
                    <a:pt x="8635" y="0"/>
                    <a:pt x="5563" y="3"/>
                  </a:cubicBezTo>
                  <a:lnTo>
                    <a:pt x="5563" y="3"/>
                  </a:lnTo>
                  <a:cubicBezTo>
                    <a:pt x="2491" y="5"/>
                    <a:pt x="0" y="2498"/>
                    <a:pt x="2" y="5571"/>
                  </a:cubicBezTo>
                  <a:lnTo>
                    <a:pt x="2" y="5571"/>
                  </a:lnTo>
                  <a:cubicBezTo>
                    <a:pt x="4" y="8644"/>
                    <a:pt x="2498" y="11133"/>
                    <a:pt x="5571" y="11132"/>
                  </a:cubicBezTo>
                </a:path>
              </a:pathLst>
            </a:custGeom>
            <a:solidFill>
              <a:schemeClr val="bg1"/>
            </a:solidFill>
            <a:ln>
              <a:noFill/>
            </a:ln>
            <a:effectLst/>
          </p:spPr>
          <p:txBody>
            <a:bodyPr wrap="none" anchor="ctr"/>
            <a:lstStyle/>
            <a:p>
              <a:pPr algn="l" rtl="0">
                <a:lnSpc>
                  <a:spcPts val="2240"/>
                </a:lnSpc>
              </a:pPr>
              <a:endParaRPr lang="en-GB" sz="2200" dirty="0"/>
            </a:p>
          </p:txBody>
        </p:sp>
        <p:sp>
          <p:nvSpPr>
            <p:cNvPr id="15" name="Freeform 4">
              <a:extLst>
                <a:ext uri="{FF2B5EF4-FFF2-40B4-BE49-F238E27FC236}">
                  <a16:creationId xmlns:a16="http://schemas.microsoft.com/office/drawing/2014/main" id="{2BB2C558-C99C-654B-7F92-D3444FBB6B62}"/>
                </a:ext>
              </a:extLst>
            </p:cNvPr>
            <p:cNvSpPr>
              <a:spLocks noChangeArrowheads="1"/>
            </p:cNvSpPr>
            <p:nvPr/>
          </p:nvSpPr>
          <p:spPr bwMode="auto">
            <a:xfrm>
              <a:off x="5658943" y="2672536"/>
              <a:ext cx="1259971" cy="2518986"/>
            </a:xfrm>
            <a:custGeom>
              <a:avLst/>
              <a:gdLst>
                <a:gd name="connsiteX0" fmla="*/ 2882 w 4156546"/>
                <a:gd name="connsiteY0" fmla="*/ 3371527 h 8309941"/>
                <a:gd name="connsiteX1" fmla="*/ 785018 w 4156546"/>
                <a:gd name="connsiteY1" fmla="*/ 4150918 h 8309941"/>
                <a:gd name="connsiteX2" fmla="*/ 3535 w 4156546"/>
                <a:gd name="connsiteY2" fmla="*/ 4934226 h 8309941"/>
                <a:gd name="connsiteX3" fmla="*/ 2 w 4156546"/>
                <a:gd name="connsiteY3" fmla="*/ 1695844 h 8309941"/>
                <a:gd name="connsiteX4" fmla="*/ 2461354 w 4156546"/>
                <a:gd name="connsiteY4" fmla="*/ 4153009 h 8309941"/>
                <a:gd name="connsiteX5" fmla="*/ 3268 w 4156546"/>
                <a:gd name="connsiteY5" fmla="*/ 6613440 h 8309941"/>
                <a:gd name="connsiteX6" fmla="*/ 2615 w 4156546"/>
                <a:gd name="connsiteY6" fmla="*/ 5668729 h 8309941"/>
                <a:gd name="connsiteX7" fmla="*/ 1516791 w 4156546"/>
                <a:gd name="connsiteY7" fmla="*/ 4153663 h 8309941"/>
                <a:gd name="connsiteX8" fmla="*/ 655 w 4156546"/>
                <a:gd name="connsiteY8" fmla="*/ 2639249 h 8309941"/>
                <a:gd name="connsiteX9" fmla="*/ 0 w 4156546"/>
                <a:gd name="connsiteY9" fmla="*/ 1 h 8309941"/>
                <a:gd name="connsiteX10" fmla="*/ 4156545 w 4156546"/>
                <a:gd name="connsiteY10" fmla="*/ 4152031 h 8309941"/>
                <a:gd name="connsiteX11" fmla="*/ 5877 w 4156546"/>
                <a:gd name="connsiteY11" fmla="*/ 8309941 h 8309941"/>
                <a:gd name="connsiteX12" fmla="*/ 4571 w 4156546"/>
                <a:gd name="connsiteY12" fmla="*/ 7365348 h 8309941"/>
                <a:gd name="connsiteX13" fmla="*/ 3212914 w 4156546"/>
                <a:gd name="connsiteY13" fmla="*/ 4153338 h 8309941"/>
                <a:gd name="connsiteX14" fmla="*/ 0 w 4156546"/>
                <a:gd name="connsiteY14" fmla="*/ 943288 h 8309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56546" h="8309941">
                  <a:moveTo>
                    <a:pt x="2882" y="3371527"/>
                  </a:moveTo>
                  <a:cubicBezTo>
                    <a:pt x="435081" y="3370874"/>
                    <a:pt x="784365" y="3719446"/>
                    <a:pt x="785018" y="4150918"/>
                  </a:cubicBezTo>
                  <a:cubicBezTo>
                    <a:pt x="785671" y="4583043"/>
                    <a:pt x="436387" y="4934226"/>
                    <a:pt x="3535" y="4934226"/>
                  </a:cubicBezTo>
                  <a:close/>
                  <a:moveTo>
                    <a:pt x="2" y="1695844"/>
                  </a:moveTo>
                  <a:cubicBezTo>
                    <a:pt x="1355444" y="1694538"/>
                    <a:pt x="2460701" y="2796701"/>
                    <a:pt x="2461354" y="4153009"/>
                  </a:cubicBezTo>
                  <a:cubicBezTo>
                    <a:pt x="2462008" y="5507357"/>
                    <a:pt x="1359364" y="6612788"/>
                    <a:pt x="3268" y="6613440"/>
                  </a:cubicBezTo>
                  <a:lnTo>
                    <a:pt x="2615" y="5668729"/>
                  </a:lnTo>
                  <a:cubicBezTo>
                    <a:pt x="839396" y="5668076"/>
                    <a:pt x="1517444" y="4989269"/>
                    <a:pt x="1516791" y="4153663"/>
                  </a:cubicBezTo>
                  <a:cubicBezTo>
                    <a:pt x="1515484" y="3316750"/>
                    <a:pt x="837437" y="2638596"/>
                    <a:pt x="655" y="2639249"/>
                  </a:cubicBezTo>
                  <a:close/>
                  <a:moveTo>
                    <a:pt x="0" y="1"/>
                  </a:moveTo>
                  <a:cubicBezTo>
                    <a:pt x="2290834" y="-1959"/>
                    <a:pt x="4154586" y="1860445"/>
                    <a:pt x="4156545" y="4152031"/>
                  </a:cubicBezTo>
                  <a:cubicBezTo>
                    <a:pt x="4158504" y="6442964"/>
                    <a:pt x="2296712" y="8308634"/>
                    <a:pt x="5877" y="8309941"/>
                  </a:cubicBezTo>
                  <a:lnTo>
                    <a:pt x="4571" y="7365348"/>
                  </a:lnTo>
                  <a:cubicBezTo>
                    <a:pt x="1774939" y="7364041"/>
                    <a:pt x="3214220" y="5922980"/>
                    <a:pt x="3212914" y="4153338"/>
                  </a:cubicBezTo>
                  <a:cubicBezTo>
                    <a:pt x="3210956" y="2381735"/>
                    <a:pt x="1770368" y="941981"/>
                    <a:pt x="0" y="943288"/>
                  </a:cubicBezTo>
                  <a:close/>
                </a:path>
              </a:pathLst>
            </a:custGeom>
            <a:solidFill>
              <a:srgbClr val="EDA13E"/>
            </a:solidFill>
            <a:ln>
              <a:noFill/>
            </a:ln>
            <a:effectLst/>
          </p:spPr>
          <p:txBody>
            <a:bodyPr wrap="square" anchor="ctr">
              <a:noAutofit/>
            </a:bodyPr>
            <a:lstStyle/>
            <a:p>
              <a:pPr algn="l" rtl="0">
                <a:lnSpc>
                  <a:spcPts val="2240"/>
                </a:lnSpc>
              </a:pPr>
              <a:endParaRPr lang="en-GB" sz="2200" dirty="0"/>
            </a:p>
          </p:txBody>
        </p:sp>
        <p:sp>
          <p:nvSpPr>
            <p:cNvPr id="16" name="Freeform 5">
              <a:extLst>
                <a:ext uri="{FF2B5EF4-FFF2-40B4-BE49-F238E27FC236}">
                  <a16:creationId xmlns:a16="http://schemas.microsoft.com/office/drawing/2014/main" id="{A414E128-D888-FA82-7329-563397ECF6C3}"/>
                </a:ext>
              </a:extLst>
            </p:cNvPr>
            <p:cNvSpPr>
              <a:spLocks noChangeArrowheads="1"/>
            </p:cNvSpPr>
            <p:nvPr/>
          </p:nvSpPr>
          <p:spPr bwMode="auto">
            <a:xfrm>
              <a:off x="4400519" y="2672734"/>
              <a:ext cx="1260844" cy="2518788"/>
            </a:xfrm>
            <a:custGeom>
              <a:avLst/>
              <a:gdLst>
                <a:gd name="connsiteX0" fmla="*/ 4153013 w 4159426"/>
                <a:gd name="connsiteY0" fmla="*/ 3372833 h 8309289"/>
                <a:gd name="connsiteX1" fmla="*/ 4153667 w 4159426"/>
                <a:gd name="connsiteY1" fmla="*/ 4936185 h 8309289"/>
                <a:gd name="connsiteX2" fmla="*/ 3370878 w 4159426"/>
                <a:gd name="connsiteY2" fmla="*/ 4153856 h 8309289"/>
                <a:gd name="connsiteX3" fmla="*/ 4153013 w 4159426"/>
                <a:gd name="connsiteY3" fmla="*/ 3372833 h 8309289"/>
                <a:gd name="connsiteX4" fmla="*/ 4150404 w 4159426"/>
                <a:gd name="connsiteY4" fmla="*/ 1696497 h 8309289"/>
                <a:gd name="connsiteX5" fmla="*/ 4151057 w 4159426"/>
                <a:gd name="connsiteY5" fmla="*/ 2639475 h 8309289"/>
                <a:gd name="connsiteX6" fmla="*/ 2639808 w 4159426"/>
                <a:gd name="connsiteY6" fmla="*/ 4155162 h 8309289"/>
                <a:gd name="connsiteX7" fmla="*/ 4153016 w 4159426"/>
                <a:gd name="connsiteY7" fmla="*/ 5667584 h 8309289"/>
                <a:gd name="connsiteX8" fmla="*/ 4153668 w 4159426"/>
                <a:gd name="connsiteY8" fmla="*/ 6611868 h 8309289"/>
                <a:gd name="connsiteX9" fmla="*/ 1695196 w 4159426"/>
                <a:gd name="connsiteY9" fmla="*/ 4156468 h 8309289"/>
                <a:gd name="connsiteX10" fmla="*/ 4150404 w 4159426"/>
                <a:gd name="connsiteY10" fmla="*/ 1696497 h 8309289"/>
                <a:gd name="connsiteX11" fmla="*/ 4152893 w 4159426"/>
                <a:gd name="connsiteY11" fmla="*/ 0 h 8309289"/>
                <a:gd name="connsiteX12" fmla="*/ 4153546 w 4159426"/>
                <a:gd name="connsiteY12" fmla="*/ 943213 h 8309289"/>
                <a:gd name="connsiteX13" fmla="*/ 944791 w 4159426"/>
                <a:gd name="connsiteY13" fmla="*/ 4157583 h 8309289"/>
                <a:gd name="connsiteX14" fmla="*/ 4158120 w 4159426"/>
                <a:gd name="connsiteY14" fmla="*/ 7364768 h 8309289"/>
                <a:gd name="connsiteX15" fmla="*/ 4159426 w 4159426"/>
                <a:gd name="connsiteY15" fmla="*/ 8309287 h 8309289"/>
                <a:gd name="connsiteX16" fmla="*/ 2 w 4159426"/>
                <a:gd name="connsiteY16" fmla="*/ 4157583 h 8309289"/>
                <a:gd name="connsiteX17" fmla="*/ 4152893 w 4159426"/>
                <a:gd name="connsiteY17" fmla="*/ 0 h 830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59426" h="8309289">
                  <a:moveTo>
                    <a:pt x="4153013" y="3372833"/>
                  </a:moveTo>
                  <a:lnTo>
                    <a:pt x="4153667" y="4936185"/>
                  </a:lnTo>
                  <a:cubicBezTo>
                    <a:pt x="3722414" y="4936185"/>
                    <a:pt x="3370878" y="4586161"/>
                    <a:pt x="3370878" y="4153856"/>
                  </a:cubicBezTo>
                  <a:cubicBezTo>
                    <a:pt x="3370878" y="3722857"/>
                    <a:pt x="3721761" y="3372833"/>
                    <a:pt x="4153013" y="3372833"/>
                  </a:cubicBezTo>
                  <a:close/>
                  <a:moveTo>
                    <a:pt x="4150404" y="1696497"/>
                  </a:moveTo>
                  <a:lnTo>
                    <a:pt x="4151057" y="2639475"/>
                  </a:lnTo>
                  <a:cubicBezTo>
                    <a:pt x="3316116" y="2641434"/>
                    <a:pt x="2639155" y="3319281"/>
                    <a:pt x="2639808" y="4155162"/>
                  </a:cubicBezTo>
                  <a:cubicBezTo>
                    <a:pt x="2639808" y="4990390"/>
                    <a:pt x="3318075" y="5668237"/>
                    <a:pt x="4153016" y="5667584"/>
                  </a:cubicBezTo>
                  <a:lnTo>
                    <a:pt x="4153668" y="6611868"/>
                  </a:lnTo>
                  <a:cubicBezTo>
                    <a:pt x="2799746" y="6612521"/>
                    <a:pt x="1695849" y="5510856"/>
                    <a:pt x="1695196" y="4156468"/>
                  </a:cubicBezTo>
                  <a:cubicBezTo>
                    <a:pt x="1694543" y="2800774"/>
                    <a:pt x="2796482" y="1697803"/>
                    <a:pt x="4150404" y="1696497"/>
                  </a:cubicBezTo>
                  <a:close/>
                  <a:moveTo>
                    <a:pt x="4152893" y="0"/>
                  </a:moveTo>
                  <a:lnTo>
                    <a:pt x="4153546" y="943213"/>
                  </a:lnTo>
                  <a:cubicBezTo>
                    <a:pt x="2383536" y="945173"/>
                    <a:pt x="943485" y="2386120"/>
                    <a:pt x="944791" y="4157583"/>
                  </a:cubicBezTo>
                  <a:cubicBezTo>
                    <a:pt x="946098" y="5926433"/>
                    <a:pt x="2387457" y="7366074"/>
                    <a:pt x="4158120" y="7364768"/>
                  </a:cubicBezTo>
                  <a:lnTo>
                    <a:pt x="4159426" y="8309287"/>
                  </a:lnTo>
                  <a:cubicBezTo>
                    <a:pt x="1868019" y="8311900"/>
                    <a:pt x="1962" y="6448336"/>
                    <a:pt x="2" y="4157583"/>
                  </a:cubicBezTo>
                  <a:cubicBezTo>
                    <a:pt x="-1958" y="1865524"/>
                    <a:pt x="1861485" y="1960"/>
                    <a:pt x="4152893" y="0"/>
                  </a:cubicBezTo>
                  <a:close/>
                </a:path>
              </a:pathLst>
            </a:custGeom>
            <a:solidFill>
              <a:srgbClr val="EDA13E"/>
            </a:solidFill>
            <a:ln>
              <a:noFill/>
            </a:ln>
            <a:effectLst/>
          </p:spPr>
          <p:txBody>
            <a:bodyPr wrap="square" anchor="ctr">
              <a:noAutofit/>
            </a:bodyPr>
            <a:lstStyle/>
            <a:p>
              <a:pPr algn="l" rtl="0">
                <a:lnSpc>
                  <a:spcPts val="2240"/>
                </a:lnSpc>
              </a:pPr>
              <a:endParaRPr lang="en-GB" sz="2200" dirty="0"/>
            </a:p>
          </p:txBody>
        </p:sp>
        <p:sp>
          <p:nvSpPr>
            <p:cNvPr id="17" name="Freeform 10">
              <a:extLst>
                <a:ext uri="{FF2B5EF4-FFF2-40B4-BE49-F238E27FC236}">
                  <a16:creationId xmlns:a16="http://schemas.microsoft.com/office/drawing/2014/main" id="{E22F5F9F-8DC0-9836-1ADC-C5F5E2EAC0CE}"/>
                </a:ext>
              </a:extLst>
            </p:cNvPr>
            <p:cNvSpPr>
              <a:spLocks noChangeArrowheads="1"/>
            </p:cNvSpPr>
            <p:nvPr/>
          </p:nvSpPr>
          <p:spPr bwMode="auto">
            <a:xfrm rot="15300000">
              <a:off x="4829024" y="1953466"/>
              <a:ext cx="724329" cy="601119"/>
            </a:xfrm>
            <a:custGeom>
              <a:avLst/>
              <a:gdLst>
                <a:gd name="T0" fmla="*/ 2567 w 2568"/>
                <a:gd name="T1" fmla="*/ 0 h 2132"/>
                <a:gd name="T2" fmla="*/ 1579 w 2568"/>
                <a:gd name="T3" fmla="*/ 1065 h 2132"/>
                <a:gd name="T4" fmla="*/ 2567 w 2568"/>
                <a:gd name="T5" fmla="*/ 2131 h 2132"/>
                <a:gd name="T6" fmla="*/ 0 w 2568"/>
                <a:gd name="T7" fmla="*/ 1065 h 2132"/>
                <a:gd name="T8" fmla="*/ 2567 w 2568"/>
                <a:gd name="T9" fmla="*/ 0 h 2132"/>
              </a:gdLst>
              <a:ahLst/>
              <a:cxnLst>
                <a:cxn ang="0">
                  <a:pos x="T0" y="T1"/>
                </a:cxn>
                <a:cxn ang="0">
                  <a:pos x="T2" y="T3"/>
                </a:cxn>
                <a:cxn ang="0">
                  <a:pos x="T4" y="T5"/>
                </a:cxn>
                <a:cxn ang="0">
                  <a:pos x="T6" y="T7"/>
                </a:cxn>
                <a:cxn ang="0">
                  <a:pos x="T8" y="T9"/>
                </a:cxn>
              </a:cxnLst>
              <a:rect l="0" t="0" r="r" b="b"/>
              <a:pathLst>
                <a:path w="2568" h="2132">
                  <a:moveTo>
                    <a:pt x="2567" y="0"/>
                  </a:moveTo>
                  <a:lnTo>
                    <a:pt x="1579" y="1065"/>
                  </a:lnTo>
                  <a:lnTo>
                    <a:pt x="2567" y="2131"/>
                  </a:lnTo>
                  <a:lnTo>
                    <a:pt x="0" y="1065"/>
                  </a:lnTo>
                  <a:lnTo>
                    <a:pt x="2567" y="0"/>
                  </a:lnTo>
                </a:path>
              </a:pathLst>
            </a:custGeom>
            <a:solidFill>
              <a:srgbClr val="B41F7A"/>
            </a:solidFill>
            <a:ln>
              <a:noFill/>
            </a:ln>
            <a:effectLst/>
          </p:spPr>
          <p:txBody>
            <a:bodyPr wrap="none" anchor="ctr"/>
            <a:lstStyle/>
            <a:p>
              <a:pPr algn="l" rtl="0">
                <a:lnSpc>
                  <a:spcPts val="2240"/>
                </a:lnSpc>
              </a:pPr>
              <a:endParaRPr lang="en-GB" sz="2200" dirty="0"/>
            </a:p>
          </p:txBody>
        </p:sp>
        <p:sp>
          <p:nvSpPr>
            <p:cNvPr id="18" name="Freeform 11">
              <a:extLst>
                <a:ext uri="{FF2B5EF4-FFF2-40B4-BE49-F238E27FC236}">
                  <a16:creationId xmlns:a16="http://schemas.microsoft.com/office/drawing/2014/main" id="{DD56EF60-A3C0-9BE9-101A-C9A5363FD8B0}"/>
                </a:ext>
              </a:extLst>
            </p:cNvPr>
            <p:cNvSpPr>
              <a:spLocks noChangeArrowheads="1"/>
            </p:cNvSpPr>
            <p:nvPr/>
          </p:nvSpPr>
          <p:spPr bwMode="auto">
            <a:xfrm rot="15300000">
              <a:off x="4548995" y="2974122"/>
              <a:ext cx="1688622" cy="50705"/>
            </a:xfrm>
            <a:prstGeom prst="roundRect">
              <a:avLst>
                <a:gd name="adj" fmla="val 50000"/>
              </a:avLst>
            </a:prstGeom>
            <a:solidFill>
              <a:schemeClr val="bg1">
                <a:lumMod val="85000"/>
              </a:schemeClr>
            </a:solidFill>
            <a:ln>
              <a:noFill/>
            </a:ln>
            <a:effectLst/>
          </p:spPr>
          <p:txBody>
            <a:bodyPr wrap="none" anchor="ctr"/>
            <a:lstStyle/>
            <a:p>
              <a:pPr algn="l" rtl="0">
                <a:lnSpc>
                  <a:spcPts val="2240"/>
                </a:lnSpc>
              </a:pPr>
              <a:endParaRPr lang="en-GB" sz="2200" dirty="0"/>
            </a:p>
          </p:txBody>
        </p:sp>
        <p:sp>
          <p:nvSpPr>
            <p:cNvPr id="19" name="Freeform 14">
              <a:extLst>
                <a:ext uri="{FF2B5EF4-FFF2-40B4-BE49-F238E27FC236}">
                  <a16:creationId xmlns:a16="http://schemas.microsoft.com/office/drawing/2014/main" id="{29887712-B25C-0149-E5C7-64BA48879A26}"/>
                </a:ext>
              </a:extLst>
            </p:cNvPr>
            <p:cNvSpPr>
              <a:spLocks noChangeArrowheads="1"/>
            </p:cNvSpPr>
            <p:nvPr/>
          </p:nvSpPr>
          <p:spPr bwMode="auto">
            <a:xfrm rot="17100000">
              <a:off x="4835921" y="5309425"/>
              <a:ext cx="724329" cy="601119"/>
            </a:xfrm>
            <a:custGeom>
              <a:avLst/>
              <a:gdLst>
                <a:gd name="T0" fmla="*/ 0 w 2568"/>
                <a:gd name="T1" fmla="*/ 0 h 2132"/>
                <a:gd name="T2" fmla="*/ 988 w 2568"/>
                <a:gd name="T3" fmla="*/ 1065 h 2132"/>
                <a:gd name="T4" fmla="*/ 0 w 2568"/>
                <a:gd name="T5" fmla="*/ 2131 h 2132"/>
                <a:gd name="T6" fmla="*/ 2567 w 2568"/>
                <a:gd name="T7" fmla="*/ 1065 h 2132"/>
                <a:gd name="T8" fmla="*/ 0 w 2568"/>
                <a:gd name="T9" fmla="*/ 0 h 2132"/>
              </a:gdLst>
              <a:ahLst/>
              <a:cxnLst>
                <a:cxn ang="0">
                  <a:pos x="T0" y="T1"/>
                </a:cxn>
                <a:cxn ang="0">
                  <a:pos x="T2" y="T3"/>
                </a:cxn>
                <a:cxn ang="0">
                  <a:pos x="T4" y="T5"/>
                </a:cxn>
                <a:cxn ang="0">
                  <a:pos x="T6" y="T7"/>
                </a:cxn>
                <a:cxn ang="0">
                  <a:pos x="T8" y="T9"/>
                </a:cxn>
              </a:cxnLst>
              <a:rect l="0" t="0" r="r" b="b"/>
              <a:pathLst>
                <a:path w="2568" h="2132">
                  <a:moveTo>
                    <a:pt x="0" y="0"/>
                  </a:moveTo>
                  <a:lnTo>
                    <a:pt x="988" y="1065"/>
                  </a:lnTo>
                  <a:lnTo>
                    <a:pt x="0" y="2131"/>
                  </a:lnTo>
                  <a:lnTo>
                    <a:pt x="2567" y="1065"/>
                  </a:lnTo>
                  <a:lnTo>
                    <a:pt x="0" y="0"/>
                  </a:lnTo>
                </a:path>
              </a:pathLst>
            </a:custGeom>
            <a:solidFill>
              <a:srgbClr val="7F1C58"/>
            </a:solidFill>
            <a:ln>
              <a:noFill/>
            </a:ln>
            <a:effectLst/>
          </p:spPr>
          <p:txBody>
            <a:bodyPr wrap="none" anchor="ctr"/>
            <a:lstStyle/>
            <a:p>
              <a:pPr algn="l" rtl="0">
                <a:lnSpc>
                  <a:spcPts val="2240"/>
                </a:lnSpc>
              </a:pPr>
              <a:endParaRPr lang="en-GB" sz="2200" dirty="0"/>
            </a:p>
          </p:txBody>
        </p:sp>
        <p:sp>
          <p:nvSpPr>
            <p:cNvPr id="20" name="Freeform 11">
              <a:extLst>
                <a:ext uri="{FF2B5EF4-FFF2-40B4-BE49-F238E27FC236}">
                  <a16:creationId xmlns:a16="http://schemas.microsoft.com/office/drawing/2014/main" id="{16BC5759-FE97-1C72-6626-55A725DE0018}"/>
                </a:ext>
              </a:extLst>
            </p:cNvPr>
            <p:cNvSpPr>
              <a:spLocks noChangeArrowheads="1"/>
            </p:cNvSpPr>
            <p:nvPr/>
          </p:nvSpPr>
          <p:spPr bwMode="auto">
            <a:xfrm rot="17100000">
              <a:off x="4550783" y="4836474"/>
              <a:ext cx="1691166" cy="50705"/>
            </a:xfrm>
            <a:prstGeom prst="roundRect">
              <a:avLst>
                <a:gd name="adj" fmla="val 50000"/>
              </a:avLst>
            </a:prstGeom>
            <a:solidFill>
              <a:schemeClr val="bg1">
                <a:lumMod val="85000"/>
              </a:schemeClr>
            </a:solidFill>
            <a:ln>
              <a:noFill/>
            </a:ln>
            <a:effectLst/>
          </p:spPr>
          <p:txBody>
            <a:bodyPr wrap="none" anchor="ctr"/>
            <a:lstStyle/>
            <a:p>
              <a:pPr algn="l" rtl="0">
                <a:lnSpc>
                  <a:spcPts val="2240"/>
                </a:lnSpc>
              </a:pPr>
              <a:endParaRPr lang="en-GB" sz="2200" dirty="0"/>
            </a:p>
          </p:txBody>
        </p:sp>
        <p:sp>
          <p:nvSpPr>
            <p:cNvPr id="21" name="Freeform 8">
              <a:extLst>
                <a:ext uri="{FF2B5EF4-FFF2-40B4-BE49-F238E27FC236}">
                  <a16:creationId xmlns:a16="http://schemas.microsoft.com/office/drawing/2014/main" id="{A34759E6-067C-18E4-C6DD-E5343F377FE9}"/>
                </a:ext>
              </a:extLst>
            </p:cNvPr>
            <p:cNvSpPr>
              <a:spLocks noChangeArrowheads="1"/>
            </p:cNvSpPr>
            <p:nvPr/>
          </p:nvSpPr>
          <p:spPr bwMode="auto">
            <a:xfrm rot="15300000">
              <a:off x="3649227" y="2631885"/>
              <a:ext cx="725574" cy="725573"/>
            </a:xfrm>
            <a:custGeom>
              <a:avLst/>
              <a:gdLst>
                <a:gd name="T0" fmla="*/ 1062 w 2570"/>
                <a:gd name="T1" fmla="*/ 0 h 2570"/>
                <a:gd name="T2" fmla="*/ 1117 w 2570"/>
                <a:gd name="T3" fmla="*/ 1451 h 2570"/>
                <a:gd name="T4" fmla="*/ 2569 w 2570"/>
                <a:gd name="T5" fmla="*/ 1507 h 2570"/>
                <a:gd name="T6" fmla="*/ 0 w 2570"/>
                <a:gd name="T7" fmla="*/ 2569 h 2570"/>
                <a:gd name="T8" fmla="*/ 1062 w 2570"/>
                <a:gd name="T9" fmla="*/ 0 h 2570"/>
              </a:gdLst>
              <a:ahLst/>
              <a:cxnLst>
                <a:cxn ang="0">
                  <a:pos x="T0" y="T1"/>
                </a:cxn>
                <a:cxn ang="0">
                  <a:pos x="T2" y="T3"/>
                </a:cxn>
                <a:cxn ang="0">
                  <a:pos x="T4" y="T5"/>
                </a:cxn>
                <a:cxn ang="0">
                  <a:pos x="T6" y="T7"/>
                </a:cxn>
                <a:cxn ang="0">
                  <a:pos x="T8" y="T9"/>
                </a:cxn>
              </a:cxnLst>
              <a:rect l="0" t="0" r="r" b="b"/>
              <a:pathLst>
                <a:path w="2570" h="2570">
                  <a:moveTo>
                    <a:pt x="1062" y="0"/>
                  </a:moveTo>
                  <a:lnTo>
                    <a:pt x="1117" y="1451"/>
                  </a:lnTo>
                  <a:lnTo>
                    <a:pt x="2569" y="1507"/>
                  </a:lnTo>
                  <a:lnTo>
                    <a:pt x="0" y="2569"/>
                  </a:lnTo>
                  <a:lnTo>
                    <a:pt x="1062" y="0"/>
                  </a:lnTo>
                </a:path>
              </a:pathLst>
            </a:custGeom>
            <a:solidFill>
              <a:srgbClr val="F16924"/>
            </a:solidFill>
            <a:ln>
              <a:noFill/>
            </a:ln>
            <a:effectLst/>
          </p:spPr>
          <p:txBody>
            <a:bodyPr wrap="none" anchor="ctr"/>
            <a:lstStyle/>
            <a:p>
              <a:pPr algn="l" rtl="0">
                <a:lnSpc>
                  <a:spcPts val="2240"/>
                </a:lnSpc>
              </a:pPr>
              <a:endParaRPr lang="en-GB" sz="2200" dirty="0"/>
            </a:p>
          </p:txBody>
        </p:sp>
        <p:sp>
          <p:nvSpPr>
            <p:cNvPr id="22" name="Freeform 11">
              <a:extLst>
                <a:ext uri="{FF2B5EF4-FFF2-40B4-BE49-F238E27FC236}">
                  <a16:creationId xmlns:a16="http://schemas.microsoft.com/office/drawing/2014/main" id="{74BC2670-85DC-6CC1-1C52-586F5AE2A64D}"/>
                </a:ext>
              </a:extLst>
            </p:cNvPr>
            <p:cNvSpPr>
              <a:spLocks noChangeArrowheads="1"/>
            </p:cNvSpPr>
            <p:nvPr/>
          </p:nvSpPr>
          <p:spPr bwMode="auto">
            <a:xfrm rot="12600000">
              <a:off x="3963436" y="3432908"/>
              <a:ext cx="1688622" cy="50705"/>
            </a:xfrm>
            <a:prstGeom prst="roundRect">
              <a:avLst>
                <a:gd name="adj" fmla="val 50000"/>
              </a:avLst>
            </a:prstGeom>
            <a:solidFill>
              <a:schemeClr val="bg1">
                <a:lumMod val="85000"/>
              </a:schemeClr>
            </a:solidFill>
            <a:ln>
              <a:noFill/>
            </a:ln>
            <a:effectLst/>
          </p:spPr>
          <p:txBody>
            <a:bodyPr wrap="none" anchor="ctr"/>
            <a:lstStyle/>
            <a:p>
              <a:pPr algn="l" rtl="0">
                <a:lnSpc>
                  <a:spcPts val="2240"/>
                </a:lnSpc>
              </a:pPr>
              <a:endParaRPr lang="en-GB" sz="2200" dirty="0"/>
            </a:p>
          </p:txBody>
        </p:sp>
        <p:sp>
          <p:nvSpPr>
            <p:cNvPr id="23" name="Freeform 12">
              <a:extLst>
                <a:ext uri="{FF2B5EF4-FFF2-40B4-BE49-F238E27FC236}">
                  <a16:creationId xmlns:a16="http://schemas.microsoft.com/office/drawing/2014/main" id="{0E50C251-9073-4A1D-EBF1-6FB43FCC5368}"/>
                </a:ext>
              </a:extLst>
            </p:cNvPr>
            <p:cNvSpPr>
              <a:spLocks noChangeArrowheads="1"/>
            </p:cNvSpPr>
            <p:nvPr/>
          </p:nvSpPr>
          <p:spPr bwMode="auto">
            <a:xfrm rot="17100000">
              <a:off x="3649228" y="4498864"/>
              <a:ext cx="725573" cy="725573"/>
            </a:xfrm>
            <a:custGeom>
              <a:avLst/>
              <a:gdLst>
                <a:gd name="T0" fmla="*/ 1507 w 2570"/>
                <a:gd name="T1" fmla="*/ 0 h 2570"/>
                <a:gd name="T2" fmla="*/ 1452 w 2570"/>
                <a:gd name="T3" fmla="*/ 1451 h 2570"/>
                <a:gd name="T4" fmla="*/ 0 w 2570"/>
                <a:gd name="T5" fmla="*/ 1507 h 2570"/>
                <a:gd name="T6" fmla="*/ 2569 w 2570"/>
                <a:gd name="T7" fmla="*/ 2569 h 2570"/>
                <a:gd name="T8" fmla="*/ 1507 w 2570"/>
                <a:gd name="T9" fmla="*/ 0 h 2570"/>
              </a:gdLst>
              <a:ahLst/>
              <a:cxnLst>
                <a:cxn ang="0">
                  <a:pos x="T0" y="T1"/>
                </a:cxn>
                <a:cxn ang="0">
                  <a:pos x="T2" y="T3"/>
                </a:cxn>
                <a:cxn ang="0">
                  <a:pos x="T4" y="T5"/>
                </a:cxn>
                <a:cxn ang="0">
                  <a:pos x="T6" y="T7"/>
                </a:cxn>
                <a:cxn ang="0">
                  <a:pos x="T8" y="T9"/>
                </a:cxn>
              </a:cxnLst>
              <a:rect l="0" t="0" r="r" b="b"/>
              <a:pathLst>
                <a:path w="2570" h="2570">
                  <a:moveTo>
                    <a:pt x="1507" y="0"/>
                  </a:moveTo>
                  <a:lnTo>
                    <a:pt x="1452" y="1451"/>
                  </a:lnTo>
                  <a:lnTo>
                    <a:pt x="0" y="1507"/>
                  </a:lnTo>
                  <a:lnTo>
                    <a:pt x="2569" y="2569"/>
                  </a:lnTo>
                  <a:lnTo>
                    <a:pt x="1507" y="0"/>
                  </a:lnTo>
                </a:path>
              </a:pathLst>
            </a:custGeom>
            <a:solidFill>
              <a:srgbClr val="EDA13E"/>
            </a:solidFill>
            <a:ln>
              <a:noFill/>
            </a:ln>
            <a:effectLst/>
          </p:spPr>
          <p:txBody>
            <a:bodyPr wrap="none" anchor="ctr"/>
            <a:lstStyle/>
            <a:p>
              <a:pPr algn="l" rtl="0">
                <a:lnSpc>
                  <a:spcPts val="2240"/>
                </a:lnSpc>
              </a:pPr>
              <a:endParaRPr lang="en-GB" sz="2200" dirty="0"/>
            </a:p>
          </p:txBody>
        </p:sp>
        <p:sp>
          <p:nvSpPr>
            <p:cNvPr id="24" name="Freeform 11">
              <a:extLst>
                <a:ext uri="{FF2B5EF4-FFF2-40B4-BE49-F238E27FC236}">
                  <a16:creationId xmlns:a16="http://schemas.microsoft.com/office/drawing/2014/main" id="{F7B836AF-F226-837B-CE68-3022C40FC547}"/>
                </a:ext>
              </a:extLst>
            </p:cNvPr>
            <p:cNvSpPr>
              <a:spLocks noChangeArrowheads="1"/>
            </p:cNvSpPr>
            <p:nvPr/>
          </p:nvSpPr>
          <p:spPr bwMode="auto">
            <a:xfrm rot="19800000">
              <a:off x="3962824" y="4374993"/>
              <a:ext cx="1688622" cy="50705"/>
            </a:xfrm>
            <a:prstGeom prst="roundRect">
              <a:avLst>
                <a:gd name="adj" fmla="val 50000"/>
              </a:avLst>
            </a:prstGeom>
            <a:solidFill>
              <a:schemeClr val="bg1">
                <a:lumMod val="85000"/>
              </a:schemeClr>
            </a:solidFill>
            <a:ln>
              <a:noFill/>
            </a:ln>
            <a:effectLst/>
          </p:spPr>
          <p:txBody>
            <a:bodyPr wrap="none" anchor="ctr"/>
            <a:lstStyle/>
            <a:p>
              <a:pPr algn="l" rtl="0">
                <a:lnSpc>
                  <a:spcPts val="2240"/>
                </a:lnSpc>
              </a:pPr>
              <a:endParaRPr lang="en-GB" sz="2200" dirty="0"/>
            </a:p>
          </p:txBody>
        </p:sp>
        <p:sp>
          <p:nvSpPr>
            <p:cNvPr id="25" name="Subtitle 2">
              <a:extLst>
                <a:ext uri="{FF2B5EF4-FFF2-40B4-BE49-F238E27FC236}">
                  <a16:creationId xmlns:a16="http://schemas.microsoft.com/office/drawing/2014/main" id="{7F34F617-A65C-870A-8FAB-5026E7B682F7}"/>
                </a:ext>
              </a:extLst>
            </p:cNvPr>
            <p:cNvSpPr txBox="1">
              <a:spLocks/>
            </p:cNvSpPr>
            <p:nvPr/>
          </p:nvSpPr>
          <p:spPr>
            <a:xfrm>
              <a:off x="8133536" y="4786375"/>
              <a:ext cx="7593079" cy="76963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2240"/>
                </a:lnSpc>
              </a:pPr>
              <a:r>
                <a:rPr lang="en-GB" sz="2200" dirty="0">
                  <a:solidFill>
                    <a:schemeClr val="bg1"/>
                  </a:solidFill>
                  <a:latin typeface="+mn-lt"/>
                  <a:ea typeface="Lato Light" panose="020F0502020204030203" pitchFamily="34" charset="0"/>
                  <a:cs typeface="Mukta ExtraLight" panose="020B0000000000000000" pitchFamily="34" charset="77"/>
                </a:rPr>
                <a:t>Cooperar con locales, estatales</a:t>
              </a:r>
              <a:r>
                <a:rPr lang="en-GB" sz="2200" dirty="0" err="1">
                  <a:solidFill>
                    <a:schemeClr val="bg1"/>
                  </a:solidFill>
                  <a:latin typeface="+mn-lt"/>
                  <a:ea typeface="Lato Light" panose="020F0502020204030203" pitchFamily="34" charset="0"/>
                  <a:cs typeface="Mukta ExtraLight" panose="020B0000000000000000" pitchFamily="34" charset="77"/>
                </a:rPr>
                <a:t>y federal</a:t>
              </a:r>
              <a:r>
                <a:rPr lang="en-GB" sz="2200" dirty="0">
                  <a:solidFill>
                    <a:schemeClr val="bg1"/>
                  </a:solidFill>
                  <a:latin typeface="+mn-lt"/>
                  <a:ea typeface="Lato Light" panose="020F0502020204030203" pitchFamily="34" charset="0"/>
                  <a:cs typeface="Mukta ExtraLight" panose="020B0000000000000000" pitchFamily="34" charset="77"/>
                </a:rPr>
                <a:t>Autoridades para volver a la “normalidad” rápidamente</a:t>
              </a:r>
            </a:p>
          </p:txBody>
        </p:sp>
        <p:sp>
          <p:nvSpPr>
            <p:cNvPr id="26" name="Subtitle 2">
              <a:extLst>
                <a:ext uri="{FF2B5EF4-FFF2-40B4-BE49-F238E27FC236}">
                  <a16:creationId xmlns:a16="http://schemas.microsoft.com/office/drawing/2014/main" id="{73963132-03E0-E3C9-E042-D2786256EEA4}"/>
                </a:ext>
              </a:extLst>
            </p:cNvPr>
            <p:cNvSpPr txBox="1">
              <a:spLocks/>
            </p:cNvSpPr>
            <p:nvPr/>
          </p:nvSpPr>
          <p:spPr>
            <a:xfrm>
              <a:off x="8089149" y="2497803"/>
              <a:ext cx="7316931" cy="43586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2240"/>
                </a:lnSpc>
              </a:pPr>
              <a:r>
                <a:rPr lang="en-GB" sz="2200" dirty="0">
                  <a:solidFill>
                    <a:schemeClr val="bg1"/>
                  </a:solidFill>
                  <a:latin typeface="+mn-lt"/>
                  <a:ea typeface="Lato Light" panose="020F0502020204030203" pitchFamily="34" charset="0"/>
                  <a:cs typeface="Mukta ExtraLight" panose="020B0000000000000000" pitchFamily="34" charset="77"/>
                </a:rPr>
                <a:t>Evitar la pérdida de confianza y moral de los empleados.</a:t>
              </a:r>
            </a:p>
          </p:txBody>
        </p:sp>
        <p:sp>
          <p:nvSpPr>
            <p:cNvPr id="27" name="Subtitle 2">
              <a:extLst>
                <a:ext uri="{FF2B5EF4-FFF2-40B4-BE49-F238E27FC236}">
                  <a16:creationId xmlns:a16="http://schemas.microsoft.com/office/drawing/2014/main" id="{82CEE779-11EF-44F2-3260-BDF4692EACFF}"/>
                </a:ext>
              </a:extLst>
            </p:cNvPr>
            <p:cNvSpPr txBox="1">
              <a:spLocks/>
            </p:cNvSpPr>
            <p:nvPr/>
          </p:nvSpPr>
          <p:spPr>
            <a:xfrm>
              <a:off x="8075540" y="3319186"/>
              <a:ext cx="6814224" cy="43586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2240"/>
                </a:lnSpc>
              </a:pPr>
              <a:r>
                <a:rPr lang="en-GB" sz="2200" dirty="0">
                  <a:solidFill>
                    <a:schemeClr val="bg1"/>
                  </a:solidFill>
                  <a:latin typeface="+mn-lt"/>
                  <a:ea typeface="Lato Light" panose="020F0502020204030203" pitchFamily="34" charset="0"/>
                  <a:cs typeface="Mukta ExtraLight" panose="020B0000000000000000" pitchFamily="34" charset="77"/>
                </a:rPr>
                <a:t>Mantenga o restablezca las operaciones rápidamente</a:t>
              </a:r>
            </a:p>
          </p:txBody>
        </p:sp>
        <p:sp>
          <p:nvSpPr>
            <p:cNvPr id="28" name="Subtitle 2">
              <a:extLst>
                <a:ext uri="{FF2B5EF4-FFF2-40B4-BE49-F238E27FC236}">
                  <a16:creationId xmlns:a16="http://schemas.microsoft.com/office/drawing/2014/main" id="{DA871D19-5116-01DB-4F7F-89893C50E405}"/>
                </a:ext>
              </a:extLst>
            </p:cNvPr>
            <p:cNvSpPr txBox="1">
              <a:spLocks/>
            </p:cNvSpPr>
            <p:nvPr/>
          </p:nvSpPr>
          <p:spPr>
            <a:xfrm>
              <a:off x="8069833" y="4159608"/>
              <a:ext cx="6814224" cy="43586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2240"/>
                </a:lnSpc>
              </a:pPr>
              <a:r>
                <a:rPr lang="en-GB" sz="2200" dirty="0">
                  <a:solidFill>
                    <a:schemeClr val="bg1"/>
                  </a:solidFill>
                  <a:latin typeface="+mn-lt"/>
                  <a:ea typeface="Lato Light" panose="020F0502020204030203" pitchFamily="34" charset="0"/>
                  <a:cs typeface="Mukta ExtraLight" panose="020B0000000000000000" pitchFamily="34" charset="77"/>
                </a:rPr>
                <a:t>Restaurar la confianza del cliente y del proveedor</a:t>
              </a:r>
            </a:p>
          </p:txBody>
        </p:sp>
      </p:grpSp>
    </p:spTree>
    <p:extLst>
      <p:ext uri="{BB962C8B-B14F-4D97-AF65-F5344CB8AC3E}">
        <p14:creationId xmlns:p14="http://schemas.microsoft.com/office/powerpoint/2010/main" val="331601972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251394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4" name="Text Placeholder 2">
            <a:extLst>
              <a:ext uri="{FF2B5EF4-FFF2-40B4-BE49-F238E27FC236}">
                <a16:creationId xmlns:a16="http://schemas.microsoft.com/office/drawing/2014/main" id="{E14E7544-3E64-27D1-24B3-C598C4FF7AD7}"/>
              </a:ext>
            </a:extLst>
          </p:cNvPr>
          <p:cNvSpPr txBox="1">
            <a:spLocks/>
          </p:cNvSpPr>
          <p:nvPr/>
        </p:nvSpPr>
        <p:spPr>
          <a:xfrm>
            <a:off x="4580241" y="406400"/>
            <a:ext cx="7205360" cy="1799036"/>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r>
              <a:rPr lang="en-US" dirty="0">
                <a:solidFill>
                  <a:schemeClr val="bg1"/>
                </a:solidFill>
              </a:rPr>
              <a:t>Durante la crisis, ante todo, se aplica una regla básica importante para la comunicación con las partes interesadas:</a:t>
            </a:r>
          </a:p>
          <a:p>
            <a:pPr marL="342900" indent="-342900" algn="l" rtl="0">
              <a:buFont typeface="Arial" panose="020B0604020202020204" pitchFamily="34" charset="0"/>
              <a:buChar char="•"/>
            </a:pPr>
            <a:r>
              <a:rPr lang="en-US" dirty="0">
                <a:solidFill>
                  <a:schemeClr val="bg1"/>
                </a:solidFill>
              </a:rPr>
              <a:t>Comunicarse de manera abierta, transparente y regular.</a:t>
            </a:r>
          </a:p>
          <a:p>
            <a:pPr marL="342900" indent="-342900" algn="l" rtl="0">
              <a:buFont typeface="Arial" panose="020B0604020202020204" pitchFamily="34" charset="0"/>
              <a:buChar char="•"/>
            </a:pPr>
            <a:r>
              <a:rPr lang="en-US" dirty="0">
                <a:solidFill>
                  <a:schemeClr val="bg1"/>
                </a:solidFill>
              </a:rPr>
              <a:t>En primer lugar, se trata de mantener o restablecer la confianza</a:t>
            </a:r>
          </a:p>
          <a:p>
            <a:pPr marL="342900" indent="-342900" algn="l" rtl="0">
              <a:buFont typeface="Arial" panose="020B0604020202020204" pitchFamily="34" charset="0"/>
              <a:buChar char="•"/>
            </a:pPr>
            <a:r>
              <a:rPr lang="en-US" dirty="0">
                <a:solidFill>
                  <a:schemeClr val="bg1"/>
                </a:solidFill>
              </a:rPr>
              <a:t>La honestidad es el requisito previo absoluto para esto.</a:t>
            </a: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530826" y="282511"/>
            <a:ext cx="3553186"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Reglas básicas de comunicación</a:t>
            </a:r>
            <a:r>
              <a:rPr lang="en-GB" b="1" dirty="0">
                <a:solidFill>
                  <a:schemeClr val="bg1"/>
                </a:solidFill>
              </a:rPr>
              <a:t>DURANTE</a:t>
            </a:r>
            <a:r>
              <a:rPr lang="en-GB" dirty="0">
                <a:solidFill>
                  <a:schemeClr val="bg1"/>
                </a:solidFill>
              </a:rPr>
              <a:t>una crisis</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3422708" y="1114148"/>
            <a:ext cx="1764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8" name="Freeform 13">
            <a:extLst>
              <a:ext uri="{FF2B5EF4-FFF2-40B4-BE49-F238E27FC236}">
                <a16:creationId xmlns:a16="http://schemas.microsoft.com/office/drawing/2014/main" id="{68DF6A12-DC8F-0CBF-987D-96F84BC1667E}"/>
              </a:ext>
            </a:extLst>
          </p:cNvPr>
          <p:cNvSpPr>
            <a:spLocks noChangeArrowheads="1"/>
          </p:cNvSpPr>
          <p:nvPr/>
        </p:nvSpPr>
        <p:spPr bwMode="auto">
          <a:xfrm>
            <a:off x="4451582" y="3287685"/>
            <a:ext cx="2871068" cy="2871067"/>
          </a:xfrm>
          <a:custGeom>
            <a:avLst/>
            <a:gdLst>
              <a:gd name="T0" fmla="*/ 6764 w 13528"/>
              <a:gd name="T1" fmla="*/ 313 h 13528"/>
              <a:gd name="T2" fmla="*/ 6764 w 13528"/>
              <a:gd name="T3" fmla="*/ 313 h 13528"/>
              <a:gd name="T4" fmla="*/ 313 w 13528"/>
              <a:gd name="T5" fmla="*/ 6763 h 13528"/>
              <a:gd name="T6" fmla="*/ 313 w 13528"/>
              <a:gd name="T7" fmla="*/ 6763 h 13528"/>
              <a:gd name="T8" fmla="*/ 6764 w 13528"/>
              <a:gd name="T9" fmla="*/ 13214 h 13528"/>
              <a:gd name="T10" fmla="*/ 6764 w 13528"/>
              <a:gd name="T11" fmla="*/ 13214 h 13528"/>
              <a:gd name="T12" fmla="*/ 13214 w 13528"/>
              <a:gd name="T13" fmla="*/ 6763 h 13528"/>
              <a:gd name="T14" fmla="*/ 13214 w 13528"/>
              <a:gd name="T15" fmla="*/ 6763 h 13528"/>
              <a:gd name="T16" fmla="*/ 6764 w 13528"/>
              <a:gd name="T17" fmla="*/ 313 h 13528"/>
              <a:gd name="T18" fmla="*/ 6764 w 13528"/>
              <a:gd name="T19" fmla="*/ 13527 h 13528"/>
              <a:gd name="T20" fmla="*/ 6764 w 13528"/>
              <a:gd name="T21" fmla="*/ 13527 h 13528"/>
              <a:gd name="T22" fmla="*/ 0 w 13528"/>
              <a:gd name="T23" fmla="*/ 6763 h 13528"/>
              <a:gd name="T24" fmla="*/ 0 w 13528"/>
              <a:gd name="T25" fmla="*/ 6763 h 13528"/>
              <a:gd name="T26" fmla="*/ 6764 w 13528"/>
              <a:gd name="T27" fmla="*/ 0 h 13528"/>
              <a:gd name="T28" fmla="*/ 6764 w 13528"/>
              <a:gd name="T29" fmla="*/ 0 h 13528"/>
              <a:gd name="T30" fmla="*/ 13527 w 13528"/>
              <a:gd name="T31" fmla="*/ 6763 h 13528"/>
              <a:gd name="T32" fmla="*/ 13527 w 13528"/>
              <a:gd name="T33" fmla="*/ 6763 h 13528"/>
              <a:gd name="T34" fmla="*/ 6764 w 13528"/>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8">
                <a:moveTo>
                  <a:pt x="6764" y="313"/>
                </a:moveTo>
                <a:lnTo>
                  <a:pt x="6764" y="313"/>
                </a:lnTo>
                <a:cubicBezTo>
                  <a:pt x="3207" y="313"/>
                  <a:pt x="313" y="3207"/>
                  <a:pt x="313" y="6763"/>
                </a:cubicBezTo>
                <a:lnTo>
                  <a:pt x="313" y="6763"/>
                </a:lnTo>
                <a:cubicBezTo>
                  <a:pt x="313" y="10320"/>
                  <a:pt x="3207" y="13214"/>
                  <a:pt x="6764" y="13214"/>
                </a:cubicBezTo>
                <a:lnTo>
                  <a:pt x="6764" y="13214"/>
                </a:lnTo>
                <a:cubicBezTo>
                  <a:pt x="10320" y="13214"/>
                  <a:pt x="13214" y="10320"/>
                  <a:pt x="13214" y="6763"/>
                </a:cubicBezTo>
                <a:lnTo>
                  <a:pt x="13214" y="6763"/>
                </a:lnTo>
                <a:cubicBezTo>
                  <a:pt x="13214" y="3207"/>
                  <a:pt x="10320" y="313"/>
                  <a:pt x="6764" y="313"/>
                </a:cubicBezTo>
                <a:close/>
                <a:moveTo>
                  <a:pt x="6764" y="13527"/>
                </a:moveTo>
                <a:lnTo>
                  <a:pt x="6764" y="13527"/>
                </a:lnTo>
                <a:cubicBezTo>
                  <a:pt x="3034" y="13527"/>
                  <a:pt x="0" y="10493"/>
                  <a:pt x="0" y="6763"/>
                </a:cubicBezTo>
                <a:lnTo>
                  <a:pt x="0" y="6763"/>
                </a:lnTo>
                <a:cubicBezTo>
                  <a:pt x="0" y="3034"/>
                  <a:pt x="3034" y="0"/>
                  <a:pt x="6764" y="0"/>
                </a:cubicBezTo>
                <a:lnTo>
                  <a:pt x="6764" y="0"/>
                </a:lnTo>
                <a:cubicBezTo>
                  <a:pt x="10493" y="0"/>
                  <a:pt x="13527" y="3034"/>
                  <a:pt x="13527" y="6763"/>
                </a:cubicBezTo>
                <a:lnTo>
                  <a:pt x="13527" y="6763"/>
                </a:lnTo>
                <a:cubicBezTo>
                  <a:pt x="13527" y="10493"/>
                  <a:pt x="10493" y="13527"/>
                  <a:pt x="6764" y="13527"/>
                </a:cubicBezTo>
                <a:close/>
              </a:path>
            </a:pathLst>
          </a:custGeom>
          <a:solidFill>
            <a:schemeClr val="bg1">
              <a:lumMod val="75000"/>
            </a:schemeClr>
          </a:solidFill>
          <a:ln>
            <a:solidFill>
              <a:schemeClr val="bg1">
                <a:lumMod val="75000"/>
              </a:schemeClr>
            </a:solidFill>
          </a:ln>
          <a:effectLst/>
        </p:spPr>
        <p:txBody>
          <a:bodyPr wrap="none" anchor="ctr"/>
          <a:lstStyle/>
          <a:p>
            <a:pPr algn="l" rtl="0"/>
            <a:endParaRPr lang="en-GB" sz="1400" dirty="0">
              <a:latin typeface="+mj-lt"/>
            </a:endParaRPr>
          </a:p>
        </p:txBody>
      </p:sp>
      <p:sp>
        <p:nvSpPr>
          <p:cNvPr id="10" name="Oval 12">
            <a:extLst>
              <a:ext uri="{FF2B5EF4-FFF2-40B4-BE49-F238E27FC236}">
                <a16:creationId xmlns:a16="http://schemas.microsoft.com/office/drawing/2014/main" id="{26182324-955D-2512-3397-F4715B2889C0}"/>
              </a:ext>
            </a:extLst>
          </p:cNvPr>
          <p:cNvSpPr/>
          <p:nvPr/>
        </p:nvSpPr>
        <p:spPr>
          <a:xfrm>
            <a:off x="4684239" y="3018633"/>
            <a:ext cx="968519" cy="968519"/>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latin typeface="+mj-lt"/>
            </a:endParaRPr>
          </a:p>
        </p:txBody>
      </p:sp>
      <p:sp>
        <p:nvSpPr>
          <p:cNvPr id="11" name="Oval 13">
            <a:extLst>
              <a:ext uri="{FF2B5EF4-FFF2-40B4-BE49-F238E27FC236}">
                <a16:creationId xmlns:a16="http://schemas.microsoft.com/office/drawing/2014/main" id="{4BFC24C8-A558-CCF5-4161-EE8BA3F57C25}"/>
              </a:ext>
            </a:extLst>
          </p:cNvPr>
          <p:cNvSpPr/>
          <p:nvPr/>
        </p:nvSpPr>
        <p:spPr>
          <a:xfrm>
            <a:off x="6159076" y="3018633"/>
            <a:ext cx="968519" cy="968519"/>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latin typeface="+mj-lt"/>
            </a:endParaRPr>
          </a:p>
        </p:txBody>
      </p:sp>
      <p:sp>
        <p:nvSpPr>
          <p:cNvPr id="12" name="Oval 16">
            <a:extLst>
              <a:ext uri="{FF2B5EF4-FFF2-40B4-BE49-F238E27FC236}">
                <a16:creationId xmlns:a16="http://schemas.microsoft.com/office/drawing/2014/main" id="{2B972B9E-2F9B-38B4-027C-CB8DA52EC78E}"/>
              </a:ext>
            </a:extLst>
          </p:cNvPr>
          <p:cNvSpPr/>
          <p:nvPr/>
        </p:nvSpPr>
        <p:spPr>
          <a:xfrm>
            <a:off x="4684239" y="5497119"/>
            <a:ext cx="968519" cy="968519"/>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latin typeface="+mj-lt"/>
            </a:endParaRPr>
          </a:p>
        </p:txBody>
      </p:sp>
      <p:sp>
        <p:nvSpPr>
          <p:cNvPr id="13" name="Oval 17">
            <a:extLst>
              <a:ext uri="{FF2B5EF4-FFF2-40B4-BE49-F238E27FC236}">
                <a16:creationId xmlns:a16="http://schemas.microsoft.com/office/drawing/2014/main" id="{D485D8FC-AD3B-4200-F617-2FEA93989329}"/>
              </a:ext>
            </a:extLst>
          </p:cNvPr>
          <p:cNvSpPr/>
          <p:nvPr/>
        </p:nvSpPr>
        <p:spPr>
          <a:xfrm>
            <a:off x="6159076" y="5497119"/>
            <a:ext cx="968519" cy="968519"/>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latin typeface="+mj-lt"/>
            </a:endParaRPr>
          </a:p>
        </p:txBody>
      </p:sp>
      <p:sp>
        <p:nvSpPr>
          <p:cNvPr id="14" name="Oval 18">
            <a:extLst>
              <a:ext uri="{FF2B5EF4-FFF2-40B4-BE49-F238E27FC236}">
                <a16:creationId xmlns:a16="http://schemas.microsoft.com/office/drawing/2014/main" id="{A5BE383B-0B52-D060-D4BF-EE8CF700108F}"/>
              </a:ext>
            </a:extLst>
          </p:cNvPr>
          <p:cNvSpPr/>
          <p:nvPr/>
        </p:nvSpPr>
        <p:spPr>
          <a:xfrm>
            <a:off x="6784198" y="4242942"/>
            <a:ext cx="968519" cy="968519"/>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latin typeface="+mj-lt"/>
            </a:endParaRPr>
          </a:p>
        </p:txBody>
      </p:sp>
      <p:sp>
        <p:nvSpPr>
          <p:cNvPr id="15" name="Oval 19">
            <a:extLst>
              <a:ext uri="{FF2B5EF4-FFF2-40B4-BE49-F238E27FC236}">
                <a16:creationId xmlns:a16="http://schemas.microsoft.com/office/drawing/2014/main" id="{E4F6FD93-F082-86D4-4E97-E1535A31EC34}"/>
              </a:ext>
            </a:extLst>
          </p:cNvPr>
          <p:cNvSpPr/>
          <p:nvPr/>
        </p:nvSpPr>
        <p:spPr>
          <a:xfrm>
            <a:off x="4059118" y="4242942"/>
            <a:ext cx="968519" cy="968519"/>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latin typeface="+mj-lt"/>
            </a:endParaRPr>
          </a:p>
        </p:txBody>
      </p:sp>
      <p:sp>
        <p:nvSpPr>
          <p:cNvPr id="16" name="Freeform 951">
            <a:extLst>
              <a:ext uri="{FF2B5EF4-FFF2-40B4-BE49-F238E27FC236}">
                <a16:creationId xmlns:a16="http://schemas.microsoft.com/office/drawing/2014/main" id="{AA0AF4BE-7359-3E55-0DEC-160746841A5B}"/>
              </a:ext>
            </a:extLst>
          </p:cNvPr>
          <p:cNvSpPr>
            <a:spLocks noChangeAspect="1"/>
          </p:cNvSpPr>
          <p:nvPr/>
        </p:nvSpPr>
        <p:spPr bwMode="auto">
          <a:xfrm>
            <a:off x="7074029" y="4505483"/>
            <a:ext cx="408547" cy="413576"/>
          </a:xfrm>
          <a:custGeom>
            <a:avLst/>
            <a:gdLst>
              <a:gd name="T0" fmla="*/ 7629764 w 283807"/>
              <a:gd name="T1" fmla="*/ 7279539 h 286528"/>
              <a:gd name="T2" fmla="*/ 4970194 w 283807"/>
              <a:gd name="T3" fmla="*/ 10433779 h 286528"/>
              <a:gd name="T4" fmla="*/ 2623495 w 283807"/>
              <a:gd name="T5" fmla="*/ 6957379 h 286528"/>
              <a:gd name="T6" fmla="*/ 10155648 w 283807"/>
              <a:gd name="T7" fmla="*/ 10667301 h 286528"/>
              <a:gd name="T8" fmla="*/ 9055113 w 283807"/>
              <a:gd name="T9" fmla="*/ 10491788 h 286528"/>
              <a:gd name="T10" fmla="*/ 8576029 w 283807"/>
              <a:gd name="T11" fmla="*/ 9546927 h 286528"/>
              <a:gd name="T12" fmla="*/ 10000283 w 283807"/>
              <a:gd name="T13" fmla="*/ 6941998 h 286528"/>
              <a:gd name="T14" fmla="*/ 312876 w 283807"/>
              <a:gd name="T15" fmla="*/ 9222950 h 286528"/>
              <a:gd name="T16" fmla="*/ 1577434 w 283807"/>
              <a:gd name="T17" fmla="*/ 9546927 h 286528"/>
              <a:gd name="T18" fmla="*/ 1264538 w 283807"/>
              <a:gd name="T19" fmla="*/ 9546927 h 286528"/>
              <a:gd name="T20" fmla="*/ 0 w 283807"/>
              <a:gd name="T21" fmla="*/ 10491788 h 286528"/>
              <a:gd name="T22" fmla="*/ 1095486 w 283807"/>
              <a:gd name="T23" fmla="*/ 5219421 h 286528"/>
              <a:gd name="T24" fmla="*/ 2444856 w 283807"/>
              <a:gd name="T25" fmla="*/ 8538722 h 286528"/>
              <a:gd name="T26" fmla="*/ 3492882 w 283807"/>
              <a:gd name="T27" fmla="*/ 10272257 h 286528"/>
              <a:gd name="T28" fmla="*/ 3283225 w 283807"/>
              <a:gd name="T29" fmla="*/ 8216203 h 286528"/>
              <a:gd name="T30" fmla="*/ 1724380 w 283807"/>
              <a:gd name="T31" fmla="*/ 5810656 h 286528"/>
              <a:gd name="T32" fmla="*/ 3414232 w 283807"/>
              <a:gd name="T33" fmla="*/ 6092911 h 286528"/>
              <a:gd name="T34" fmla="*/ 4383706 w 283807"/>
              <a:gd name="T35" fmla="*/ 5380673 h 286528"/>
              <a:gd name="T36" fmla="*/ 1737387 w 283807"/>
              <a:gd name="T37" fmla="*/ 5152240 h 286528"/>
              <a:gd name="T38" fmla="*/ 6117282 w 283807"/>
              <a:gd name="T39" fmla="*/ 5418551 h 286528"/>
              <a:gd name="T40" fmla="*/ 8482733 w 283807"/>
              <a:gd name="T41" fmla="*/ 5685449 h 286528"/>
              <a:gd name="T42" fmla="*/ 8062182 w 283807"/>
              <a:gd name="T43" fmla="*/ 7993466 h 286528"/>
              <a:gd name="T44" fmla="*/ 6550953 w 283807"/>
              <a:gd name="T45" fmla="*/ 10181407 h 286528"/>
              <a:gd name="T46" fmla="*/ 7418251 w 283807"/>
              <a:gd name="T47" fmla="*/ 8914016 h 286528"/>
              <a:gd name="T48" fmla="*/ 9520904 w 283807"/>
              <a:gd name="T49" fmla="*/ 5551988 h 286528"/>
              <a:gd name="T50" fmla="*/ 7470849 w 283807"/>
              <a:gd name="T51" fmla="*/ 5645422 h 286528"/>
              <a:gd name="T52" fmla="*/ 7181777 w 283807"/>
              <a:gd name="T53" fmla="*/ 5325168 h 286528"/>
              <a:gd name="T54" fmla="*/ 9297479 w 283807"/>
              <a:gd name="T55" fmla="*/ 4938329 h 286528"/>
              <a:gd name="T56" fmla="*/ 7904533 w 283807"/>
              <a:gd name="T57" fmla="*/ 8873965 h 286528"/>
              <a:gd name="T58" fmla="*/ 6761206 w 283807"/>
              <a:gd name="T59" fmla="*/ 10608360 h 286528"/>
              <a:gd name="T60" fmla="*/ 7365728 w 283807"/>
              <a:gd name="T61" fmla="*/ 7699936 h 286528"/>
              <a:gd name="T62" fmla="*/ 7444558 w 283807"/>
              <a:gd name="T63" fmla="*/ 6459188 h 286528"/>
              <a:gd name="T64" fmla="*/ 5828146 w 283807"/>
              <a:gd name="T65" fmla="*/ 4965017 h 286528"/>
              <a:gd name="T66" fmla="*/ 3191539 w 283807"/>
              <a:gd name="T67" fmla="*/ 5380673 h 286528"/>
              <a:gd name="T68" fmla="*/ 4881542 w 283807"/>
              <a:gd name="T69" fmla="*/ 5783795 h 286528"/>
              <a:gd name="T70" fmla="*/ 2038717 w 283807"/>
              <a:gd name="T71" fmla="*/ 6025737 h 286528"/>
              <a:gd name="T72" fmla="*/ 3584567 w 283807"/>
              <a:gd name="T73" fmla="*/ 8108662 h 286528"/>
              <a:gd name="T74" fmla="*/ 3492882 w 283807"/>
              <a:gd name="T75" fmla="*/ 10608257 h 286528"/>
              <a:gd name="T76" fmla="*/ 1514692 w 283807"/>
              <a:gd name="T77" fmla="*/ 8888139 h 286528"/>
              <a:gd name="T78" fmla="*/ 1698156 w 283807"/>
              <a:gd name="T79" fmla="*/ 4843078 h 286528"/>
              <a:gd name="T80" fmla="*/ 8641862 w 283807"/>
              <a:gd name="T81" fmla="*/ 4239087 h 286528"/>
              <a:gd name="T82" fmla="*/ 8968600 w 283807"/>
              <a:gd name="T83" fmla="*/ 3361935 h 286528"/>
              <a:gd name="T84" fmla="*/ 1224675 w 283807"/>
              <a:gd name="T85" fmla="*/ 4347130 h 286528"/>
              <a:gd name="T86" fmla="*/ 1342334 w 283807"/>
              <a:gd name="T87" fmla="*/ 3361935 h 286528"/>
              <a:gd name="T88" fmla="*/ 9164573 w 283807"/>
              <a:gd name="T89" fmla="*/ 4671004 h 286528"/>
              <a:gd name="T90" fmla="*/ 8772574 w 283807"/>
              <a:gd name="T91" fmla="*/ 3064973 h 286528"/>
              <a:gd name="T92" fmla="*/ 1342334 w 283807"/>
              <a:gd name="T93" fmla="*/ 4697987 h 286528"/>
              <a:gd name="T94" fmla="*/ 1538280 w 283807"/>
              <a:gd name="T95" fmla="*/ 3064973 h 286528"/>
              <a:gd name="T96" fmla="*/ 5286808 w 283807"/>
              <a:gd name="T97" fmla="*/ 2944175 h 286528"/>
              <a:gd name="T98" fmla="*/ 4204825 w 283807"/>
              <a:gd name="T99" fmla="*/ 1837184 h 286528"/>
              <a:gd name="T100" fmla="*/ 3445345 w 283807"/>
              <a:gd name="T101" fmla="*/ 42384 h 286528"/>
              <a:gd name="T102" fmla="*/ 3603209 w 283807"/>
              <a:gd name="T103" fmla="*/ 364464 h 286528"/>
              <a:gd name="T104" fmla="*/ 5155409 w 283807"/>
              <a:gd name="T105" fmla="*/ 4309059 h 286528"/>
              <a:gd name="T106" fmla="*/ 6707605 w 283807"/>
              <a:gd name="T107" fmla="*/ 2524558 h 286528"/>
              <a:gd name="T108" fmla="*/ 6852260 w 283807"/>
              <a:gd name="T109" fmla="*/ 3839433 h 286528"/>
              <a:gd name="T110" fmla="*/ 5037024 w 283807"/>
              <a:gd name="T111" fmla="*/ 4644400 h 286528"/>
              <a:gd name="T112" fmla="*/ 3287561 w 283807"/>
              <a:gd name="T113" fmla="*/ 190006 h 2865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83807" h="286528">
                <a:moveTo>
                  <a:pt x="72210" y="186878"/>
                </a:moveTo>
                <a:lnTo>
                  <a:pt x="210007" y="186878"/>
                </a:lnTo>
                <a:cubicBezTo>
                  <a:pt x="212160" y="186878"/>
                  <a:pt x="213954" y="188681"/>
                  <a:pt x="213954" y="191204"/>
                </a:cubicBezTo>
                <a:cubicBezTo>
                  <a:pt x="213954" y="193368"/>
                  <a:pt x="212160" y="195531"/>
                  <a:pt x="210007" y="195531"/>
                </a:cubicBezTo>
                <a:lnTo>
                  <a:pt x="145415" y="195531"/>
                </a:lnTo>
                <a:lnTo>
                  <a:pt x="145415" y="280256"/>
                </a:lnTo>
                <a:cubicBezTo>
                  <a:pt x="145415" y="282779"/>
                  <a:pt x="143621" y="284943"/>
                  <a:pt x="141109" y="284943"/>
                </a:cubicBezTo>
                <a:cubicBezTo>
                  <a:pt x="138597" y="284943"/>
                  <a:pt x="136803" y="282779"/>
                  <a:pt x="136803" y="280256"/>
                </a:cubicBezTo>
                <a:lnTo>
                  <a:pt x="136803" y="195531"/>
                </a:lnTo>
                <a:lnTo>
                  <a:pt x="72210" y="195531"/>
                </a:lnTo>
                <a:cubicBezTo>
                  <a:pt x="70057" y="195531"/>
                  <a:pt x="68263" y="193368"/>
                  <a:pt x="68263" y="191204"/>
                </a:cubicBezTo>
                <a:cubicBezTo>
                  <a:pt x="68263" y="188681"/>
                  <a:pt x="70057" y="186878"/>
                  <a:pt x="72210" y="186878"/>
                </a:cubicBezTo>
                <a:close/>
                <a:moveTo>
                  <a:pt x="279530" y="182115"/>
                </a:moveTo>
                <a:cubicBezTo>
                  <a:pt x="281669" y="182115"/>
                  <a:pt x="283807" y="184290"/>
                  <a:pt x="283807" y="186466"/>
                </a:cubicBezTo>
                <a:lnTo>
                  <a:pt x="283807" y="281814"/>
                </a:lnTo>
                <a:cubicBezTo>
                  <a:pt x="283807" y="284352"/>
                  <a:pt x="281669" y="286528"/>
                  <a:pt x="279530" y="286528"/>
                </a:cubicBezTo>
                <a:cubicBezTo>
                  <a:pt x="277036" y="286528"/>
                  <a:pt x="275254" y="284352"/>
                  <a:pt x="275254" y="281814"/>
                </a:cubicBezTo>
                <a:lnTo>
                  <a:pt x="275254" y="256436"/>
                </a:lnTo>
                <a:lnTo>
                  <a:pt x="249238" y="256436"/>
                </a:lnTo>
                <a:lnTo>
                  <a:pt x="249238" y="281814"/>
                </a:lnTo>
                <a:cubicBezTo>
                  <a:pt x="249238" y="284352"/>
                  <a:pt x="247100" y="286528"/>
                  <a:pt x="244961" y="286528"/>
                </a:cubicBezTo>
                <a:cubicBezTo>
                  <a:pt x="242467" y="286528"/>
                  <a:pt x="240685" y="284352"/>
                  <a:pt x="240685" y="281814"/>
                </a:cubicBezTo>
                <a:lnTo>
                  <a:pt x="240685" y="256436"/>
                </a:lnTo>
                <a:lnTo>
                  <a:pt x="236052" y="256436"/>
                </a:lnTo>
                <a:cubicBezTo>
                  <a:pt x="233914" y="256436"/>
                  <a:pt x="231775" y="254261"/>
                  <a:pt x="231775" y="251723"/>
                </a:cubicBezTo>
                <a:cubicBezTo>
                  <a:pt x="231775" y="249548"/>
                  <a:pt x="233914" y="247735"/>
                  <a:pt x="236052" y="247735"/>
                </a:cubicBezTo>
                <a:lnTo>
                  <a:pt x="275254" y="247735"/>
                </a:lnTo>
                <a:lnTo>
                  <a:pt x="275254" y="186466"/>
                </a:lnTo>
                <a:cubicBezTo>
                  <a:pt x="275254" y="184290"/>
                  <a:pt x="277036" y="182115"/>
                  <a:pt x="279530" y="182115"/>
                </a:cubicBezTo>
                <a:close/>
                <a:moveTo>
                  <a:pt x="4306" y="182115"/>
                </a:moveTo>
                <a:cubicBezTo>
                  <a:pt x="6817" y="182115"/>
                  <a:pt x="8611" y="184290"/>
                  <a:pt x="8611" y="186466"/>
                </a:cubicBezTo>
                <a:lnTo>
                  <a:pt x="8611" y="247735"/>
                </a:lnTo>
                <a:lnTo>
                  <a:pt x="48082" y="247735"/>
                </a:lnTo>
                <a:cubicBezTo>
                  <a:pt x="50235" y="247735"/>
                  <a:pt x="52029" y="249548"/>
                  <a:pt x="52029" y="251723"/>
                </a:cubicBezTo>
                <a:cubicBezTo>
                  <a:pt x="52029" y="254261"/>
                  <a:pt x="50235" y="256436"/>
                  <a:pt x="48082" y="256436"/>
                </a:cubicBezTo>
                <a:lnTo>
                  <a:pt x="43417" y="256436"/>
                </a:lnTo>
                <a:lnTo>
                  <a:pt x="43417" y="281814"/>
                </a:lnTo>
                <a:cubicBezTo>
                  <a:pt x="43417" y="284352"/>
                  <a:pt x="41623" y="286528"/>
                  <a:pt x="39111" y="286528"/>
                </a:cubicBezTo>
                <a:cubicBezTo>
                  <a:pt x="36958" y="286528"/>
                  <a:pt x="34805" y="284352"/>
                  <a:pt x="34805" y="281814"/>
                </a:cubicBezTo>
                <a:lnTo>
                  <a:pt x="34805" y="256436"/>
                </a:lnTo>
                <a:lnTo>
                  <a:pt x="8611" y="256436"/>
                </a:lnTo>
                <a:lnTo>
                  <a:pt x="8611" y="281814"/>
                </a:lnTo>
                <a:cubicBezTo>
                  <a:pt x="8611" y="284352"/>
                  <a:pt x="6817" y="286528"/>
                  <a:pt x="4306" y="286528"/>
                </a:cubicBezTo>
                <a:cubicBezTo>
                  <a:pt x="1794" y="286528"/>
                  <a:pt x="0" y="284352"/>
                  <a:pt x="0" y="281814"/>
                </a:cubicBezTo>
                <a:lnTo>
                  <a:pt x="0" y="186466"/>
                </a:lnTo>
                <a:cubicBezTo>
                  <a:pt x="0" y="184290"/>
                  <a:pt x="1794" y="182115"/>
                  <a:pt x="4306" y="182115"/>
                </a:cubicBezTo>
                <a:close/>
                <a:moveTo>
                  <a:pt x="47822" y="138391"/>
                </a:moveTo>
                <a:lnTo>
                  <a:pt x="30153" y="140196"/>
                </a:lnTo>
                <a:cubicBezTo>
                  <a:pt x="26187" y="140557"/>
                  <a:pt x="22942" y="144167"/>
                  <a:pt x="23302" y="148137"/>
                </a:cubicBezTo>
                <a:lnTo>
                  <a:pt x="25826" y="214915"/>
                </a:lnTo>
                <a:cubicBezTo>
                  <a:pt x="26187" y="223578"/>
                  <a:pt x="33038" y="230437"/>
                  <a:pt x="41331" y="229715"/>
                </a:cubicBezTo>
                <a:lnTo>
                  <a:pt x="67293" y="229354"/>
                </a:lnTo>
                <a:lnTo>
                  <a:pt x="67654" y="229354"/>
                </a:lnTo>
                <a:cubicBezTo>
                  <a:pt x="73784" y="229354"/>
                  <a:pt x="79192" y="233324"/>
                  <a:pt x="80995" y="239100"/>
                </a:cubicBezTo>
                <a:lnTo>
                  <a:pt x="90010" y="271226"/>
                </a:lnTo>
                <a:cubicBezTo>
                  <a:pt x="90731" y="274113"/>
                  <a:pt x="93255" y="275918"/>
                  <a:pt x="96140" y="275918"/>
                </a:cubicBezTo>
                <a:lnTo>
                  <a:pt x="99024" y="275918"/>
                </a:lnTo>
                <a:cubicBezTo>
                  <a:pt x="101548" y="275918"/>
                  <a:pt x="103351" y="275196"/>
                  <a:pt x="104794" y="273391"/>
                </a:cubicBezTo>
                <a:cubicBezTo>
                  <a:pt x="106236" y="271586"/>
                  <a:pt x="106597" y="269060"/>
                  <a:pt x="105875" y="266894"/>
                </a:cubicBezTo>
                <a:lnTo>
                  <a:pt x="90370" y="220691"/>
                </a:lnTo>
                <a:cubicBezTo>
                  <a:pt x="89289" y="217081"/>
                  <a:pt x="86043" y="214915"/>
                  <a:pt x="82438" y="214915"/>
                </a:cubicBezTo>
                <a:lnTo>
                  <a:pt x="62966" y="214193"/>
                </a:lnTo>
                <a:cubicBezTo>
                  <a:pt x="55033" y="214193"/>
                  <a:pt x="48182" y="207696"/>
                  <a:pt x="48182" y="199394"/>
                </a:cubicBezTo>
                <a:lnTo>
                  <a:pt x="47461" y="156078"/>
                </a:lnTo>
                <a:cubicBezTo>
                  <a:pt x="47461" y="154635"/>
                  <a:pt x="48182" y="153552"/>
                  <a:pt x="49264" y="152469"/>
                </a:cubicBezTo>
                <a:cubicBezTo>
                  <a:pt x="50346" y="151747"/>
                  <a:pt x="51788" y="151386"/>
                  <a:pt x="53231" y="151747"/>
                </a:cubicBezTo>
                <a:lnTo>
                  <a:pt x="90010" y="163659"/>
                </a:lnTo>
                <a:cubicBezTo>
                  <a:pt x="91452" y="164020"/>
                  <a:pt x="92534" y="164020"/>
                  <a:pt x="93976" y="163659"/>
                </a:cubicBezTo>
                <a:lnTo>
                  <a:pt x="123544" y="154274"/>
                </a:lnTo>
                <a:cubicBezTo>
                  <a:pt x="124987" y="153913"/>
                  <a:pt x="126068" y="152830"/>
                  <a:pt x="126790" y="151747"/>
                </a:cubicBezTo>
                <a:cubicBezTo>
                  <a:pt x="127150" y="150664"/>
                  <a:pt x="127150" y="149220"/>
                  <a:pt x="126790" y="147776"/>
                </a:cubicBezTo>
                <a:cubicBezTo>
                  <a:pt x="125708" y="145249"/>
                  <a:pt x="123184" y="144167"/>
                  <a:pt x="120660" y="144528"/>
                </a:cubicBezTo>
                <a:lnTo>
                  <a:pt x="93616" y="153191"/>
                </a:lnTo>
                <a:cubicBezTo>
                  <a:pt x="90731" y="154274"/>
                  <a:pt x="87486" y="153913"/>
                  <a:pt x="84601" y="152830"/>
                </a:cubicBezTo>
                <a:lnTo>
                  <a:pt x="53591" y="139474"/>
                </a:lnTo>
                <a:cubicBezTo>
                  <a:pt x="51788" y="138752"/>
                  <a:pt x="49625" y="138391"/>
                  <a:pt x="47822" y="138391"/>
                </a:cubicBezTo>
                <a:close/>
                <a:moveTo>
                  <a:pt x="173802" y="137304"/>
                </a:moveTo>
                <a:cubicBezTo>
                  <a:pt x="171632" y="136229"/>
                  <a:pt x="168738" y="136587"/>
                  <a:pt x="167291" y="138737"/>
                </a:cubicBezTo>
                <a:cubicBezTo>
                  <a:pt x="166206" y="139812"/>
                  <a:pt x="165844" y="140887"/>
                  <a:pt x="166206" y="142321"/>
                </a:cubicBezTo>
                <a:cubicBezTo>
                  <a:pt x="166206" y="143754"/>
                  <a:pt x="166929" y="145187"/>
                  <a:pt x="168376" y="145546"/>
                </a:cubicBezTo>
                <a:lnTo>
                  <a:pt x="196951" y="165255"/>
                </a:lnTo>
                <a:cubicBezTo>
                  <a:pt x="198036" y="166330"/>
                  <a:pt x="199845" y="166330"/>
                  <a:pt x="201292" y="165613"/>
                </a:cubicBezTo>
                <a:lnTo>
                  <a:pt x="231675" y="153071"/>
                </a:lnTo>
                <a:cubicBezTo>
                  <a:pt x="232399" y="152713"/>
                  <a:pt x="232760" y="152713"/>
                  <a:pt x="233484" y="152713"/>
                </a:cubicBezTo>
                <a:cubicBezTo>
                  <a:pt x="234207" y="152713"/>
                  <a:pt x="234931" y="152713"/>
                  <a:pt x="236016" y="153071"/>
                </a:cubicBezTo>
                <a:cubicBezTo>
                  <a:pt x="237101" y="154146"/>
                  <a:pt x="237824" y="155580"/>
                  <a:pt x="237824" y="157013"/>
                </a:cubicBezTo>
                <a:lnTo>
                  <a:pt x="237101" y="200015"/>
                </a:lnTo>
                <a:cubicBezTo>
                  <a:pt x="237101" y="208257"/>
                  <a:pt x="230228" y="214708"/>
                  <a:pt x="221909" y="214708"/>
                </a:cubicBezTo>
                <a:lnTo>
                  <a:pt x="202739" y="215424"/>
                </a:lnTo>
                <a:cubicBezTo>
                  <a:pt x="199121" y="215424"/>
                  <a:pt x="195866" y="217575"/>
                  <a:pt x="194781" y="221158"/>
                </a:cubicBezTo>
                <a:lnTo>
                  <a:pt x="179227" y="267027"/>
                </a:lnTo>
                <a:cubicBezTo>
                  <a:pt x="178504" y="269177"/>
                  <a:pt x="178866" y="271686"/>
                  <a:pt x="180313" y="273477"/>
                </a:cubicBezTo>
                <a:cubicBezTo>
                  <a:pt x="181398" y="275269"/>
                  <a:pt x="183568" y="275986"/>
                  <a:pt x="186100" y="275986"/>
                </a:cubicBezTo>
                <a:lnTo>
                  <a:pt x="188632" y="275986"/>
                </a:lnTo>
                <a:cubicBezTo>
                  <a:pt x="191526" y="275986"/>
                  <a:pt x="194058" y="274194"/>
                  <a:pt x="195143" y="271327"/>
                </a:cubicBezTo>
                <a:lnTo>
                  <a:pt x="204185" y="239434"/>
                </a:lnTo>
                <a:cubicBezTo>
                  <a:pt x="205994" y="233700"/>
                  <a:pt x="211420" y="229758"/>
                  <a:pt x="217930" y="229758"/>
                </a:cubicBezTo>
                <a:lnTo>
                  <a:pt x="243612" y="230117"/>
                </a:lnTo>
                <a:cubicBezTo>
                  <a:pt x="252293" y="230834"/>
                  <a:pt x="259165" y="224025"/>
                  <a:pt x="259527" y="215424"/>
                </a:cubicBezTo>
                <a:lnTo>
                  <a:pt x="262059" y="149129"/>
                </a:lnTo>
                <a:cubicBezTo>
                  <a:pt x="262059" y="145187"/>
                  <a:pt x="259165" y="141604"/>
                  <a:pt x="255186" y="141246"/>
                </a:cubicBezTo>
                <a:lnTo>
                  <a:pt x="237463" y="139454"/>
                </a:lnTo>
                <a:cubicBezTo>
                  <a:pt x="235292" y="139454"/>
                  <a:pt x="233484" y="139812"/>
                  <a:pt x="231675" y="140529"/>
                </a:cubicBezTo>
                <a:lnTo>
                  <a:pt x="205632" y="151638"/>
                </a:lnTo>
                <a:cubicBezTo>
                  <a:pt x="201292" y="153071"/>
                  <a:pt x="196590" y="152713"/>
                  <a:pt x="192611" y="150204"/>
                </a:cubicBezTo>
                <a:lnTo>
                  <a:pt x="173802" y="137304"/>
                </a:lnTo>
                <a:close/>
                <a:moveTo>
                  <a:pt x="178866" y="130137"/>
                </a:moveTo>
                <a:lnTo>
                  <a:pt x="197675" y="143037"/>
                </a:lnTo>
                <a:cubicBezTo>
                  <a:pt x="198760" y="144112"/>
                  <a:pt x="200568" y="144112"/>
                  <a:pt x="202377" y="143754"/>
                </a:cubicBezTo>
                <a:lnTo>
                  <a:pt x="228058" y="132645"/>
                </a:lnTo>
                <a:cubicBezTo>
                  <a:pt x="231314" y="131212"/>
                  <a:pt x="234931" y="130853"/>
                  <a:pt x="238548" y="131212"/>
                </a:cubicBezTo>
                <a:lnTo>
                  <a:pt x="255910" y="132645"/>
                </a:lnTo>
                <a:cubicBezTo>
                  <a:pt x="264591" y="133362"/>
                  <a:pt x="271102" y="140887"/>
                  <a:pt x="270740" y="149129"/>
                </a:cubicBezTo>
                <a:lnTo>
                  <a:pt x="268208" y="215783"/>
                </a:lnTo>
                <a:cubicBezTo>
                  <a:pt x="267846" y="228683"/>
                  <a:pt x="256633" y="239434"/>
                  <a:pt x="243612" y="239076"/>
                </a:cubicBezTo>
                <a:lnTo>
                  <a:pt x="217569" y="238359"/>
                </a:lnTo>
                <a:cubicBezTo>
                  <a:pt x="215037" y="238359"/>
                  <a:pt x="213228" y="239792"/>
                  <a:pt x="212505" y="241942"/>
                </a:cubicBezTo>
                <a:lnTo>
                  <a:pt x="203462" y="273836"/>
                </a:lnTo>
                <a:cubicBezTo>
                  <a:pt x="201653" y="280286"/>
                  <a:pt x="195504" y="284945"/>
                  <a:pt x="188632" y="284945"/>
                </a:cubicBezTo>
                <a:lnTo>
                  <a:pt x="186100" y="284945"/>
                </a:lnTo>
                <a:cubicBezTo>
                  <a:pt x="180674" y="284945"/>
                  <a:pt x="176334" y="282436"/>
                  <a:pt x="173078" y="278136"/>
                </a:cubicBezTo>
                <a:cubicBezTo>
                  <a:pt x="170185" y="274194"/>
                  <a:pt x="169461" y="269177"/>
                  <a:pt x="171270" y="264519"/>
                </a:cubicBezTo>
                <a:lnTo>
                  <a:pt x="186462" y="218291"/>
                </a:lnTo>
                <a:cubicBezTo>
                  <a:pt x="188632" y="211483"/>
                  <a:pt x="195143" y="206824"/>
                  <a:pt x="202739" y="206824"/>
                </a:cubicBezTo>
                <a:lnTo>
                  <a:pt x="221909" y="206466"/>
                </a:lnTo>
                <a:cubicBezTo>
                  <a:pt x="225526" y="206107"/>
                  <a:pt x="228420" y="203599"/>
                  <a:pt x="228420" y="200015"/>
                </a:cubicBezTo>
                <a:lnTo>
                  <a:pt x="228782" y="163463"/>
                </a:lnTo>
                <a:lnTo>
                  <a:pt x="204909" y="173497"/>
                </a:lnTo>
                <a:cubicBezTo>
                  <a:pt x="200568" y="175289"/>
                  <a:pt x="195866" y="174931"/>
                  <a:pt x="191887" y="172422"/>
                </a:cubicBezTo>
                <a:lnTo>
                  <a:pt x="163312" y="152713"/>
                </a:lnTo>
                <a:cubicBezTo>
                  <a:pt x="160419" y="150921"/>
                  <a:pt x="158248" y="147337"/>
                  <a:pt x="157525" y="143754"/>
                </a:cubicBezTo>
                <a:cubicBezTo>
                  <a:pt x="157163" y="140170"/>
                  <a:pt x="158248" y="136587"/>
                  <a:pt x="160419" y="133362"/>
                </a:cubicBezTo>
                <a:cubicBezTo>
                  <a:pt x="164759" y="127628"/>
                  <a:pt x="172717" y="126553"/>
                  <a:pt x="178866" y="130137"/>
                </a:cubicBezTo>
                <a:close/>
                <a:moveTo>
                  <a:pt x="46740" y="130089"/>
                </a:moveTo>
                <a:cubicBezTo>
                  <a:pt x="50346" y="129728"/>
                  <a:pt x="53591" y="130089"/>
                  <a:pt x="56836" y="131533"/>
                </a:cubicBezTo>
                <a:lnTo>
                  <a:pt x="87846" y="144528"/>
                </a:lnTo>
                <a:cubicBezTo>
                  <a:pt x="88928" y="144889"/>
                  <a:pt x="90010" y="145249"/>
                  <a:pt x="91452" y="144889"/>
                </a:cubicBezTo>
                <a:lnTo>
                  <a:pt x="118136" y="136225"/>
                </a:lnTo>
                <a:cubicBezTo>
                  <a:pt x="124987" y="134421"/>
                  <a:pt x="132198" y="138030"/>
                  <a:pt x="135083" y="144528"/>
                </a:cubicBezTo>
                <a:cubicBezTo>
                  <a:pt x="136165" y="148137"/>
                  <a:pt x="135804" y="152108"/>
                  <a:pt x="134362" y="155356"/>
                </a:cubicBezTo>
                <a:cubicBezTo>
                  <a:pt x="132919" y="158966"/>
                  <a:pt x="129674" y="161493"/>
                  <a:pt x="126068" y="162576"/>
                </a:cubicBezTo>
                <a:lnTo>
                  <a:pt x="96861" y="171961"/>
                </a:lnTo>
                <a:cubicBezTo>
                  <a:pt x="93616" y="172683"/>
                  <a:pt x="90370" y="172683"/>
                  <a:pt x="87486" y="171961"/>
                </a:cubicBezTo>
                <a:lnTo>
                  <a:pt x="56115" y="161854"/>
                </a:lnTo>
                <a:lnTo>
                  <a:pt x="56836" y="199394"/>
                </a:lnTo>
                <a:cubicBezTo>
                  <a:pt x="56836" y="203004"/>
                  <a:pt x="59721" y="205530"/>
                  <a:pt x="63327" y="205891"/>
                </a:cubicBezTo>
                <a:lnTo>
                  <a:pt x="82438" y="206252"/>
                </a:lnTo>
                <a:cubicBezTo>
                  <a:pt x="89649" y="206252"/>
                  <a:pt x="96140" y="210945"/>
                  <a:pt x="98664" y="217803"/>
                </a:cubicBezTo>
                <a:lnTo>
                  <a:pt x="113808" y="264367"/>
                </a:lnTo>
                <a:cubicBezTo>
                  <a:pt x="115612" y="269060"/>
                  <a:pt x="114890" y="274113"/>
                  <a:pt x="111645" y="278084"/>
                </a:cubicBezTo>
                <a:cubicBezTo>
                  <a:pt x="108760" y="282415"/>
                  <a:pt x="104072" y="284942"/>
                  <a:pt x="99024" y="284942"/>
                </a:cubicBezTo>
                <a:lnTo>
                  <a:pt x="96140" y="284942"/>
                </a:lnTo>
                <a:cubicBezTo>
                  <a:pt x="89649" y="284942"/>
                  <a:pt x="83519" y="280250"/>
                  <a:pt x="81716" y="273752"/>
                </a:cubicBezTo>
                <a:lnTo>
                  <a:pt x="72702" y="241627"/>
                </a:lnTo>
                <a:cubicBezTo>
                  <a:pt x="71981" y="239461"/>
                  <a:pt x="70178" y="238017"/>
                  <a:pt x="67654" y="238017"/>
                </a:cubicBezTo>
                <a:lnTo>
                  <a:pt x="41692" y="238739"/>
                </a:lnTo>
                <a:cubicBezTo>
                  <a:pt x="28711" y="239100"/>
                  <a:pt x="17533" y="228271"/>
                  <a:pt x="17172" y="215276"/>
                </a:cubicBezTo>
                <a:lnTo>
                  <a:pt x="14648" y="148137"/>
                </a:lnTo>
                <a:cubicBezTo>
                  <a:pt x="14288" y="139835"/>
                  <a:pt x="20778" y="132255"/>
                  <a:pt x="29432" y="131533"/>
                </a:cubicBezTo>
                <a:lnTo>
                  <a:pt x="46740" y="130089"/>
                </a:lnTo>
                <a:close/>
                <a:moveTo>
                  <a:pt x="246857" y="90303"/>
                </a:moveTo>
                <a:cubicBezTo>
                  <a:pt x="245418" y="90303"/>
                  <a:pt x="244699" y="90303"/>
                  <a:pt x="243260" y="91028"/>
                </a:cubicBezTo>
                <a:cubicBezTo>
                  <a:pt x="238225" y="92115"/>
                  <a:pt x="234269" y="96828"/>
                  <a:pt x="233549" y="101903"/>
                </a:cubicBezTo>
                <a:cubicBezTo>
                  <a:pt x="232830" y="106253"/>
                  <a:pt x="234269" y="110965"/>
                  <a:pt x="237865" y="113865"/>
                </a:cubicBezTo>
                <a:cubicBezTo>
                  <a:pt x="241102" y="116765"/>
                  <a:pt x="245418" y="118215"/>
                  <a:pt x="250094" y="116765"/>
                </a:cubicBezTo>
                <a:cubicBezTo>
                  <a:pt x="255129" y="115678"/>
                  <a:pt x="259085" y="111328"/>
                  <a:pt x="259805" y="105890"/>
                </a:cubicBezTo>
                <a:cubicBezTo>
                  <a:pt x="260524" y="101178"/>
                  <a:pt x="259085" y="96828"/>
                  <a:pt x="255489" y="93928"/>
                </a:cubicBezTo>
                <a:cubicBezTo>
                  <a:pt x="253331" y="91390"/>
                  <a:pt x="250094" y="90303"/>
                  <a:pt x="246857" y="90303"/>
                </a:cubicBezTo>
                <a:close/>
                <a:moveTo>
                  <a:pt x="36947" y="90303"/>
                </a:moveTo>
                <a:cubicBezTo>
                  <a:pt x="33710" y="90303"/>
                  <a:pt x="30473" y="91390"/>
                  <a:pt x="28315" y="93928"/>
                </a:cubicBezTo>
                <a:cubicBezTo>
                  <a:pt x="24718" y="96828"/>
                  <a:pt x="22920" y="101178"/>
                  <a:pt x="23639" y="105890"/>
                </a:cubicBezTo>
                <a:cubicBezTo>
                  <a:pt x="24718" y="111328"/>
                  <a:pt x="28674" y="115678"/>
                  <a:pt x="33710" y="116765"/>
                </a:cubicBezTo>
                <a:cubicBezTo>
                  <a:pt x="38026" y="118215"/>
                  <a:pt x="42701" y="116765"/>
                  <a:pt x="45938" y="113865"/>
                </a:cubicBezTo>
                <a:cubicBezTo>
                  <a:pt x="49175" y="110965"/>
                  <a:pt x="50973" y="106253"/>
                  <a:pt x="50254" y="101903"/>
                </a:cubicBezTo>
                <a:cubicBezTo>
                  <a:pt x="49535" y="96828"/>
                  <a:pt x="45579" y="92115"/>
                  <a:pt x="40543" y="91028"/>
                </a:cubicBezTo>
                <a:cubicBezTo>
                  <a:pt x="39105" y="90303"/>
                  <a:pt x="38026" y="90303"/>
                  <a:pt x="36947" y="90303"/>
                </a:cubicBezTo>
                <a:close/>
                <a:moveTo>
                  <a:pt x="241462" y="82328"/>
                </a:moveTo>
                <a:cubicBezTo>
                  <a:pt x="248655" y="80515"/>
                  <a:pt x="255848" y="82690"/>
                  <a:pt x="261603" y="87403"/>
                </a:cubicBezTo>
                <a:cubicBezTo>
                  <a:pt x="266638" y="92478"/>
                  <a:pt x="269516" y="99728"/>
                  <a:pt x="268437" y="106978"/>
                </a:cubicBezTo>
                <a:cubicBezTo>
                  <a:pt x="266998" y="116040"/>
                  <a:pt x="260524" y="123291"/>
                  <a:pt x="252252" y="125466"/>
                </a:cubicBezTo>
                <a:cubicBezTo>
                  <a:pt x="250453" y="125828"/>
                  <a:pt x="248655" y="126191"/>
                  <a:pt x="246857" y="126191"/>
                </a:cubicBezTo>
                <a:cubicBezTo>
                  <a:pt x="241462" y="126191"/>
                  <a:pt x="236067" y="124016"/>
                  <a:pt x="231751" y="120390"/>
                </a:cubicBezTo>
                <a:cubicBezTo>
                  <a:pt x="226716" y="115315"/>
                  <a:pt x="223838" y="108065"/>
                  <a:pt x="224917" y="100815"/>
                </a:cubicBezTo>
                <a:cubicBezTo>
                  <a:pt x="226356" y="92115"/>
                  <a:pt x="232830" y="84503"/>
                  <a:pt x="241462" y="82328"/>
                </a:cubicBezTo>
                <a:close/>
                <a:moveTo>
                  <a:pt x="42342" y="82328"/>
                </a:moveTo>
                <a:cubicBezTo>
                  <a:pt x="50973" y="84503"/>
                  <a:pt x="57447" y="92115"/>
                  <a:pt x="58886" y="100815"/>
                </a:cubicBezTo>
                <a:cubicBezTo>
                  <a:pt x="59965" y="108065"/>
                  <a:pt x="57088" y="115315"/>
                  <a:pt x="51693" y="120390"/>
                </a:cubicBezTo>
                <a:cubicBezTo>
                  <a:pt x="47737" y="124016"/>
                  <a:pt x="42342" y="126191"/>
                  <a:pt x="36947" y="126191"/>
                </a:cubicBezTo>
                <a:cubicBezTo>
                  <a:pt x="35148" y="126191"/>
                  <a:pt x="33350" y="125828"/>
                  <a:pt x="31552" y="125466"/>
                </a:cubicBezTo>
                <a:cubicBezTo>
                  <a:pt x="22920" y="123291"/>
                  <a:pt x="16446" y="116040"/>
                  <a:pt x="15367" y="106978"/>
                </a:cubicBezTo>
                <a:cubicBezTo>
                  <a:pt x="14288" y="99728"/>
                  <a:pt x="16805" y="92478"/>
                  <a:pt x="22200" y="87403"/>
                </a:cubicBezTo>
                <a:cubicBezTo>
                  <a:pt x="27595" y="82690"/>
                  <a:pt x="35148" y="80515"/>
                  <a:pt x="42342" y="82328"/>
                </a:cubicBezTo>
                <a:close/>
                <a:moveTo>
                  <a:pt x="210822" y="1344"/>
                </a:moveTo>
                <a:cubicBezTo>
                  <a:pt x="212617" y="-447"/>
                  <a:pt x="215487" y="-447"/>
                  <a:pt x="216922" y="1344"/>
                </a:cubicBezTo>
                <a:cubicBezTo>
                  <a:pt x="218716" y="3135"/>
                  <a:pt x="218716" y="5643"/>
                  <a:pt x="216922" y="7434"/>
                </a:cubicBezTo>
                <a:lnTo>
                  <a:pt x="145517" y="79082"/>
                </a:lnTo>
                <a:cubicBezTo>
                  <a:pt x="144441" y="79799"/>
                  <a:pt x="143365" y="80157"/>
                  <a:pt x="142288" y="80157"/>
                </a:cubicBezTo>
                <a:cubicBezTo>
                  <a:pt x="141212" y="80157"/>
                  <a:pt x="140135" y="79799"/>
                  <a:pt x="139418" y="79082"/>
                </a:cubicBezTo>
                <a:lnTo>
                  <a:pt x="115736" y="55797"/>
                </a:lnTo>
                <a:cubicBezTo>
                  <a:pt x="114300" y="54005"/>
                  <a:pt x="114300" y="51139"/>
                  <a:pt x="115736" y="49348"/>
                </a:cubicBezTo>
                <a:cubicBezTo>
                  <a:pt x="117530" y="47915"/>
                  <a:pt x="120400" y="47915"/>
                  <a:pt x="121835" y="49348"/>
                </a:cubicBezTo>
                <a:lnTo>
                  <a:pt x="142288" y="70126"/>
                </a:lnTo>
                <a:lnTo>
                  <a:pt x="210822" y="1344"/>
                </a:lnTo>
                <a:close/>
                <a:moveTo>
                  <a:pt x="94832" y="1140"/>
                </a:moveTo>
                <a:lnTo>
                  <a:pt x="177383" y="1140"/>
                </a:lnTo>
                <a:cubicBezTo>
                  <a:pt x="179555" y="1140"/>
                  <a:pt x="181727" y="2942"/>
                  <a:pt x="181727" y="5104"/>
                </a:cubicBezTo>
                <a:cubicBezTo>
                  <a:pt x="181727" y="7627"/>
                  <a:pt x="179555" y="9789"/>
                  <a:pt x="177383" y="9789"/>
                </a:cubicBezTo>
                <a:lnTo>
                  <a:pt x="99177" y="9789"/>
                </a:lnTo>
                <a:lnTo>
                  <a:pt x="99177" y="94479"/>
                </a:lnTo>
                <a:lnTo>
                  <a:pt x="118367" y="94479"/>
                </a:lnTo>
                <a:cubicBezTo>
                  <a:pt x="119453" y="94479"/>
                  <a:pt x="120539" y="94839"/>
                  <a:pt x="121263" y="95560"/>
                </a:cubicBezTo>
                <a:lnTo>
                  <a:pt x="141901" y="115742"/>
                </a:lnTo>
                <a:lnTo>
                  <a:pt x="162538" y="95560"/>
                </a:lnTo>
                <a:cubicBezTo>
                  <a:pt x="162900" y="94839"/>
                  <a:pt x="164348" y="94479"/>
                  <a:pt x="165435" y="94479"/>
                </a:cubicBezTo>
                <a:lnTo>
                  <a:pt x="184624" y="94479"/>
                </a:lnTo>
                <a:lnTo>
                  <a:pt x="184624" y="67811"/>
                </a:lnTo>
                <a:cubicBezTo>
                  <a:pt x="184624" y="65648"/>
                  <a:pt x="186434" y="63847"/>
                  <a:pt x="188606" y="63847"/>
                </a:cubicBezTo>
                <a:cubicBezTo>
                  <a:pt x="191141" y="63847"/>
                  <a:pt x="193313" y="65648"/>
                  <a:pt x="193313" y="67811"/>
                </a:cubicBezTo>
                <a:lnTo>
                  <a:pt x="193313" y="98804"/>
                </a:lnTo>
                <a:cubicBezTo>
                  <a:pt x="193313" y="100966"/>
                  <a:pt x="191141" y="103128"/>
                  <a:pt x="188606" y="103128"/>
                </a:cubicBezTo>
                <a:lnTo>
                  <a:pt x="167245" y="103128"/>
                </a:lnTo>
                <a:lnTo>
                  <a:pt x="144797" y="124751"/>
                </a:lnTo>
                <a:cubicBezTo>
                  <a:pt x="144073" y="125832"/>
                  <a:pt x="142987" y="126193"/>
                  <a:pt x="141901" y="126193"/>
                </a:cubicBezTo>
                <a:cubicBezTo>
                  <a:pt x="140815" y="126193"/>
                  <a:pt x="139728" y="125832"/>
                  <a:pt x="138642" y="124751"/>
                </a:cubicBezTo>
                <a:lnTo>
                  <a:pt x="116557" y="103128"/>
                </a:lnTo>
                <a:lnTo>
                  <a:pt x="94832" y="103128"/>
                </a:lnTo>
                <a:cubicBezTo>
                  <a:pt x="92298" y="103128"/>
                  <a:pt x="90488" y="100966"/>
                  <a:pt x="90488" y="98804"/>
                </a:cubicBezTo>
                <a:lnTo>
                  <a:pt x="90488" y="5104"/>
                </a:lnTo>
                <a:cubicBezTo>
                  <a:pt x="90488" y="2942"/>
                  <a:pt x="92298" y="1140"/>
                  <a:pt x="94832" y="1140"/>
                </a:cubicBezTo>
                <a:close/>
              </a:path>
            </a:pathLst>
          </a:custGeom>
          <a:solidFill>
            <a:schemeClr val="bg1"/>
          </a:solidFill>
          <a:ln>
            <a:noFill/>
          </a:ln>
        </p:spPr>
        <p:txBody>
          <a:bodyPr anchor="ctr"/>
          <a:lstStyle/>
          <a:p>
            <a:pPr algn="l" rtl="0"/>
            <a:endParaRPr lang="en-GB" sz="1400" dirty="0">
              <a:latin typeface="+mj-lt"/>
            </a:endParaRPr>
          </a:p>
        </p:txBody>
      </p:sp>
      <p:sp>
        <p:nvSpPr>
          <p:cNvPr id="17" name="Freeform 952">
            <a:extLst>
              <a:ext uri="{FF2B5EF4-FFF2-40B4-BE49-F238E27FC236}">
                <a16:creationId xmlns:a16="http://schemas.microsoft.com/office/drawing/2014/main" id="{63AD07B7-4E5A-E217-5472-65A3A17DB004}"/>
              </a:ext>
            </a:extLst>
          </p:cNvPr>
          <p:cNvSpPr>
            <a:spLocks noChangeAspect="1"/>
          </p:cNvSpPr>
          <p:nvPr/>
        </p:nvSpPr>
        <p:spPr bwMode="auto">
          <a:xfrm>
            <a:off x="4338475" y="4522927"/>
            <a:ext cx="409805" cy="408548"/>
          </a:xfrm>
          <a:custGeom>
            <a:avLst/>
            <a:gdLst>
              <a:gd name="T0" fmla="*/ 4634450 w 285390"/>
              <a:gd name="T1" fmla="*/ 8255285 h 283806"/>
              <a:gd name="T2" fmla="*/ 5549597 w 285390"/>
              <a:gd name="T3" fmla="*/ 8255285 h 283806"/>
              <a:gd name="T4" fmla="*/ 5965497 w 285390"/>
              <a:gd name="T5" fmla="*/ 7094344 h 283806"/>
              <a:gd name="T6" fmla="*/ 10240788 w 285390"/>
              <a:gd name="T7" fmla="*/ 7252865 h 283806"/>
              <a:gd name="T8" fmla="*/ 10085828 w 285390"/>
              <a:gd name="T9" fmla="*/ 9445861 h 283806"/>
              <a:gd name="T10" fmla="*/ 5810463 w 285390"/>
              <a:gd name="T11" fmla="*/ 9287375 h 283806"/>
              <a:gd name="T12" fmla="*/ 9930802 w 285390"/>
              <a:gd name="T13" fmla="*/ 9115627 h 283806"/>
              <a:gd name="T14" fmla="*/ 5965497 w 285390"/>
              <a:gd name="T15" fmla="*/ 7411407 h 283806"/>
              <a:gd name="T16" fmla="*/ 5965497 w 285390"/>
              <a:gd name="T17" fmla="*/ 7094344 h 283806"/>
              <a:gd name="T18" fmla="*/ 4275329 w 285390"/>
              <a:gd name="T19" fmla="*/ 7094344 h 283806"/>
              <a:gd name="T20" fmla="*/ 4275329 w 285390"/>
              <a:gd name="T21" fmla="*/ 7405634 h 283806"/>
              <a:gd name="T22" fmla="*/ 310002 w 285390"/>
              <a:gd name="T23" fmla="*/ 9870270 h 283806"/>
              <a:gd name="T24" fmla="*/ 1601633 w 285390"/>
              <a:gd name="T25" fmla="*/ 9078976 h 283806"/>
              <a:gd name="T26" fmla="*/ 4430371 w 285390"/>
              <a:gd name="T27" fmla="*/ 9247632 h 283806"/>
              <a:gd name="T28" fmla="*/ 1640423 w 285390"/>
              <a:gd name="T29" fmla="*/ 9403315 h 283806"/>
              <a:gd name="T30" fmla="*/ 154871 w 285390"/>
              <a:gd name="T31" fmla="*/ 10311277 h 283806"/>
              <a:gd name="T32" fmla="*/ 0 w 285390"/>
              <a:gd name="T33" fmla="*/ 10142663 h 283806"/>
              <a:gd name="T34" fmla="*/ 154871 w 285390"/>
              <a:gd name="T35" fmla="*/ 7094344 h 283806"/>
              <a:gd name="T36" fmla="*/ 4634450 w 285390"/>
              <a:gd name="T37" fmla="*/ 4700712 h 283806"/>
              <a:gd name="T38" fmla="*/ 5549597 w 285390"/>
              <a:gd name="T39" fmla="*/ 4700712 h 283806"/>
              <a:gd name="T40" fmla="*/ 5965497 w 285390"/>
              <a:gd name="T41" fmla="*/ 3518331 h 283806"/>
              <a:gd name="T42" fmla="*/ 10240788 w 285390"/>
              <a:gd name="T43" fmla="*/ 3674670 h 283806"/>
              <a:gd name="T44" fmla="*/ 10163348 w 285390"/>
              <a:gd name="T45" fmla="*/ 6722233 h 283806"/>
              <a:gd name="T46" fmla="*/ 10008336 w 285390"/>
              <a:gd name="T47" fmla="*/ 6722233 h 283806"/>
              <a:gd name="T48" fmla="*/ 5965497 w 285390"/>
              <a:gd name="T49" fmla="*/ 5823564 h 283806"/>
              <a:gd name="T50" fmla="*/ 5965497 w 285390"/>
              <a:gd name="T51" fmla="*/ 5511003 h 283806"/>
              <a:gd name="T52" fmla="*/ 8716652 w 285390"/>
              <a:gd name="T53" fmla="*/ 5550103 h 283806"/>
              <a:gd name="T54" fmla="*/ 9930802 w 285390"/>
              <a:gd name="T55" fmla="*/ 3830906 h 283806"/>
              <a:gd name="T56" fmla="*/ 5810463 w 285390"/>
              <a:gd name="T57" fmla="*/ 3674670 h 283806"/>
              <a:gd name="T58" fmla="*/ 154871 w 285390"/>
              <a:gd name="T59" fmla="*/ 3518331 h 283806"/>
              <a:gd name="T60" fmla="*/ 4430371 w 285390"/>
              <a:gd name="T61" fmla="*/ 3673870 h 283806"/>
              <a:gd name="T62" fmla="*/ 310002 w 285390"/>
              <a:gd name="T63" fmla="*/ 3829444 h 283806"/>
              <a:gd name="T64" fmla="*/ 4275329 w 285390"/>
              <a:gd name="T65" fmla="*/ 5501412 h 283806"/>
              <a:gd name="T66" fmla="*/ 4275329 w 285390"/>
              <a:gd name="T67" fmla="*/ 5812467 h 283806"/>
              <a:gd name="T68" fmla="*/ 0 w 285390"/>
              <a:gd name="T69" fmla="*/ 5669922 h 283806"/>
              <a:gd name="T70" fmla="*/ 154871 w 285390"/>
              <a:gd name="T71" fmla="*/ 3518331 h 283806"/>
              <a:gd name="T72" fmla="*/ 4634450 w 285390"/>
              <a:gd name="T73" fmla="*/ 1132978 h 283806"/>
              <a:gd name="T74" fmla="*/ 5549597 w 285390"/>
              <a:gd name="T75" fmla="*/ 1132978 h 283806"/>
              <a:gd name="T76" fmla="*/ 5091992 w 285390"/>
              <a:gd name="T77" fmla="*/ 346063 h 283806"/>
              <a:gd name="T78" fmla="*/ 5244574 w 285390"/>
              <a:gd name="T79" fmla="*/ 1906894 h 283806"/>
              <a:gd name="T80" fmla="*/ 5854700 w 285390"/>
              <a:gd name="T81" fmla="*/ 4700712 h 283806"/>
              <a:gd name="T82" fmla="*/ 5244574 w 285390"/>
              <a:gd name="T83" fmla="*/ 7481401 h 283806"/>
              <a:gd name="T84" fmla="*/ 5091992 w 285390"/>
              <a:gd name="T85" fmla="*/ 9042245 h 283806"/>
              <a:gd name="T86" fmla="*/ 4939516 w 285390"/>
              <a:gd name="T87" fmla="*/ 7481401 h 283806"/>
              <a:gd name="T88" fmla="*/ 4329355 w 285390"/>
              <a:gd name="T89" fmla="*/ 4700712 h 283806"/>
              <a:gd name="T90" fmla="*/ 4939516 w 285390"/>
              <a:gd name="T91" fmla="*/ 1906894 h 283806"/>
              <a:gd name="T92" fmla="*/ 5091992 w 285390"/>
              <a:gd name="T93" fmla="*/ 346063 h 283806"/>
              <a:gd name="T94" fmla="*/ 10085828 w 285390"/>
              <a:gd name="T95" fmla="*/ 0 h 283806"/>
              <a:gd name="T96" fmla="*/ 10240788 w 285390"/>
              <a:gd name="T97" fmla="*/ 2138548 h 283806"/>
              <a:gd name="T98" fmla="*/ 5965497 w 285390"/>
              <a:gd name="T99" fmla="*/ 2294179 h 283806"/>
              <a:gd name="T100" fmla="*/ 5965497 w 285390"/>
              <a:gd name="T101" fmla="*/ 1995963 h 283806"/>
              <a:gd name="T102" fmla="*/ 9930802 w 285390"/>
              <a:gd name="T103" fmla="*/ 311108 h 283806"/>
              <a:gd name="T104" fmla="*/ 5810463 w 285390"/>
              <a:gd name="T105" fmla="*/ 142574 h 283806"/>
              <a:gd name="T106" fmla="*/ 154871 w 285390"/>
              <a:gd name="T107" fmla="*/ 0 h 283806"/>
              <a:gd name="T108" fmla="*/ 4430371 w 285390"/>
              <a:gd name="T109" fmla="*/ 143254 h 283806"/>
              <a:gd name="T110" fmla="*/ 310002 w 285390"/>
              <a:gd name="T111" fmla="*/ 312599 h 283806"/>
              <a:gd name="T112" fmla="*/ 1511177 w 285390"/>
              <a:gd name="T113" fmla="*/ 2018727 h 283806"/>
              <a:gd name="T114" fmla="*/ 4275329 w 285390"/>
              <a:gd name="T115" fmla="*/ 2005742 h 283806"/>
              <a:gd name="T116" fmla="*/ 4275329 w 285390"/>
              <a:gd name="T117" fmla="*/ 2305250 h 283806"/>
              <a:gd name="T118" fmla="*/ 232450 w 285390"/>
              <a:gd name="T119" fmla="*/ 3190905 h 283806"/>
              <a:gd name="T120" fmla="*/ 77534 w 285390"/>
              <a:gd name="T121" fmla="*/ 3203846 h 283806"/>
              <a:gd name="T122" fmla="*/ 0 w 285390"/>
              <a:gd name="T123" fmla="*/ 143254 h 2838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3806">
                <a:moveTo>
                  <a:pt x="141904" y="214220"/>
                </a:moveTo>
                <a:cubicBezTo>
                  <a:pt x="134820" y="214220"/>
                  <a:pt x="129152" y="219996"/>
                  <a:pt x="129152" y="227216"/>
                </a:cubicBezTo>
                <a:cubicBezTo>
                  <a:pt x="129152" y="234437"/>
                  <a:pt x="134820" y="240213"/>
                  <a:pt x="141904" y="240213"/>
                </a:cubicBezTo>
                <a:cubicBezTo>
                  <a:pt x="148989" y="240213"/>
                  <a:pt x="154656" y="234437"/>
                  <a:pt x="154656" y="227216"/>
                </a:cubicBezTo>
                <a:cubicBezTo>
                  <a:pt x="154656" y="219996"/>
                  <a:pt x="148989" y="214220"/>
                  <a:pt x="141904" y="214220"/>
                </a:cubicBezTo>
                <a:close/>
                <a:moveTo>
                  <a:pt x="166245" y="195263"/>
                </a:moveTo>
                <a:lnTo>
                  <a:pt x="281071" y="195263"/>
                </a:lnTo>
                <a:cubicBezTo>
                  <a:pt x="283231" y="195263"/>
                  <a:pt x="285390" y="197445"/>
                  <a:pt x="285390" y="199626"/>
                </a:cubicBezTo>
                <a:lnTo>
                  <a:pt x="285390" y="255623"/>
                </a:lnTo>
                <a:cubicBezTo>
                  <a:pt x="285390" y="257805"/>
                  <a:pt x="283231" y="259986"/>
                  <a:pt x="281071" y="259986"/>
                </a:cubicBezTo>
                <a:lnTo>
                  <a:pt x="166245" y="259986"/>
                </a:lnTo>
                <a:cubicBezTo>
                  <a:pt x="163725" y="259986"/>
                  <a:pt x="161925" y="257805"/>
                  <a:pt x="161925" y="255623"/>
                </a:cubicBezTo>
                <a:cubicBezTo>
                  <a:pt x="161925" y="253078"/>
                  <a:pt x="163725" y="250896"/>
                  <a:pt x="166245" y="250896"/>
                </a:cubicBezTo>
                <a:lnTo>
                  <a:pt x="276751" y="250896"/>
                </a:lnTo>
                <a:lnTo>
                  <a:pt x="276751" y="203990"/>
                </a:lnTo>
                <a:lnTo>
                  <a:pt x="166245" y="203990"/>
                </a:lnTo>
                <a:cubicBezTo>
                  <a:pt x="163725" y="203990"/>
                  <a:pt x="161925" y="202172"/>
                  <a:pt x="161925" y="199626"/>
                </a:cubicBezTo>
                <a:cubicBezTo>
                  <a:pt x="161925" y="197445"/>
                  <a:pt x="163725" y="195263"/>
                  <a:pt x="166245" y="195263"/>
                </a:cubicBezTo>
                <a:close/>
                <a:moveTo>
                  <a:pt x="4319" y="195263"/>
                </a:moveTo>
                <a:lnTo>
                  <a:pt x="119145" y="195263"/>
                </a:lnTo>
                <a:cubicBezTo>
                  <a:pt x="121666" y="195263"/>
                  <a:pt x="123465" y="197405"/>
                  <a:pt x="123465" y="199547"/>
                </a:cubicBezTo>
                <a:cubicBezTo>
                  <a:pt x="123465" y="202047"/>
                  <a:pt x="121666" y="203832"/>
                  <a:pt x="119145" y="203832"/>
                </a:cubicBezTo>
                <a:lnTo>
                  <a:pt x="8639" y="203832"/>
                </a:lnTo>
                <a:lnTo>
                  <a:pt x="8639" y="271667"/>
                </a:lnTo>
                <a:lnTo>
                  <a:pt x="42115" y="250602"/>
                </a:lnTo>
                <a:cubicBezTo>
                  <a:pt x="42835" y="250245"/>
                  <a:pt x="43914" y="249888"/>
                  <a:pt x="44634" y="249888"/>
                </a:cubicBezTo>
                <a:lnTo>
                  <a:pt x="119145" y="249888"/>
                </a:lnTo>
                <a:cubicBezTo>
                  <a:pt x="121666" y="249888"/>
                  <a:pt x="123465" y="252031"/>
                  <a:pt x="123465" y="254530"/>
                </a:cubicBezTo>
                <a:cubicBezTo>
                  <a:pt x="123465" y="256672"/>
                  <a:pt x="121666" y="258814"/>
                  <a:pt x="119145" y="258814"/>
                </a:cubicBezTo>
                <a:lnTo>
                  <a:pt x="45714" y="258814"/>
                </a:lnTo>
                <a:lnTo>
                  <a:pt x="6479" y="283092"/>
                </a:lnTo>
                <a:cubicBezTo>
                  <a:pt x="5759" y="283449"/>
                  <a:pt x="5039" y="283806"/>
                  <a:pt x="4319" y="283806"/>
                </a:cubicBezTo>
                <a:cubicBezTo>
                  <a:pt x="3599" y="283806"/>
                  <a:pt x="2879" y="283449"/>
                  <a:pt x="2159" y="283092"/>
                </a:cubicBezTo>
                <a:cubicBezTo>
                  <a:pt x="720" y="282378"/>
                  <a:pt x="0" y="280950"/>
                  <a:pt x="0" y="279165"/>
                </a:cubicBezTo>
                <a:lnTo>
                  <a:pt x="0" y="199547"/>
                </a:lnTo>
                <a:cubicBezTo>
                  <a:pt x="0" y="197405"/>
                  <a:pt x="1800" y="195263"/>
                  <a:pt x="4319" y="195263"/>
                </a:cubicBezTo>
                <a:close/>
                <a:moveTo>
                  <a:pt x="141904" y="116385"/>
                </a:moveTo>
                <a:cubicBezTo>
                  <a:pt x="134820" y="116385"/>
                  <a:pt x="129152" y="122161"/>
                  <a:pt x="129152" y="129382"/>
                </a:cubicBezTo>
                <a:cubicBezTo>
                  <a:pt x="129152" y="136602"/>
                  <a:pt x="134820" y="142378"/>
                  <a:pt x="141904" y="142378"/>
                </a:cubicBezTo>
                <a:cubicBezTo>
                  <a:pt x="148989" y="142378"/>
                  <a:pt x="154656" y="136602"/>
                  <a:pt x="154656" y="129382"/>
                </a:cubicBezTo>
                <a:cubicBezTo>
                  <a:pt x="154656" y="122161"/>
                  <a:pt x="148989" y="116385"/>
                  <a:pt x="141904" y="116385"/>
                </a:cubicBezTo>
                <a:close/>
                <a:moveTo>
                  <a:pt x="166245" y="96838"/>
                </a:moveTo>
                <a:lnTo>
                  <a:pt x="281071" y="96838"/>
                </a:lnTo>
                <a:cubicBezTo>
                  <a:pt x="283231" y="96838"/>
                  <a:pt x="285390" y="98630"/>
                  <a:pt x="285390" y="101140"/>
                </a:cubicBezTo>
                <a:lnTo>
                  <a:pt x="285390" y="181436"/>
                </a:lnTo>
                <a:cubicBezTo>
                  <a:pt x="285390" y="182870"/>
                  <a:pt x="284670" y="184304"/>
                  <a:pt x="283231" y="185021"/>
                </a:cubicBezTo>
                <a:cubicBezTo>
                  <a:pt x="282511" y="185380"/>
                  <a:pt x="281791" y="185380"/>
                  <a:pt x="281071" y="185380"/>
                </a:cubicBezTo>
                <a:cubicBezTo>
                  <a:pt x="280351" y="185380"/>
                  <a:pt x="279271" y="185380"/>
                  <a:pt x="278911" y="185021"/>
                </a:cubicBezTo>
                <a:lnTo>
                  <a:pt x="239676" y="160287"/>
                </a:lnTo>
                <a:lnTo>
                  <a:pt x="166245" y="160287"/>
                </a:lnTo>
                <a:cubicBezTo>
                  <a:pt x="163725" y="160287"/>
                  <a:pt x="161925" y="158495"/>
                  <a:pt x="161925" y="156344"/>
                </a:cubicBezTo>
                <a:cubicBezTo>
                  <a:pt x="161925" y="153834"/>
                  <a:pt x="163725" y="151684"/>
                  <a:pt x="166245" y="151684"/>
                </a:cubicBezTo>
                <a:lnTo>
                  <a:pt x="241116" y="151684"/>
                </a:lnTo>
                <a:cubicBezTo>
                  <a:pt x="241476" y="151684"/>
                  <a:pt x="242555" y="152042"/>
                  <a:pt x="242915" y="152759"/>
                </a:cubicBezTo>
                <a:lnTo>
                  <a:pt x="276751" y="173550"/>
                </a:lnTo>
                <a:lnTo>
                  <a:pt x="276751" y="105441"/>
                </a:lnTo>
                <a:lnTo>
                  <a:pt x="166245" y="105441"/>
                </a:lnTo>
                <a:cubicBezTo>
                  <a:pt x="163725" y="105441"/>
                  <a:pt x="161925" y="103649"/>
                  <a:pt x="161925" y="101140"/>
                </a:cubicBezTo>
                <a:cubicBezTo>
                  <a:pt x="161925" y="98630"/>
                  <a:pt x="163725" y="96838"/>
                  <a:pt x="166245" y="96838"/>
                </a:cubicBezTo>
                <a:close/>
                <a:moveTo>
                  <a:pt x="4319" y="96838"/>
                </a:moveTo>
                <a:lnTo>
                  <a:pt x="119145" y="96838"/>
                </a:lnTo>
                <a:cubicBezTo>
                  <a:pt x="121666" y="96838"/>
                  <a:pt x="123465" y="98622"/>
                  <a:pt x="123465" y="101119"/>
                </a:cubicBezTo>
                <a:cubicBezTo>
                  <a:pt x="123465" y="103616"/>
                  <a:pt x="121666" y="105400"/>
                  <a:pt x="119145" y="105400"/>
                </a:cubicBezTo>
                <a:lnTo>
                  <a:pt x="8639" y="105400"/>
                </a:lnTo>
                <a:lnTo>
                  <a:pt x="8639" y="151420"/>
                </a:lnTo>
                <a:lnTo>
                  <a:pt x="119145" y="151420"/>
                </a:lnTo>
                <a:cubicBezTo>
                  <a:pt x="121666" y="151420"/>
                  <a:pt x="123465" y="153560"/>
                  <a:pt x="123465" y="156057"/>
                </a:cubicBezTo>
                <a:cubicBezTo>
                  <a:pt x="123465" y="158198"/>
                  <a:pt x="121666" y="159981"/>
                  <a:pt x="119145" y="159981"/>
                </a:cubicBezTo>
                <a:lnTo>
                  <a:pt x="4319" y="159981"/>
                </a:lnTo>
                <a:cubicBezTo>
                  <a:pt x="1800" y="159981"/>
                  <a:pt x="0" y="158198"/>
                  <a:pt x="0" y="156057"/>
                </a:cubicBezTo>
                <a:lnTo>
                  <a:pt x="0" y="101119"/>
                </a:lnTo>
                <a:cubicBezTo>
                  <a:pt x="0" y="98622"/>
                  <a:pt x="1800" y="96838"/>
                  <a:pt x="4319" y="96838"/>
                </a:cubicBezTo>
                <a:close/>
                <a:moveTo>
                  <a:pt x="141904" y="18550"/>
                </a:moveTo>
                <a:cubicBezTo>
                  <a:pt x="134820" y="18550"/>
                  <a:pt x="129152" y="23966"/>
                  <a:pt x="129152" y="31186"/>
                </a:cubicBezTo>
                <a:cubicBezTo>
                  <a:pt x="129152" y="38406"/>
                  <a:pt x="134820" y="44182"/>
                  <a:pt x="141904" y="44182"/>
                </a:cubicBezTo>
                <a:cubicBezTo>
                  <a:pt x="148989" y="44182"/>
                  <a:pt x="154656" y="38406"/>
                  <a:pt x="154656" y="31186"/>
                </a:cubicBezTo>
                <a:cubicBezTo>
                  <a:pt x="154656" y="23966"/>
                  <a:pt x="148989" y="18550"/>
                  <a:pt x="141904" y="18550"/>
                </a:cubicBezTo>
                <a:close/>
                <a:moveTo>
                  <a:pt x="141904" y="9525"/>
                </a:moveTo>
                <a:cubicBezTo>
                  <a:pt x="153594" y="9525"/>
                  <a:pt x="163158" y="19272"/>
                  <a:pt x="163158" y="31186"/>
                </a:cubicBezTo>
                <a:cubicBezTo>
                  <a:pt x="163158" y="41655"/>
                  <a:pt x="156073" y="50681"/>
                  <a:pt x="146155" y="52486"/>
                </a:cubicBezTo>
                <a:lnTo>
                  <a:pt x="146155" y="108082"/>
                </a:lnTo>
                <a:cubicBezTo>
                  <a:pt x="156073" y="110248"/>
                  <a:pt x="163158" y="118912"/>
                  <a:pt x="163158" y="129382"/>
                </a:cubicBezTo>
                <a:cubicBezTo>
                  <a:pt x="163158" y="139490"/>
                  <a:pt x="156073" y="148154"/>
                  <a:pt x="146155" y="150320"/>
                </a:cubicBezTo>
                <a:lnTo>
                  <a:pt x="146155" y="205916"/>
                </a:lnTo>
                <a:cubicBezTo>
                  <a:pt x="156073" y="208083"/>
                  <a:pt x="163158" y="216747"/>
                  <a:pt x="163158" y="227216"/>
                </a:cubicBezTo>
                <a:cubicBezTo>
                  <a:pt x="163158" y="239130"/>
                  <a:pt x="153594" y="248877"/>
                  <a:pt x="141904" y="248877"/>
                </a:cubicBezTo>
                <a:cubicBezTo>
                  <a:pt x="130214" y="248877"/>
                  <a:pt x="120650" y="239130"/>
                  <a:pt x="120650" y="227216"/>
                </a:cubicBezTo>
                <a:cubicBezTo>
                  <a:pt x="120650" y="216747"/>
                  <a:pt x="128089" y="208083"/>
                  <a:pt x="137653" y="205916"/>
                </a:cubicBezTo>
                <a:lnTo>
                  <a:pt x="137653" y="150320"/>
                </a:lnTo>
                <a:cubicBezTo>
                  <a:pt x="128089" y="148154"/>
                  <a:pt x="120650" y="139490"/>
                  <a:pt x="120650" y="129382"/>
                </a:cubicBezTo>
                <a:cubicBezTo>
                  <a:pt x="120650" y="118912"/>
                  <a:pt x="128089" y="110248"/>
                  <a:pt x="137653" y="108082"/>
                </a:cubicBezTo>
                <a:lnTo>
                  <a:pt x="137653" y="52486"/>
                </a:lnTo>
                <a:cubicBezTo>
                  <a:pt x="128089" y="50681"/>
                  <a:pt x="120650" y="41655"/>
                  <a:pt x="120650" y="31186"/>
                </a:cubicBezTo>
                <a:cubicBezTo>
                  <a:pt x="120650" y="19272"/>
                  <a:pt x="130214" y="9525"/>
                  <a:pt x="141904" y="9525"/>
                </a:cubicBezTo>
                <a:close/>
                <a:moveTo>
                  <a:pt x="166245" y="0"/>
                </a:moveTo>
                <a:lnTo>
                  <a:pt x="281071" y="0"/>
                </a:lnTo>
                <a:cubicBezTo>
                  <a:pt x="283231" y="0"/>
                  <a:pt x="285390" y="1784"/>
                  <a:pt x="285390" y="3924"/>
                </a:cubicBezTo>
                <a:lnTo>
                  <a:pt x="285390" y="58862"/>
                </a:lnTo>
                <a:cubicBezTo>
                  <a:pt x="285390" y="61360"/>
                  <a:pt x="283231" y="63143"/>
                  <a:pt x="281071" y="63143"/>
                </a:cubicBezTo>
                <a:lnTo>
                  <a:pt x="166245" y="63143"/>
                </a:lnTo>
                <a:cubicBezTo>
                  <a:pt x="163725" y="63143"/>
                  <a:pt x="161925" y="61360"/>
                  <a:pt x="161925" y="58862"/>
                </a:cubicBezTo>
                <a:cubicBezTo>
                  <a:pt x="161925" y="56722"/>
                  <a:pt x="163725" y="54938"/>
                  <a:pt x="166245" y="54938"/>
                </a:cubicBezTo>
                <a:lnTo>
                  <a:pt x="276751" y="54938"/>
                </a:lnTo>
                <a:lnTo>
                  <a:pt x="276751" y="8562"/>
                </a:lnTo>
                <a:lnTo>
                  <a:pt x="166245" y="8562"/>
                </a:lnTo>
                <a:cubicBezTo>
                  <a:pt x="163725" y="8562"/>
                  <a:pt x="161925" y="6421"/>
                  <a:pt x="161925" y="3924"/>
                </a:cubicBezTo>
                <a:cubicBezTo>
                  <a:pt x="161925" y="1784"/>
                  <a:pt x="163725" y="0"/>
                  <a:pt x="166245" y="0"/>
                </a:cubicBezTo>
                <a:close/>
                <a:moveTo>
                  <a:pt x="4319" y="0"/>
                </a:moveTo>
                <a:lnTo>
                  <a:pt x="119145" y="0"/>
                </a:lnTo>
                <a:cubicBezTo>
                  <a:pt x="121666" y="0"/>
                  <a:pt x="123465" y="1792"/>
                  <a:pt x="123465" y="3943"/>
                </a:cubicBezTo>
                <a:cubicBezTo>
                  <a:pt x="123465" y="6452"/>
                  <a:pt x="121666" y="8603"/>
                  <a:pt x="119145" y="8603"/>
                </a:cubicBezTo>
                <a:lnTo>
                  <a:pt x="8639" y="8603"/>
                </a:lnTo>
                <a:lnTo>
                  <a:pt x="8639" y="76712"/>
                </a:lnTo>
                <a:lnTo>
                  <a:pt x="42115" y="55563"/>
                </a:lnTo>
                <a:cubicBezTo>
                  <a:pt x="42835" y="55204"/>
                  <a:pt x="43914" y="55204"/>
                  <a:pt x="44634" y="55204"/>
                </a:cubicBezTo>
                <a:lnTo>
                  <a:pt x="119145" y="55204"/>
                </a:lnTo>
                <a:cubicBezTo>
                  <a:pt x="121666" y="55204"/>
                  <a:pt x="123465" y="56996"/>
                  <a:pt x="123465" y="59147"/>
                </a:cubicBezTo>
                <a:cubicBezTo>
                  <a:pt x="123465" y="61657"/>
                  <a:pt x="121666" y="63449"/>
                  <a:pt x="119145" y="63449"/>
                </a:cubicBezTo>
                <a:lnTo>
                  <a:pt x="45714" y="63449"/>
                </a:lnTo>
                <a:lnTo>
                  <a:pt x="6479" y="87825"/>
                </a:lnTo>
                <a:cubicBezTo>
                  <a:pt x="5759" y="88183"/>
                  <a:pt x="5039" y="88542"/>
                  <a:pt x="4319" y="88542"/>
                </a:cubicBezTo>
                <a:cubicBezTo>
                  <a:pt x="3599" y="88542"/>
                  <a:pt x="2879" y="88183"/>
                  <a:pt x="2159" y="88183"/>
                </a:cubicBezTo>
                <a:cubicBezTo>
                  <a:pt x="720" y="87108"/>
                  <a:pt x="0" y="85674"/>
                  <a:pt x="0" y="84240"/>
                </a:cubicBezTo>
                <a:lnTo>
                  <a:pt x="0" y="3943"/>
                </a:lnTo>
                <a:cubicBezTo>
                  <a:pt x="0" y="1792"/>
                  <a:pt x="1800" y="0"/>
                  <a:pt x="4319" y="0"/>
                </a:cubicBezTo>
                <a:close/>
              </a:path>
            </a:pathLst>
          </a:custGeom>
          <a:solidFill>
            <a:schemeClr val="bg1"/>
          </a:solidFill>
          <a:ln>
            <a:noFill/>
          </a:ln>
        </p:spPr>
        <p:txBody>
          <a:bodyPr anchor="ctr"/>
          <a:lstStyle/>
          <a:p>
            <a:pPr algn="l" rtl="0"/>
            <a:endParaRPr lang="en-GB" sz="1400" dirty="0">
              <a:latin typeface="+mj-lt"/>
            </a:endParaRPr>
          </a:p>
        </p:txBody>
      </p:sp>
      <p:sp>
        <p:nvSpPr>
          <p:cNvPr id="18" name="Freeform 953">
            <a:extLst>
              <a:ext uri="{FF2B5EF4-FFF2-40B4-BE49-F238E27FC236}">
                <a16:creationId xmlns:a16="http://schemas.microsoft.com/office/drawing/2014/main" id="{967A5EF0-9BEB-D64F-A2B8-83ED44183AE4}"/>
              </a:ext>
            </a:extLst>
          </p:cNvPr>
          <p:cNvSpPr>
            <a:spLocks noChangeAspect="1"/>
          </p:cNvSpPr>
          <p:nvPr/>
        </p:nvSpPr>
        <p:spPr bwMode="auto">
          <a:xfrm>
            <a:off x="6455403" y="5757463"/>
            <a:ext cx="375864" cy="408548"/>
          </a:xfrm>
          <a:custGeom>
            <a:avLst/>
            <a:gdLst>
              <a:gd name="T0" fmla="*/ 3568639 w 262269"/>
              <a:gd name="T1" fmla="*/ 4175549 h 283804"/>
              <a:gd name="T2" fmla="*/ 4565286 w 262269"/>
              <a:gd name="T3" fmla="*/ 4175549 h 283804"/>
              <a:gd name="T4" fmla="*/ 4066997 w 262269"/>
              <a:gd name="T5" fmla="*/ 3345592 h 283804"/>
              <a:gd name="T6" fmla="*/ 4066997 w 262269"/>
              <a:gd name="T7" fmla="*/ 5005413 h 283804"/>
              <a:gd name="T8" fmla="*/ 4066997 w 262269"/>
              <a:gd name="T9" fmla="*/ 3345592 h 283804"/>
              <a:gd name="T10" fmla="*/ 2728046 w 262269"/>
              <a:gd name="T11" fmla="*/ 4195985 h 283804"/>
              <a:gd name="T12" fmla="*/ 3546752 w 262269"/>
              <a:gd name="T13" fmla="*/ 5584225 h 283804"/>
              <a:gd name="T14" fmla="*/ 4063182 w 262269"/>
              <a:gd name="T15" fmla="*/ 9932289 h 283804"/>
              <a:gd name="T16" fmla="*/ 4277250 w 262269"/>
              <a:gd name="T17" fmla="*/ 9303631 h 283804"/>
              <a:gd name="T18" fmla="*/ 4478803 w 262269"/>
              <a:gd name="T19" fmla="*/ 8635707 h 283804"/>
              <a:gd name="T20" fmla="*/ 4289834 w 262269"/>
              <a:gd name="T21" fmla="*/ 7980891 h 283804"/>
              <a:gd name="T22" fmla="*/ 4289834 w 262269"/>
              <a:gd name="T23" fmla="*/ 7587963 h 283804"/>
              <a:gd name="T24" fmla="*/ 4289834 w 262269"/>
              <a:gd name="T25" fmla="*/ 7129618 h 283804"/>
              <a:gd name="T26" fmla="*/ 4629951 w 262269"/>
              <a:gd name="T27" fmla="*/ 5584225 h 283804"/>
              <a:gd name="T28" fmla="*/ 5448575 w 262269"/>
              <a:gd name="T29" fmla="*/ 4195985 h 283804"/>
              <a:gd name="T30" fmla="*/ 4088316 w 262269"/>
              <a:gd name="T31" fmla="*/ 2480391 h 283804"/>
              <a:gd name="T32" fmla="*/ 4932213 w 262269"/>
              <a:gd name="T33" fmla="*/ 5689021 h 283804"/>
              <a:gd name="T34" fmla="*/ 4881852 w 262269"/>
              <a:gd name="T35" fmla="*/ 6959374 h 283804"/>
              <a:gd name="T36" fmla="*/ 4617366 w 262269"/>
              <a:gd name="T37" fmla="*/ 7483233 h 283804"/>
              <a:gd name="T38" fmla="*/ 4806274 w 262269"/>
              <a:gd name="T39" fmla="*/ 7902291 h 283804"/>
              <a:gd name="T40" fmla="*/ 4617366 w 262269"/>
              <a:gd name="T41" fmla="*/ 8334494 h 283804"/>
              <a:gd name="T42" fmla="*/ 4844020 w 262269"/>
              <a:gd name="T43" fmla="*/ 8635707 h 283804"/>
              <a:gd name="T44" fmla="*/ 4491387 w 262269"/>
              <a:gd name="T45" fmla="*/ 9067859 h 283804"/>
              <a:gd name="T46" fmla="*/ 4831432 w 262269"/>
              <a:gd name="T47" fmla="*/ 9500086 h 283804"/>
              <a:gd name="T48" fmla="*/ 4163909 w 262269"/>
              <a:gd name="T49" fmla="*/ 10259675 h 283804"/>
              <a:gd name="T50" fmla="*/ 3949794 w 262269"/>
              <a:gd name="T51" fmla="*/ 10259675 h 283804"/>
              <a:gd name="T52" fmla="*/ 3244467 w 262269"/>
              <a:gd name="T53" fmla="*/ 9460788 h 283804"/>
              <a:gd name="T54" fmla="*/ 2438411 w 262269"/>
              <a:gd name="T55" fmla="*/ 4195985 h 283804"/>
              <a:gd name="T56" fmla="*/ 4088380 w 262269"/>
              <a:gd name="T57" fmla="*/ 1442000 h 283804"/>
              <a:gd name="T58" fmla="*/ 6748486 w 262269"/>
              <a:gd name="T59" fmla="*/ 4194607 h 283804"/>
              <a:gd name="T60" fmla="*/ 5857598 w 262269"/>
              <a:gd name="T61" fmla="*/ 6203613 h 283804"/>
              <a:gd name="T62" fmla="*/ 5744646 w 262269"/>
              <a:gd name="T63" fmla="*/ 5929663 h 283804"/>
              <a:gd name="T64" fmla="*/ 5744646 w 262269"/>
              <a:gd name="T65" fmla="*/ 2459661 h 283804"/>
              <a:gd name="T66" fmla="*/ 2419562 w 262269"/>
              <a:gd name="T67" fmla="*/ 2459661 h 283804"/>
              <a:gd name="T68" fmla="*/ 2419562 w 262269"/>
              <a:gd name="T69" fmla="*/ 5929663 h 283804"/>
              <a:gd name="T70" fmla="*/ 2206223 w 262269"/>
              <a:gd name="T71" fmla="*/ 6151428 h 283804"/>
              <a:gd name="T72" fmla="*/ 2206223 w 262269"/>
              <a:gd name="T73" fmla="*/ 2250892 h 283804"/>
              <a:gd name="T74" fmla="*/ 4066300 w 262269"/>
              <a:gd name="T75" fmla="*/ 0 h 283804"/>
              <a:gd name="T76" fmla="*/ 8960908 w 262269"/>
              <a:gd name="T77" fmla="*/ 5625981 h 283804"/>
              <a:gd name="T78" fmla="*/ 8873084 w 262269"/>
              <a:gd name="T79" fmla="*/ 6552747 h 283804"/>
              <a:gd name="T80" fmla="*/ 8132602 w 262269"/>
              <a:gd name="T81" fmla="*/ 8393271 h 283804"/>
              <a:gd name="T82" fmla="*/ 6212453 w 262269"/>
              <a:gd name="T83" fmla="*/ 9398358 h 283804"/>
              <a:gd name="T84" fmla="*/ 6061790 w 262269"/>
              <a:gd name="T85" fmla="*/ 10312070 h 283804"/>
              <a:gd name="T86" fmla="*/ 5911210 w 262269"/>
              <a:gd name="T87" fmla="*/ 9398358 h 283804"/>
              <a:gd name="T88" fmla="*/ 7831383 w 262269"/>
              <a:gd name="T89" fmla="*/ 8341017 h 283804"/>
              <a:gd name="T90" fmla="*/ 7906695 w 262269"/>
              <a:gd name="T91" fmla="*/ 6683297 h 283804"/>
              <a:gd name="T92" fmla="*/ 8847984 w 262269"/>
              <a:gd name="T93" fmla="*/ 6122004 h 283804"/>
              <a:gd name="T94" fmla="*/ 7843990 w 262269"/>
              <a:gd name="T95" fmla="*/ 4255366 h 283804"/>
              <a:gd name="T96" fmla="*/ 4066300 w 262269"/>
              <a:gd name="T97" fmla="*/ 313303 h 283804"/>
              <a:gd name="T98" fmla="*/ 803229 w 262269"/>
              <a:gd name="T99" fmla="*/ 6161132 h 283804"/>
              <a:gd name="T100" fmla="*/ 1192297 w 262269"/>
              <a:gd name="T101" fmla="*/ 6839936 h 283804"/>
              <a:gd name="T102" fmla="*/ 2120958 w 262269"/>
              <a:gd name="T103" fmla="*/ 10142404 h 283804"/>
              <a:gd name="T104" fmla="*/ 1819759 w 262269"/>
              <a:gd name="T105" fmla="*/ 10155464 h 283804"/>
              <a:gd name="T106" fmla="*/ 941245 w 262269"/>
              <a:gd name="T107" fmla="*/ 7009651 h 283804"/>
              <a:gd name="T108" fmla="*/ 539667 w 262269"/>
              <a:gd name="T109" fmla="*/ 6330841 h 283804"/>
              <a:gd name="T110" fmla="*/ 4066300 w 262269"/>
              <a:gd name="T111" fmla="*/ 0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62269" h="283804">
                <a:moveTo>
                  <a:pt x="116503" y="100640"/>
                </a:moveTo>
                <a:cubicBezTo>
                  <a:pt x="108651" y="100640"/>
                  <a:pt x="102227" y="107064"/>
                  <a:pt x="102227" y="114916"/>
                </a:cubicBezTo>
                <a:cubicBezTo>
                  <a:pt x="102227" y="123124"/>
                  <a:pt x="108651" y="129191"/>
                  <a:pt x="116503" y="129191"/>
                </a:cubicBezTo>
                <a:cubicBezTo>
                  <a:pt x="124354" y="129191"/>
                  <a:pt x="130778" y="123124"/>
                  <a:pt x="130778" y="114916"/>
                </a:cubicBezTo>
                <a:cubicBezTo>
                  <a:pt x="130778" y="107064"/>
                  <a:pt x="124354" y="100640"/>
                  <a:pt x="116503" y="100640"/>
                </a:cubicBezTo>
                <a:close/>
                <a:moveTo>
                  <a:pt x="116503" y="92075"/>
                </a:moveTo>
                <a:cubicBezTo>
                  <a:pt x="129351" y="92075"/>
                  <a:pt x="139343" y="102425"/>
                  <a:pt x="139343" y="114916"/>
                </a:cubicBezTo>
                <a:cubicBezTo>
                  <a:pt x="139343" y="127407"/>
                  <a:pt x="129351" y="137756"/>
                  <a:pt x="116503" y="137756"/>
                </a:cubicBezTo>
                <a:cubicBezTo>
                  <a:pt x="104012" y="137756"/>
                  <a:pt x="93662" y="127407"/>
                  <a:pt x="93662" y="114916"/>
                </a:cubicBezTo>
                <a:cubicBezTo>
                  <a:pt x="93662" y="102425"/>
                  <a:pt x="104012" y="92075"/>
                  <a:pt x="116503" y="92075"/>
                </a:cubicBezTo>
                <a:close/>
                <a:moveTo>
                  <a:pt x="117114" y="76913"/>
                </a:moveTo>
                <a:cubicBezTo>
                  <a:pt x="95828" y="76913"/>
                  <a:pt x="78148" y="94214"/>
                  <a:pt x="78148" y="115480"/>
                </a:cubicBezTo>
                <a:cubicBezTo>
                  <a:pt x="78148" y="130258"/>
                  <a:pt x="86446" y="143233"/>
                  <a:pt x="99435" y="150082"/>
                </a:cubicBezTo>
                <a:cubicBezTo>
                  <a:pt x="100879" y="150802"/>
                  <a:pt x="101600" y="152605"/>
                  <a:pt x="101600" y="153686"/>
                </a:cubicBezTo>
                <a:lnTo>
                  <a:pt x="101600" y="258572"/>
                </a:lnTo>
                <a:lnTo>
                  <a:pt x="116393" y="273350"/>
                </a:lnTo>
                <a:lnTo>
                  <a:pt x="127938" y="261456"/>
                </a:lnTo>
                <a:lnTo>
                  <a:pt x="122526" y="256049"/>
                </a:lnTo>
                <a:cubicBezTo>
                  <a:pt x="119279" y="252445"/>
                  <a:pt x="119279" y="247038"/>
                  <a:pt x="122526" y="243794"/>
                </a:cubicBezTo>
                <a:lnTo>
                  <a:pt x="128299" y="237667"/>
                </a:lnTo>
                <a:lnTo>
                  <a:pt x="122887" y="232261"/>
                </a:lnTo>
                <a:cubicBezTo>
                  <a:pt x="119640" y="228656"/>
                  <a:pt x="119640" y="223250"/>
                  <a:pt x="122887" y="219645"/>
                </a:cubicBezTo>
                <a:lnTo>
                  <a:pt x="128299" y="214239"/>
                </a:lnTo>
                <a:lnTo>
                  <a:pt x="122887" y="208832"/>
                </a:lnTo>
                <a:cubicBezTo>
                  <a:pt x="121083" y="207391"/>
                  <a:pt x="120362" y="204868"/>
                  <a:pt x="120362" y="202705"/>
                </a:cubicBezTo>
                <a:cubicBezTo>
                  <a:pt x="120362" y="200182"/>
                  <a:pt x="121083" y="198019"/>
                  <a:pt x="122887" y="196217"/>
                </a:cubicBezTo>
                <a:lnTo>
                  <a:pt x="132629" y="186846"/>
                </a:lnTo>
                <a:lnTo>
                  <a:pt x="132629" y="153686"/>
                </a:lnTo>
                <a:cubicBezTo>
                  <a:pt x="132629" y="152605"/>
                  <a:pt x="133711" y="150802"/>
                  <a:pt x="134793" y="150082"/>
                </a:cubicBezTo>
                <a:cubicBezTo>
                  <a:pt x="148143" y="143233"/>
                  <a:pt x="156080" y="130258"/>
                  <a:pt x="156080" y="115480"/>
                </a:cubicBezTo>
                <a:cubicBezTo>
                  <a:pt x="156080" y="94214"/>
                  <a:pt x="138762" y="76913"/>
                  <a:pt x="117114" y="76913"/>
                </a:cubicBezTo>
                <a:close/>
                <a:moveTo>
                  <a:pt x="117114" y="68263"/>
                </a:moveTo>
                <a:cubicBezTo>
                  <a:pt x="143092" y="68263"/>
                  <a:pt x="164739" y="89168"/>
                  <a:pt x="164739" y="115480"/>
                </a:cubicBezTo>
                <a:cubicBezTo>
                  <a:pt x="164739" y="132420"/>
                  <a:pt x="155720" y="147919"/>
                  <a:pt x="141288" y="156569"/>
                </a:cubicBezTo>
                <a:lnTo>
                  <a:pt x="141288" y="188648"/>
                </a:lnTo>
                <a:cubicBezTo>
                  <a:pt x="141288" y="189729"/>
                  <a:pt x="140927" y="190811"/>
                  <a:pt x="139845" y="191532"/>
                </a:cubicBezTo>
                <a:lnTo>
                  <a:pt x="129021" y="202345"/>
                </a:lnTo>
                <a:lnTo>
                  <a:pt x="132268" y="205949"/>
                </a:lnTo>
                <a:lnTo>
                  <a:pt x="137680" y="211355"/>
                </a:lnTo>
                <a:cubicBezTo>
                  <a:pt x="139123" y="212797"/>
                  <a:pt x="139123" y="215681"/>
                  <a:pt x="137680" y="217483"/>
                </a:cubicBezTo>
                <a:lnTo>
                  <a:pt x="129021" y="225773"/>
                </a:lnTo>
                <a:lnTo>
                  <a:pt x="132268" y="229377"/>
                </a:lnTo>
                <a:lnTo>
                  <a:pt x="137680" y="234423"/>
                </a:lnTo>
                <a:cubicBezTo>
                  <a:pt x="138401" y="235504"/>
                  <a:pt x="138762" y="236586"/>
                  <a:pt x="138762" y="237667"/>
                </a:cubicBezTo>
                <a:cubicBezTo>
                  <a:pt x="138762" y="238748"/>
                  <a:pt x="138401" y="239830"/>
                  <a:pt x="137680" y="240551"/>
                </a:cubicBezTo>
                <a:lnTo>
                  <a:pt x="128660" y="249561"/>
                </a:lnTo>
                <a:lnTo>
                  <a:pt x="137319" y="258572"/>
                </a:lnTo>
                <a:cubicBezTo>
                  <a:pt x="138041" y="259293"/>
                  <a:pt x="138401" y="260374"/>
                  <a:pt x="138401" y="261456"/>
                </a:cubicBezTo>
                <a:cubicBezTo>
                  <a:pt x="138401" y="262537"/>
                  <a:pt x="138041" y="263618"/>
                  <a:pt x="137319" y="264700"/>
                </a:cubicBezTo>
                <a:lnTo>
                  <a:pt x="119279" y="282361"/>
                </a:lnTo>
                <a:cubicBezTo>
                  <a:pt x="118558" y="283082"/>
                  <a:pt x="117475" y="283803"/>
                  <a:pt x="116393" y="283803"/>
                </a:cubicBezTo>
                <a:cubicBezTo>
                  <a:pt x="115310" y="283803"/>
                  <a:pt x="113867" y="283082"/>
                  <a:pt x="113146" y="282361"/>
                </a:cubicBezTo>
                <a:lnTo>
                  <a:pt x="94384" y="263618"/>
                </a:lnTo>
                <a:cubicBezTo>
                  <a:pt x="93663" y="262537"/>
                  <a:pt x="92941" y="261816"/>
                  <a:pt x="92941" y="260374"/>
                </a:cubicBezTo>
                <a:lnTo>
                  <a:pt x="92941" y="156569"/>
                </a:lnTo>
                <a:cubicBezTo>
                  <a:pt x="78870" y="147919"/>
                  <a:pt x="69850" y="132420"/>
                  <a:pt x="69850" y="115480"/>
                </a:cubicBezTo>
                <a:cubicBezTo>
                  <a:pt x="69850" y="89168"/>
                  <a:pt x="90776" y="68263"/>
                  <a:pt x="117114" y="68263"/>
                </a:cubicBezTo>
                <a:close/>
                <a:moveTo>
                  <a:pt x="117116" y="39688"/>
                </a:moveTo>
                <a:cubicBezTo>
                  <a:pt x="137604" y="39688"/>
                  <a:pt x="156294" y="47586"/>
                  <a:pt x="170671" y="61947"/>
                </a:cubicBezTo>
                <a:cubicBezTo>
                  <a:pt x="185049" y="76308"/>
                  <a:pt x="193316" y="95337"/>
                  <a:pt x="193316" y="115442"/>
                </a:cubicBezTo>
                <a:cubicBezTo>
                  <a:pt x="193316" y="135907"/>
                  <a:pt x="185049" y="154935"/>
                  <a:pt x="170671" y="169296"/>
                </a:cubicBezTo>
                <a:cubicBezTo>
                  <a:pt x="169953" y="170014"/>
                  <a:pt x="168874" y="170732"/>
                  <a:pt x="167796" y="170732"/>
                </a:cubicBezTo>
                <a:cubicBezTo>
                  <a:pt x="166718" y="170732"/>
                  <a:pt x="165639" y="170014"/>
                  <a:pt x="164561" y="169296"/>
                </a:cubicBezTo>
                <a:cubicBezTo>
                  <a:pt x="163123" y="167501"/>
                  <a:pt x="163123" y="164988"/>
                  <a:pt x="164561" y="163193"/>
                </a:cubicBezTo>
                <a:cubicBezTo>
                  <a:pt x="177501" y="150268"/>
                  <a:pt x="184689" y="133393"/>
                  <a:pt x="184689" y="115442"/>
                </a:cubicBezTo>
                <a:cubicBezTo>
                  <a:pt x="184689" y="97491"/>
                  <a:pt x="177501" y="80617"/>
                  <a:pt x="164561" y="67692"/>
                </a:cubicBezTo>
                <a:cubicBezTo>
                  <a:pt x="151981" y="55126"/>
                  <a:pt x="135088" y="48305"/>
                  <a:pt x="117116" y="48305"/>
                </a:cubicBezTo>
                <a:cubicBezTo>
                  <a:pt x="99144" y="48305"/>
                  <a:pt x="82250" y="55126"/>
                  <a:pt x="69311" y="67692"/>
                </a:cubicBezTo>
                <a:cubicBezTo>
                  <a:pt x="56730" y="80617"/>
                  <a:pt x="49542" y="97491"/>
                  <a:pt x="49542" y="115442"/>
                </a:cubicBezTo>
                <a:cubicBezTo>
                  <a:pt x="49542" y="133393"/>
                  <a:pt x="56730" y="150268"/>
                  <a:pt x="69311" y="163193"/>
                </a:cubicBezTo>
                <a:cubicBezTo>
                  <a:pt x="71108" y="164988"/>
                  <a:pt x="71108" y="167501"/>
                  <a:pt x="69311" y="169296"/>
                </a:cubicBezTo>
                <a:cubicBezTo>
                  <a:pt x="67873" y="171091"/>
                  <a:pt x="64997" y="171091"/>
                  <a:pt x="63200" y="169296"/>
                </a:cubicBezTo>
                <a:cubicBezTo>
                  <a:pt x="49182" y="154935"/>
                  <a:pt x="41275" y="135907"/>
                  <a:pt x="41275" y="115442"/>
                </a:cubicBezTo>
                <a:cubicBezTo>
                  <a:pt x="41275" y="95337"/>
                  <a:pt x="49182" y="76308"/>
                  <a:pt x="63200" y="61947"/>
                </a:cubicBezTo>
                <a:cubicBezTo>
                  <a:pt x="77578" y="47586"/>
                  <a:pt x="96628" y="39688"/>
                  <a:pt x="117116" y="39688"/>
                </a:cubicBezTo>
                <a:close/>
                <a:moveTo>
                  <a:pt x="116483" y="0"/>
                </a:moveTo>
                <a:cubicBezTo>
                  <a:pt x="180837" y="0"/>
                  <a:pt x="232966" y="51731"/>
                  <a:pt x="233326" y="116036"/>
                </a:cubicBezTo>
                <a:cubicBezTo>
                  <a:pt x="233685" y="118192"/>
                  <a:pt x="238359" y="132921"/>
                  <a:pt x="256694" y="154835"/>
                </a:cubicBezTo>
                <a:cubicBezTo>
                  <a:pt x="259211" y="157709"/>
                  <a:pt x="263166" y="163457"/>
                  <a:pt x="262087" y="170282"/>
                </a:cubicBezTo>
                <a:cubicBezTo>
                  <a:pt x="261368" y="173156"/>
                  <a:pt x="259930" y="177108"/>
                  <a:pt x="254178" y="180341"/>
                </a:cubicBezTo>
                <a:cubicBezTo>
                  <a:pt x="246268" y="185011"/>
                  <a:pt x="237281" y="188604"/>
                  <a:pt x="232966" y="190759"/>
                </a:cubicBezTo>
                <a:cubicBezTo>
                  <a:pt x="233685" y="198303"/>
                  <a:pt x="235483" y="217703"/>
                  <a:pt x="232966" y="230995"/>
                </a:cubicBezTo>
                <a:cubicBezTo>
                  <a:pt x="229731" y="246442"/>
                  <a:pt x="203486" y="248957"/>
                  <a:pt x="188386" y="248957"/>
                </a:cubicBezTo>
                <a:cubicBezTo>
                  <a:pt x="184432" y="248957"/>
                  <a:pt x="177961" y="250035"/>
                  <a:pt x="177961" y="258657"/>
                </a:cubicBezTo>
                <a:lnTo>
                  <a:pt x="177961" y="279134"/>
                </a:lnTo>
                <a:cubicBezTo>
                  <a:pt x="177961" y="281648"/>
                  <a:pt x="175803" y="283804"/>
                  <a:pt x="173646" y="283804"/>
                </a:cubicBezTo>
                <a:cubicBezTo>
                  <a:pt x="171130" y="283804"/>
                  <a:pt x="169332" y="281648"/>
                  <a:pt x="169332" y="279134"/>
                </a:cubicBezTo>
                <a:lnTo>
                  <a:pt x="169332" y="258657"/>
                </a:lnTo>
                <a:cubicBezTo>
                  <a:pt x="169332" y="247520"/>
                  <a:pt x="176522" y="240335"/>
                  <a:pt x="188386" y="240335"/>
                </a:cubicBezTo>
                <a:cubicBezTo>
                  <a:pt x="208879" y="240335"/>
                  <a:pt x="223259" y="235665"/>
                  <a:pt x="224338" y="229558"/>
                </a:cubicBezTo>
                <a:cubicBezTo>
                  <a:pt x="227214" y="214110"/>
                  <a:pt x="223979" y="188604"/>
                  <a:pt x="223979" y="188604"/>
                </a:cubicBezTo>
                <a:cubicBezTo>
                  <a:pt x="223619" y="186448"/>
                  <a:pt x="224698" y="184652"/>
                  <a:pt x="226495" y="183934"/>
                </a:cubicBezTo>
                <a:cubicBezTo>
                  <a:pt x="226855" y="183934"/>
                  <a:pt x="239438" y="178904"/>
                  <a:pt x="249864" y="172797"/>
                </a:cubicBezTo>
                <a:cubicBezTo>
                  <a:pt x="253099" y="171001"/>
                  <a:pt x="253459" y="169205"/>
                  <a:pt x="253459" y="168486"/>
                </a:cubicBezTo>
                <a:cubicBezTo>
                  <a:pt x="254178" y="165971"/>
                  <a:pt x="252021" y="162379"/>
                  <a:pt x="250223" y="160223"/>
                </a:cubicBezTo>
                <a:cubicBezTo>
                  <a:pt x="228652" y="134717"/>
                  <a:pt x="224698" y="117833"/>
                  <a:pt x="224698" y="117114"/>
                </a:cubicBezTo>
                <a:lnTo>
                  <a:pt x="224698" y="116396"/>
                </a:lnTo>
                <a:cubicBezTo>
                  <a:pt x="224698" y="56761"/>
                  <a:pt x="176163" y="8622"/>
                  <a:pt x="116483" y="8622"/>
                </a:cubicBezTo>
                <a:cubicBezTo>
                  <a:pt x="57163" y="8622"/>
                  <a:pt x="8628" y="56761"/>
                  <a:pt x="8628" y="116396"/>
                </a:cubicBezTo>
                <a:cubicBezTo>
                  <a:pt x="8628" y="135076"/>
                  <a:pt x="13661" y="153757"/>
                  <a:pt x="23009" y="169564"/>
                </a:cubicBezTo>
                <a:cubicBezTo>
                  <a:pt x="23009" y="169923"/>
                  <a:pt x="23009" y="169923"/>
                  <a:pt x="23009" y="169923"/>
                </a:cubicBezTo>
                <a:cubicBezTo>
                  <a:pt x="26604" y="176030"/>
                  <a:pt x="30199" y="182137"/>
                  <a:pt x="34154" y="188245"/>
                </a:cubicBezTo>
                <a:cubicBezTo>
                  <a:pt x="40985" y="199022"/>
                  <a:pt x="47096" y="209081"/>
                  <a:pt x="51051" y="217703"/>
                </a:cubicBezTo>
                <a:cubicBezTo>
                  <a:pt x="60039" y="237461"/>
                  <a:pt x="60398" y="277697"/>
                  <a:pt x="60758" y="279134"/>
                </a:cubicBezTo>
                <a:cubicBezTo>
                  <a:pt x="60758" y="281648"/>
                  <a:pt x="58601" y="283804"/>
                  <a:pt x="56444" y="283804"/>
                </a:cubicBezTo>
                <a:cubicBezTo>
                  <a:pt x="53927" y="283804"/>
                  <a:pt x="52130" y="281648"/>
                  <a:pt x="52130" y="279493"/>
                </a:cubicBezTo>
                <a:cubicBezTo>
                  <a:pt x="52130" y="279134"/>
                  <a:pt x="51410" y="239257"/>
                  <a:pt x="43142" y="221295"/>
                </a:cubicBezTo>
                <a:cubicBezTo>
                  <a:pt x="39546" y="213033"/>
                  <a:pt x="33435" y="203333"/>
                  <a:pt x="26963" y="192915"/>
                </a:cubicBezTo>
                <a:cubicBezTo>
                  <a:pt x="23009" y="186808"/>
                  <a:pt x="19054" y="180341"/>
                  <a:pt x="15818" y="174593"/>
                </a:cubicBezTo>
                <a:cubicBezTo>
                  <a:pt x="15818" y="174234"/>
                  <a:pt x="15818" y="174234"/>
                  <a:pt x="15459" y="174234"/>
                </a:cubicBezTo>
                <a:cubicBezTo>
                  <a:pt x="5752" y="156990"/>
                  <a:pt x="0" y="136873"/>
                  <a:pt x="0" y="116396"/>
                </a:cubicBezTo>
                <a:cubicBezTo>
                  <a:pt x="0" y="52090"/>
                  <a:pt x="52489" y="0"/>
                  <a:pt x="116483" y="0"/>
                </a:cubicBezTo>
                <a:close/>
              </a:path>
            </a:pathLst>
          </a:custGeom>
          <a:solidFill>
            <a:schemeClr val="bg1"/>
          </a:solidFill>
          <a:ln>
            <a:noFill/>
          </a:ln>
        </p:spPr>
        <p:txBody>
          <a:bodyPr anchor="ctr"/>
          <a:lstStyle/>
          <a:p>
            <a:pPr algn="l" rtl="0"/>
            <a:endParaRPr lang="en-GB" sz="1400" dirty="0">
              <a:latin typeface="+mj-lt"/>
            </a:endParaRPr>
          </a:p>
        </p:txBody>
      </p:sp>
      <p:sp>
        <p:nvSpPr>
          <p:cNvPr id="19" name="Freeform 955">
            <a:extLst>
              <a:ext uri="{FF2B5EF4-FFF2-40B4-BE49-F238E27FC236}">
                <a16:creationId xmlns:a16="http://schemas.microsoft.com/office/drawing/2014/main" id="{57CA3E3A-3310-4F72-1290-EC60EFA7EA4A}"/>
              </a:ext>
            </a:extLst>
          </p:cNvPr>
          <p:cNvSpPr>
            <a:spLocks noChangeAspect="1"/>
          </p:cNvSpPr>
          <p:nvPr/>
        </p:nvSpPr>
        <p:spPr bwMode="auto">
          <a:xfrm>
            <a:off x="4962967" y="3274249"/>
            <a:ext cx="411061" cy="403520"/>
          </a:xfrm>
          <a:custGeom>
            <a:avLst/>
            <a:gdLst>
              <a:gd name="T0" fmla="*/ 1447509 w 285054"/>
              <a:gd name="T1" fmla="*/ 7932390 h 280629"/>
              <a:gd name="T2" fmla="*/ 1447509 w 285054"/>
              <a:gd name="T3" fmla="*/ 6883477 h 280629"/>
              <a:gd name="T4" fmla="*/ 750221 w 285054"/>
              <a:gd name="T5" fmla="*/ 7565276 h 280629"/>
              <a:gd name="T6" fmla="*/ 6385815 w 285054"/>
              <a:gd name="T7" fmla="*/ 6137767 h 280629"/>
              <a:gd name="T8" fmla="*/ 4077442 w 285054"/>
              <a:gd name="T9" fmla="*/ 6468680 h 280629"/>
              <a:gd name="T10" fmla="*/ 1486045 w 285054"/>
              <a:gd name="T11" fmla="*/ 6137767 h 280629"/>
              <a:gd name="T12" fmla="*/ 2997952 w 285054"/>
              <a:gd name="T13" fmla="*/ 6461576 h 280629"/>
              <a:gd name="T14" fmla="*/ 637331 w 285054"/>
              <a:gd name="T15" fmla="*/ 8300830 h 280629"/>
              <a:gd name="T16" fmla="*/ 5371704 w 285054"/>
              <a:gd name="T17" fmla="*/ 9414762 h 280629"/>
              <a:gd name="T18" fmla="*/ 5053439 w 285054"/>
              <a:gd name="T19" fmla="*/ 9984734 h 280629"/>
              <a:gd name="T20" fmla="*/ 1433042 w 285054"/>
              <a:gd name="T21" fmla="*/ 8948517 h 280629"/>
              <a:gd name="T22" fmla="*/ 1486045 w 285054"/>
              <a:gd name="T23" fmla="*/ 6137767 h 280629"/>
              <a:gd name="T24" fmla="*/ 7130893 w 285054"/>
              <a:gd name="T25" fmla="*/ 6829341 h 280629"/>
              <a:gd name="T26" fmla="*/ 6792964 w 285054"/>
              <a:gd name="T27" fmla="*/ 5777364 h 280629"/>
              <a:gd name="T28" fmla="*/ 3728190 w 285054"/>
              <a:gd name="T29" fmla="*/ 5777364 h 280629"/>
              <a:gd name="T30" fmla="*/ 3390290 w 285054"/>
              <a:gd name="T31" fmla="*/ 6829341 h 280629"/>
              <a:gd name="T32" fmla="*/ 8619325 w 285054"/>
              <a:gd name="T33" fmla="*/ 4527378 h 280629"/>
              <a:gd name="T34" fmla="*/ 9362500 w 285054"/>
              <a:gd name="T35" fmla="*/ 4527378 h 280629"/>
              <a:gd name="T36" fmla="*/ 9335883 w 285054"/>
              <a:gd name="T37" fmla="*/ 5019219 h 280629"/>
              <a:gd name="T38" fmla="*/ 9481877 w 285054"/>
              <a:gd name="T39" fmla="*/ 5550848 h 280629"/>
              <a:gd name="T40" fmla="*/ 8844962 w 285054"/>
              <a:gd name="T41" fmla="*/ 5510959 h 280629"/>
              <a:gd name="T42" fmla="*/ 8619325 w 285054"/>
              <a:gd name="T43" fmla="*/ 5285024 h 280629"/>
              <a:gd name="T44" fmla="*/ 8619325 w 285054"/>
              <a:gd name="T45" fmla="*/ 4527378 h 280629"/>
              <a:gd name="T46" fmla="*/ 5231738 w 285054"/>
              <a:gd name="T47" fmla="*/ 4793268 h 280629"/>
              <a:gd name="T48" fmla="*/ 5716915 w 285054"/>
              <a:gd name="T49" fmla="*/ 4753329 h 280629"/>
              <a:gd name="T50" fmla="*/ 5716915 w 285054"/>
              <a:gd name="T51" fmla="*/ 5510959 h 280629"/>
              <a:gd name="T52" fmla="*/ 5231738 w 285054"/>
              <a:gd name="T53" fmla="*/ 5258419 h 280629"/>
              <a:gd name="T54" fmla="*/ 4746506 w 285054"/>
              <a:gd name="T55" fmla="*/ 5510959 h 280629"/>
              <a:gd name="T56" fmla="*/ 4746506 w 285054"/>
              <a:gd name="T57" fmla="*/ 4753329 h 280629"/>
              <a:gd name="T58" fmla="*/ 10534428 w 285054"/>
              <a:gd name="T59" fmla="*/ 4967648 h 280629"/>
              <a:gd name="T60" fmla="*/ 7480296 w 285054"/>
              <a:gd name="T61" fmla="*/ 6411658 h 280629"/>
              <a:gd name="T62" fmla="*/ 9100318 w 285054"/>
              <a:gd name="T63" fmla="*/ 6089394 h 280629"/>
              <a:gd name="T64" fmla="*/ 9047218 w 285054"/>
              <a:gd name="T65" fmla="*/ 3923315 h 280629"/>
              <a:gd name="T66" fmla="*/ 8487263 w 285054"/>
              <a:gd name="T67" fmla="*/ 3613869 h 280629"/>
              <a:gd name="T68" fmla="*/ 8318323 w 285054"/>
              <a:gd name="T69" fmla="*/ 3779029 h 280629"/>
              <a:gd name="T70" fmla="*/ 8069555 w 285054"/>
              <a:gd name="T71" fmla="*/ 3779029 h 280629"/>
              <a:gd name="T72" fmla="*/ 7900604 w 285054"/>
              <a:gd name="T73" fmla="*/ 3613869 h 280629"/>
              <a:gd name="T74" fmla="*/ 7279418 w 285054"/>
              <a:gd name="T75" fmla="*/ 3944223 h 280629"/>
              <a:gd name="T76" fmla="*/ 6668612 w 285054"/>
              <a:gd name="T77" fmla="*/ 3613869 h 280629"/>
              <a:gd name="T78" fmla="*/ 6499644 w 285054"/>
              <a:gd name="T79" fmla="*/ 3779029 h 280629"/>
              <a:gd name="T80" fmla="*/ 3298376 w 285054"/>
              <a:gd name="T81" fmla="*/ 2517433 h 280629"/>
              <a:gd name="T82" fmla="*/ 3683556 w 285054"/>
              <a:gd name="T83" fmla="*/ 2150308 h 280629"/>
              <a:gd name="T84" fmla="*/ 3683556 w 285054"/>
              <a:gd name="T85" fmla="*/ 3199163 h 280629"/>
              <a:gd name="T86" fmla="*/ 5264942 w 285054"/>
              <a:gd name="T87" fmla="*/ 0 h 280629"/>
              <a:gd name="T88" fmla="*/ 4624925 w 285054"/>
              <a:gd name="T89" fmla="*/ 1461640 h 280629"/>
              <a:gd name="T90" fmla="*/ 2478248 w 285054"/>
              <a:gd name="T91" fmla="*/ 2586905 h 280629"/>
              <a:gd name="T92" fmla="*/ 6251583 w 285054"/>
              <a:gd name="T93" fmla="*/ 3789806 h 280629"/>
              <a:gd name="T94" fmla="*/ 2158239 w 285054"/>
              <a:gd name="T95" fmla="*/ 2586905 h 280629"/>
              <a:gd name="T96" fmla="*/ 4624925 w 285054"/>
              <a:gd name="T97" fmla="*/ 1151225 h 280629"/>
              <a:gd name="T98" fmla="*/ 5264942 w 285054"/>
              <a:gd name="T99" fmla="*/ 0 h 28062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5054" h="280629">
                <a:moveTo>
                  <a:pt x="39168" y="199209"/>
                </a:moveTo>
                <a:cubicBezTo>
                  <a:pt x="33725" y="199209"/>
                  <a:pt x="29371" y="203563"/>
                  <a:pt x="29371" y="209369"/>
                </a:cubicBezTo>
                <a:cubicBezTo>
                  <a:pt x="29371" y="214811"/>
                  <a:pt x="33725" y="219529"/>
                  <a:pt x="39168" y="219529"/>
                </a:cubicBezTo>
                <a:cubicBezTo>
                  <a:pt x="44974" y="219529"/>
                  <a:pt x="49328" y="214811"/>
                  <a:pt x="49328" y="209369"/>
                </a:cubicBezTo>
                <a:cubicBezTo>
                  <a:pt x="49328" y="203563"/>
                  <a:pt x="44974" y="199209"/>
                  <a:pt x="39168" y="199209"/>
                </a:cubicBezTo>
                <a:close/>
                <a:moveTo>
                  <a:pt x="39168" y="190500"/>
                </a:moveTo>
                <a:cubicBezTo>
                  <a:pt x="49691" y="190500"/>
                  <a:pt x="58037" y="198846"/>
                  <a:pt x="58037" y="209369"/>
                </a:cubicBezTo>
                <a:cubicBezTo>
                  <a:pt x="58037" y="219529"/>
                  <a:pt x="49691" y="228237"/>
                  <a:pt x="39168" y="228237"/>
                </a:cubicBezTo>
                <a:cubicBezTo>
                  <a:pt x="28645" y="228237"/>
                  <a:pt x="20300" y="219529"/>
                  <a:pt x="20300" y="209369"/>
                </a:cubicBezTo>
                <a:cubicBezTo>
                  <a:pt x="20300" y="198846"/>
                  <a:pt x="28645" y="190500"/>
                  <a:pt x="39168" y="190500"/>
                </a:cubicBezTo>
                <a:close/>
                <a:moveTo>
                  <a:pt x="110333" y="169862"/>
                </a:moveTo>
                <a:lnTo>
                  <a:pt x="172796" y="169862"/>
                </a:lnTo>
                <a:cubicBezTo>
                  <a:pt x="175309" y="169862"/>
                  <a:pt x="177104" y="172060"/>
                  <a:pt x="177104" y="174625"/>
                </a:cubicBezTo>
                <a:cubicBezTo>
                  <a:pt x="177104" y="176823"/>
                  <a:pt x="175309" y="179021"/>
                  <a:pt x="172796" y="179021"/>
                </a:cubicBezTo>
                <a:lnTo>
                  <a:pt x="110333" y="179021"/>
                </a:lnTo>
                <a:cubicBezTo>
                  <a:pt x="107820" y="179021"/>
                  <a:pt x="106025" y="176823"/>
                  <a:pt x="106025" y="174625"/>
                </a:cubicBezTo>
                <a:cubicBezTo>
                  <a:pt x="106025" y="172060"/>
                  <a:pt x="107820" y="169862"/>
                  <a:pt x="110333" y="169862"/>
                </a:cubicBezTo>
                <a:close/>
                <a:moveTo>
                  <a:pt x="40212" y="169862"/>
                </a:moveTo>
                <a:lnTo>
                  <a:pt x="81121" y="169862"/>
                </a:lnTo>
                <a:cubicBezTo>
                  <a:pt x="83633" y="169862"/>
                  <a:pt x="85427" y="172013"/>
                  <a:pt x="85427" y="174164"/>
                </a:cubicBezTo>
                <a:cubicBezTo>
                  <a:pt x="85427" y="176673"/>
                  <a:pt x="83633" y="178824"/>
                  <a:pt x="81121" y="178824"/>
                </a:cubicBezTo>
                <a:lnTo>
                  <a:pt x="40212" y="178824"/>
                </a:lnTo>
                <a:cubicBezTo>
                  <a:pt x="23347" y="178824"/>
                  <a:pt x="8993" y="191729"/>
                  <a:pt x="8634" y="207860"/>
                </a:cubicBezTo>
                <a:cubicBezTo>
                  <a:pt x="8275" y="216104"/>
                  <a:pt x="11505" y="223991"/>
                  <a:pt x="17246" y="229726"/>
                </a:cubicBezTo>
                <a:cubicBezTo>
                  <a:pt x="22988" y="235820"/>
                  <a:pt x="30523" y="239046"/>
                  <a:pt x="38777" y="239046"/>
                </a:cubicBezTo>
                <a:lnTo>
                  <a:pt x="123823" y="239046"/>
                </a:lnTo>
                <a:cubicBezTo>
                  <a:pt x="135666" y="239046"/>
                  <a:pt x="145354" y="248725"/>
                  <a:pt x="145354" y="260554"/>
                </a:cubicBezTo>
                <a:lnTo>
                  <a:pt x="145354" y="276327"/>
                </a:lnTo>
                <a:cubicBezTo>
                  <a:pt x="145354" y="278478"/>
                  <a:pt x="143560" y="280629"/>
                  <a:pt x="141048" y="280629"/>
                </a:cubicBezTo>
                <a:cubicBezTo>
                  <a:pt x="138536" y="280629"/>
                  <a:pt x="136742" y="278478"/>
                  <a:pt x="136742" y="276327"/>
                </a:cubicBezTo>
                <a:lnTo>
                  <a:pt x="136742" y="260554"/>
                </a:lnTo>
                <a:cubicBezTo>
                  <a:pt x="136742" y="253385"/>
                  <a:pt x="131001" y="247650"/>
                  <a:pt x="123823" y="247650"/>
                </a:cubicBezTo>
                <a:lnTo>
                  <a:pt x="38777" y="247650"/>
                </a:lnTo>
                <a:cubicBezTo>
                  <a:pt x="28370" y="247650"/>
                  <a:pt x="18323" y="243706"/>
                  <a:pt x="11146" y="235820"/>
                </a:cubicBezTo>
                <a:cubicBezTo>
                  <a:pt x="3610" y="228292"/>
                  <a:pt x="-337" y="218255"/>
                  <a:pt x="22" y="207860"/>
                </a:cubicBezTo>
                <a:cubicBezTo>
                  <a:pt x="739" y="186710"/>
                  <a:pt x="18682" y="169862"/>
                  <a:pt x="40212" y="169862"/>
                </a:cubicBezTo>
                <a:close/>
                <a:moveTo>
                  <a:pt x="188385" y="155575"/>
                </a:moveTo>
                <a:cubicBezTo>
                  <a:pt x="191052" y="155575"/>
                  <a:pt x="192957" y="157732"/>
                  <a:pt x="192957" y="159888"/>
                </a:cubicBezTo>
                <a:lnTo>
                  <a:pt x="192957" y="189002"/>
                </a:lnTo>
                <a:cubicBezTo>
                  <a:pt x="192957" y="191159"/>
                  <a:pt x="191052" y="193316"/>
                  <a:pt x="188385" y="193316"/>
                </a:cubicBezTo>
                <a:cubicBezTo>
                  <a:pt x="185718" y="193316"/>
                  <a:pt x="183813" y="191159"/>
                  <a:pt x="183813" y="189002"/>
                </a:cubicBezTo>
                <a:lnTo>
                  <a:pt x="183813" y="159888"/>
                </a:lnTo>
                <a:cubicBezTo>
                  <a:pt x="183813" y="157732"/>
                  <a:pt x="185718" y="155575"/>
                  <a:pt x="188385" y="155575"/>
                </a:cubicBezTo>
                <a:close/>
                <a:moveTo>
                  <a:pt x="96310" y="155575"/>
                </a:moveTo>
                <a:cubicBezTo>
                  <a:pt x="98977" y="155575"/>
                  <a:pt x="100882" y="157732"/>
                  <a:pt x="100882" y="159888"/>
                </a:cubicBezTo>
                <a:lnTo>
                  <a:pt x="100882" y="189002"/>
                </a:lnTo>
                <a:cubicBezTo>
                  <a:pt x="100882" y="191159"/>
                  <a:pt x="98977" y="193316"/>
                  <a:pt x="96310" y="193316"/>
                </a:cubicBezTo>
                <a:cubicBezTo>
                  <a:pt x="93643" y="193316"/>
                  <a:pt x="91738" y="191159"/>
                  <a:pt x="91738" y="189002"/>
                </a:cubicBezTo>
                <a:lnTo>
                  <a:pt x="91738" y="159888"/>
                </a:lnTo>
                <a:cubicBezTo>
                  <a:pt x="91738" y="157732"/>
                  <a:pt x="93643" y="155575"/>
                  <a:pt x="96310" y="155575"/>
                </a:cubicBezTo>
                <a:close/>
                <a:moveTo>
                  <a:pt x="233234" y="125296"/>
                </a:moveTo>
                <a:cubicBezTo>
                  <a:pt x="235029" y="123825"/>
                  <a:pt x="237542" y="123825"/>
                  <a:pt x="239338" y="125296"/>
                </a:cubicBezTo>
                <a:lnTo>
                  <a:pt x="246519" y="132653"/>
                </a:lnTo>
                <a:lnTo>
                  <a:pt x="253342" y="125296"/>
                </a:lnTo>
                <a:cubicBezTo>
                  <a:pt x="255137" y="123825"/>
                  <a:pt x="257650" y="123825"/>
                  <a:pt x="259446" y="125296"/>
                </a:cubicBezTo>
                <a:cubicBezTo>
                  <a:pt x="261241" y="127136"/>
                  <a:pt x="261241" y="130078"/>
                  <a:pt x="259446" y="131549"/>
                </a:cubicBezTo>
                <a:lnTo>
                  <a:pt x="252623" y="138906"/>
                </a:lnTo>
                <a:lnTo>
                  <a:pt x="259446" y="146263"/>
                </a:lnTo>
                <a:cubicBezTo>
                  <a:pt x="261241" y="148102"/>
                  <a:pt x="261241" y="150677"/>
                  <a:pt x="259446" y="152516"/>
                </a:cubicBezTo>
                <a:cubicBezTo>
                  <a:pt x="258728" y="153251"/>
                  <a:pt x="257650" y="153619"/>
                  <a:pt x="256573" y="153619"/>
                </a:cubicBezTo>
                <a:cubicBezTo>
                  <a:pt x="255496" y="153619"/>
                  <a:pt x="254060" y="153251"/>
                  <a:pt x="253342" y="152516"/>
                </a:cubicBezTo>
                <a:lnTo>
                  <a:pt x="246519" y="145527"/>
                </a:lnTo>
                <a:lnTo>
                  <a:pt x="239338" y="152516"/>
                </a:lnTo>
                <a:cubicBezTo>
                  <a:pt x="238261" y="153251"/>
                  <a:pt x="237542" y="153619"/>
                  <a:pt x="236106" y="153619"/>
                </a:cubicBezTo>
                <a:cubicBezTo>
                  <a:pt x="235029" y="153619"/>
                  <a:pt x="233952" y="153251"/>
                  <a:pt x="233234" y="152516"/>
                </a:cubicBezTo>
                <a:cubicBezTo>
                  <a:pt x="231438" y="150677"/>
                  <a:pt x="231438" y="148102"/>
                  <a:pt x="233234" y="146263"/>
                </a:cubicBezTo>
                <a:lnTo>
                  <a:pt x="240415" y="138906"/>
                </a:lnTo>
                <a:lnTo>
                  <a:pt x="233234" y="131549"/>
                </a:lnTo>
                <a:cubicBezTo>
                  <a:pt x="231438" y="130078"/>
                  <a:pt x="231438" y="127136"/>
                  <a:pt x="233234" y="125296"/>
                </a:cubicBezTo>
                <a:close/>
                <a:moveTo>
                  <a:pt x="128437" y="125296"/>
                </a:moveTo>
                <a:cubicBezTo>
                  <a:pt x="129857" y="123825"/>
                  <a:pt x="132696" y="123825"/>
                  <a:pt x="134470" y="125296"/>
                </a:cubicBezTo>
                <a:lnTo>
                  <a:pt x="141567" y="132653"/>
                </a:lnTo>
                <a:lnTo>
                  <a:pt x="148664" y="125296"/>
                </a:lnTo>
                <a:cubicBezTo>
                  <a:pt x="150083" y="123825"/>
                  <a:pt x="152922" y="123825"/>
                  <a:pt x="154696" y="125296"/>
                </a:cubicBezTo>
                <a:cubicBezTo>
                  <a:pt x="156470" y="127136"/>
                  <a:pt x="156470" y="130078"/>
                  <a:pt x="154696" y="131549"/>
                </a:cubicBezTo>
                <a:lnTo>
                  <a:pt x="147599" y="138906"/>
                </a:lnTo>
                <a:lnTo>
                  <a:pt x="154696" y="146263"/>
                </a:lnTo>
                <a:cubicBezTo>
                  <a:pt x="156470" y="148102"/>
                  <a:pt x="156470" y="150677"/>
                  <a:pt x="154696" y="152516"/>
                </a:cubicBezTo>
                <a:cubicBezTo>
                  <a:pt x="153632" y="153251"/>
                  <a:pt x="152922" y="153619"/>
                  <a:pt x="151503" y="153619"/>
                </a:cubicBezTo>
                <a:cubicBezTo>
                  <a:pt x="150438" y="153619"/>
                  <a:pt x="149373" y="153251"/>
                  <a:pt x="148664" y="152516"/>
                </a:cubicBezTo>
                <a:lnTo>
                  <a:pt x="141567" y="145527"/>
                </a:lnTo>
                <a:lnTo>
                  <a:pt x="134470" y="152516"/>
                </a:lnTo>
                <a:cubicBezTo>
                  <a:pt x="133405" y="153251"/>
                  <a:pt x="132696" y="153619"/>
                  <a:pt x="131631" y="153619"/>
                </a:cubicBezTo>
                <a:cubicBezTo>
                  <a:pt x="130567" y="153619"/>
                  <a:pt x="129147" y="153251"/>
                  <a:pt x="128437" y="152516"/>
                </a:cubicBezTo>
                <a:cubicBezTo>
                  <a:pt x="126663" y="150677"/>
                  <a:pt x="126663" y="148102"/>
                  <a:pt x="128437" y="146263"/>
                </a:cubicBezTo>
                <a:lnTo>
                  <a:pt x="135534" y="138906"/>
                </a:lnTo>
                <a:lnTo>
                  <a:pt x="128437" y="131549"/>
                </a:lnTo>
                <a:cubicBezTo>
                  <a:pt x="126663" y="130078"/>
                  <a:pt x="126663" y="127136"/>
                  <a:pt x="128437" y="125296"/>
                </a:cubicBezTo>
                <a:close/>
                <a:moveTo>
                  <a:pt x="244811" y="100012"/>
                </a:moveTo>
                <a:cubicBezTo>
                  <a:pt x="266370" y="100012"/>
                  <a:pt x="284335" y="116783"/>
                  <a:pt x="285054" y="137479"/>
                </a:cubicBezTo>
                <a:cubicBezTo>
                  <a:pt x="285054" y="147827"/>
                  <a:pt x="281461" y="157818"/>
                  <a:pt x="273915" y="165668"/>
                </a:cubicBezTo>
                <a:cubicBezTo>
                  <a:pt x="266729" y="173161"/>
                  <a:pt x="256668" y="177443"/>
                  <a:pt x="246248" y="177443"/>
                </a:cubicBezTo>
                <a:lnTo>
                  <a:pt x="202412" y="177443"/>
                </a:lnTo>
                <a:cubicBezTo>
                  <a:pt x="199897" y="177443"/>
                  <a:pt x="198100" y="175302"/>
                  <a:pt x="198100" y="172805"/>
                </a:cubicBezTo>
                <a:cubicBezTo>
                  <a:pt x="198100" y="170664"/>
                  <a:pt x="199897" y="168523"/>
                  <a:pt x="202412" y="168523"/>
                </a:cubicBezTo>
                <a:lnTo>
                  <a:pt x="246248" y="168523"/>
                </a:lnTo>
                <a:cubicBezTo>
                  <a:pt x="254512" y="168523"/>
                  <a:pt x="262058" y="165668"/>
                  <a:pt x="267807" y="159602"/>
                </a:cubicBezTo>
                <a:cubicBezTo>
                  <a:pt x="273556" y="153536"/>
                  <a:pt x="276430" y="145686"/>
                  <a:pt x="276430" y="137836"/>
                </a:cubicBezTo>
                <a:cubicBezTo>
                  <a:pt x="275712" y="121778"/>
                  <a:pt x="261699" y="108576"/>
                  <a:pt x="244811" y="108576"/>
                </a:cubicBezTo>
                <a:cubicBezTo>
                  <a:pt x="242296" y="108576"/>
                  <a:pt x="240140" y="106792"/>
                  <a:pt x="240140" y="104294"/>
                </a:cubicBezTo>
                <a:cubicBezTo>
                  <a:pt x="240140" y="102153"/>
                  <a:pt x="242296" y="100012"/>
                  <a:pt x="244811" y="100012"/>
                </a:cubicBezTo>
                <a:close/>
                <a:moveTo>
                  <a:pt x="229660" y="100012"/>
                </a:moveTo>
                <a:cubicBezTo>
                  <a:pt x="232327" y="100012"/>
                  <a:pt x="234232" y="102298"/>
                  <a:pt x="234232" y="104584"/>
                </a:cubicBezTo>
                <a:cubicBezTo>
                  <a:pt x="234232" y="107251"/>
                  <a:pt x="232327" y="109156"/>
                  <a:pt x="229660" y="109156"/>
                </a:cubicBezTo>
                <a:cubicBezTo>
                  <a:pt x="227374" y="109156"/>
                  <a:pt x="225088" y="107251"/>
                  <a:pt x="225088" y="104584"/>
                </a:cubicBezTo>
                <a:cubicBezTo>
                  <a:pt x="225088" y="102298"/>
                  <a:pt x="227374" y="100012"/>
                  <a:pt x="229660" y="100012"/>
                </a:cubicBezTo>
                <a:close/>
                <a:moveTo>
                  <a:pt x="213785" y="100012"/>
                </a:moveTo>
                <a:cubicBezTo>
                  <a:pt x="216452" y="100012"/>
                  <a:pt x="218357" y="102298"/>
                  <a:pt x="218357" y="104584"/>
                </a:cubicBezTo>
                <a:cubicBezTo>
                  <a:pt x="218357" y="107251"/>
                  <a:pt x="216452" y="109156"/>
                  <a:pt x="213785" y="109156"/>
                </a:cubicBezTo>
                <a:cubicBezTo>
                  <a:pt x="211118" y="109156"/>
                  <a:pt x="209213" y="107251"/>
                  <a:pt x="209213" y="104584"/>
                </a:cubicBezTo>
                <a:cubicBezTo>
                  <a:pt x="209213" y="102298"/>
                  <a:pt x="211118" y="100012"/>
                  <a:pt x="213785" y="100012"/>
                </a:cubicBezTo>
                <a:close/>
                <a:moveTo>
                  <a:pt x="196976" y="100012"/>
                </a:moveTo>
                <a:cubicBezTo>
                  <a:pt x="199291" y="100012"/>
                  <a:pt x="200945" y="102298"/>
                  <a:pt x="200945" y="104584"/>
                </a:cubicBezTo>
                <a:cubicBezTo>
                  <a:pt x="200945" y="107251"/>
                  <a:pt x="199291" y="109156"/>
                  <a:pt x="196976" y="109156"/>
                </a:cubicBezTo>
                <a:cubicBezTo>
                  <a:pt x="194992" y="109156"/>
                  <a:pt x="193338" y="107251"/>
                  <a:pt x="193338" y="104584"/>
                </a:cubicBezTo>
                <a:cubicBezTo>
                  <a:pt x="193338" y="102298"/>
                  <a:pt x="194992" y="100012"/>
                  <a:pt x="196976" y="100012"/>
                </a:cubicBezTo>
                <a:close/>
                <a:moveTo>
                  <a:pt x="180447" y="100012"/>
                </a:moveTo>
                <a:cubicBezTo>
                  <a:pt x="183114" y="100012"/>
                  <a:pt x="185019" y="102298"/>
                  <a:pt x="185019" y="104584"/>
                </a:cubicBezTo>
                <a:cubicBezTo>
                  <a:pt x="185019" y="107251"/>
                  <a:pt x="183114" y="109156"/>
                  <a:pt x="180447" y="109156"/>
                </a:cubicBezTo>
                <a:cubicBezTo>
                  <a:pt x="177780" y="109156"/>
                  <a:pt x="175875" y="107251"/>
                  <a:pt x="175875" y="104584"/>
                </a:cubicBezTo>
                <a:cubicBezTo>
                  <a:pt x="175875" y="102298"/>
                  <a:pt x="177780" y="100012"/>
                  <a:pt x="180447" y="100012"/>
                </a:cubicBezTo>
                <a:close/>
                <a:moveTo>
                  <a:pt x="99675" y="59509"/>
                </a:moveTo>
                <a:cubicBezTo>
                  <a:pt x="93924" y="59509"/>
                  <a:pt x="89251" y="64226"/>
                  <a:pt x="89251" y="69669"/>
                </a:cubicBezTo>
                <a:cubicBezTo>
                  <a:pt x="89251" y="75111"/>
                  <a:pt x="93924" y="79829"/>
                  <a:pt x="99675" y="79829"/>
                </a:cubicBezTo>
                <a:cubicBezTo>
                  <a:pt x="105066" y="79829"/>
                  <a:pt x="109739" y="75111"/>
                  <a:pt x="109739" y="69669"/>
                </a:cubicBezTo>
                <a:cubicBezTo>
                  <a:pt x="109739" y="64226"/>
                  <a:pt x="105066" y="59509"/>
                  <a:pt x="99675" y="59509"/>
                </a:cubicBezTo>
                <a:close/>
                <a:moveTo>
                  <a:pt x="99675" y="50800"/>
                </a:moveTo>
                <a:cubicBezTo>
                  <a:pt x="109739" y="50800"/>
                  <a:pt x="118365" y="59146"/>
                  <a:pt x="118365" y="69669"/>
                </a:cubicBezTo>
                <a:cubicBezTo>
                  <a:pt x="118365" y="80191"/>
                  <a:pt x="109739" y="88537"/>
                  <a:pt x="99675" y="88537"/>
                </a:cubicBezTo>
                <a:cubicBezTo>
                  <a:pt x="89251" y="88537"/>
                  <a:pt x="80625" y="80191"/>
                  <a:pt x="80625" y="69669"/>
                </a:cubicBezTo>
                <a:cubicBezTo>
                  <a:pt x="80625" y="59146"/>
                  <a:pt x="89251" y="50800"/>
                  <a:pt x="99675" y="50800"/>
                </a:cubicBezTo>
                <a:close/>
                <a:moveTo>
                  <a:pt x="142466" y="0"/>
                </a:moveTo>
                <a:lnTo>
                  <a:pt x="154011" y="20046"/>
                </a:lnTo>
                <a:lnTo>
                  <a:pt x="146795" y="20046"/>
                </a:lnTo>
                <a:cubicBezTo>
                  <a:pt x="146074" y="31143"/>
                  <a:pt x="136693" y="40450"/>
                  <a:pt x="125147" y="40450"/>
                </a:cubicBezTo>
                <a:lnTo>
                  <a:pt x="97366" y="40450"/>
                </a:lnTo>
                <a:cubicBezTo>
                  <a:pt x="89067" y="40450"/>
                  <a:pt x="81491" y="43672"/>
                  <a:pt x="75718" y="49399"/>
                </a:cubicBezTo>
                <a:cubicBezTo>
                  <a:pt x="69945" y="55484"/>
                  <a:pt x="67059" y="63002"/>
                  <a:pt x="67059" y="71593"/>
                </a:cubicBezTo>
                <a:cubicBezTo>
                  <a:pt x="67420" y="87701"/>
                  <a:pt x="81851" y="100588"/>
                  <a:pt x="99170" y="100588"/>
                </a:cubicBezTo>
                <a:lnTo>
                  <a:pt x="165196" y="100588"/>
                </a:lnTo>
                <a:cubicBezTo>
                  <a:pt x="167360" y="100588"/>
                  <a:pt x="169164" y="102736"/>
                  <a:pt x="169164" y="104883"/>
                </a:cubicBezTo>
                <a:cubicBezTo>
                  <a:pt x="169164" y="107389"/>
                  <a:pt x="167360" y="109179"/>
                  <a:pt x="165196" y="109179"/>
                </a:cubicBezTo>
                <a:lnTo>
                  <a:pt x="99170" y="109179"/>
                </a:lnTo>
                <a:cubicBezTo>
                  <a:pt x="77522" y="109179"/>
                  <a:pt x="59121" y="92355"/>
                  <a:pt x="58400" y="71593"/>
                </a:cubicBezTo>
                <a:cubicBezTo>
                  <a:pt x="58400" y="60854"/>
                  <a:pt x="62008" y="51189"/>
                  <a:pt x="69584" y="43672"/>
                </a:cubicBezTo>
                <a:cubicBezTo>
                  <a:pt x="76800" y="36154"/>
                  <a:pt x="86903" y="31859"/>
                  <a:pt x="97366" y="31859"/>
                </a:cubicBezTo>
                <a:lnTo>
                  <a:pt x="125147" y="31859"/>
                </a:lnTo>
                <a:cubicBezTo>
                  <a:pt x="132003" y="31859"/>
                  <a:pt x="137414" y="26489"/>
                  <a:pt x="137775" y="20046"/>
                </a:cubicBezTo>
                <a:lnTo>
                  <a:pt x="130559" y="20046"/>
                </a:lnTo>
                <a:lnTo>
                  <a:pt x="142466" y="0"/>
                </a:lnTo>
                <a:close/>
              </a:path>
            </a:pathLst>
          </a:custGeom>
          <a:solidFill>
            <a:schemeClr val="bg1"/>
          </a:solidFill>
          <a:ln>
            <a:noFill/>
          </a:ln>
        </p:spPr>
        <p:txBody>
          <a:bodyPr anchor="ctr"/>
          <a:lstStyle/>
          <a:p>
            <a:pPr algn="l" rtl="0"/>
            <a:endParaRPr lang="en-GB" sz="1400" dirty="0">
              <a:latin typeface="+mj-lt"/>
            </a:endParaRPr>
          </a:p>
        </p:txBody>
      </p:sp>
      <p:sp>
        <p:nvSpPr>
          <p:cNvPr id="20" name="Freeform 282">
            <a:extLst>
              <a:ext uri="{FF2B5EF4-FFF2-40B4-BE49-F238E27FC236}">
                <a16:creationId xmlns:a16="http://schemas.microsoft.com/office/drawing/2014/main" id="{8C6C6DB1-7B4C-AD4F-FFE6-D5E5DDF0C811}"/>
              </a:ext>
            </a:extLst>
          </p:cNvPr>
          <p:cNvSpPr>
            <a:spLocks noChangeAspect="1"/>
          </p:cNvSpPr>
          <p:nvPr/>
        </p:nvSpPr>
        <p:spPr bwMode="auto">
          <a:xfrm>
            <a:off x="6440318" y="3252244"/>
            <a:ext cx="407291" cy="411064"/>
          </a:xfrm>
          <a:custGeom>
            <a:avLst/>
            <a:gdLst>
              <a:gd name="T0" fmla="*/ 2147483646 w 791"/>
              <a:gd name="T1" fmla="*/ 2147483646 h 792"/>
              <a:gd name="T2" fmla="*/ 2147483646 w 791"/>
              <a:gd name="T3" fmla="*/ 2147483646 h 792"/>
              <a:gd name="T4" fmla="*/ 2147483646 w 791"/>
              <a:gd name="T5" fmla="*/ 2147483646 h 792"/>
              <a:gd name="T6" fmla="*/ 2147483646 w 791"/>
              <a:gd name="T7" fmla="*/ 2147483646 h 792"/>
              <a:gd name="T8" fmla="*/ 2147483646 w 791"/>
              <a:gd name="T9" fmla="*/ 2147483646 h 792"/>
              <a:gd name="T10" fmla="*/ 2147483646 w 791"/>
              <a:gd name="T11" fmla="*/ 2147483646 h 792"/>
              <a:gd name="T12" fmla="*/ 2147483646 w 791"/>
              <a:gd name="T13" fmla="*/ 2147483646 h 792"/>
              <a:gd name="T14" fmla="*/ 2147483646 w 791"/>
              <a:gd name="T15" fmla="*/ 2147483646 h 792"/>
              <a:gd name="T16" fmla="*/ 2147483646 w 791"/>
              <a:gd name="T17" fmla="*/ 2147483646 h 792"/>
              <a:gd name="T18" fmla="*/ 2147483646 w 791"/>
              <a:gd name="T19" fmla="*/ 2147483646 h 792"/>
              <a:gd name="T20" fmla="*/ 2147483646 w 791"/>
              <a:gd name="T21" fmla="*/ 2147483646 h 792"/>
              <a:gd name="T22" fmla="*/ 2147483646 w 791"/>
              <a:gd name="T23" fmla="*/ 2147483646 h 792"/>
              <a:gd name="T24" fmla="*/ 2147483646 w 791"/>
              <a:gd name="T25" fmla="*/ 2147483646 h 792"/>
              <a:gd name="T26" fmla="*/ 2147483646 w 791"/>
              <a:gd name="T27" fmla="*/ 2147483646 h 792"/>
              <a:gd name="T28" fmla="*/ 2147483646 w 791"/>
              <a:gd name="T29" fmla="*/ 2147483646 h 792"/>
              <a:gd name="T30" fmla="*/ 2147483646 w 791"/>
              <a:gd name="T31" fmla="*/ 2147483646 h 792"/>
              <a:gd name="T32" fmla="*/ 2147483646 w 791"/>
              <a:gd name="T33" fmla="*/ 2147483646 h 792"/>
              <a:gd name="T34" fmla="*/ 2147483646 w 791"/>
              <a:gd name="T35" fmla="*/ 2147483646 h 792"/>
              <a:gd name="T36" fmla="*/ 2147483646 w 791"/>
              <a:gd name="T37" fmla="*/ 2147483646 h 792"/>
              <a:gd name="T38" fmla="*/ 2147483646 w 791"/>
              <a:gd name="T39" fmla="*/ 2147483646 h 792"/>
              <a:gd name="T40" fmla="*/ 2147483646 w 791"/>
              <a:gd name="T41" fmla="*/ 2147483646 h 792"/>
              <a:gd name="T42" fmla="*/ 2147483646 w 791"/>
              <a:gd name="T43" fmla="*/ 2147483646 h 792"/>
              <a:gd name="T44" fmla="*/ 2147483646 w 791"/>
              <a:gd name="T45" fmla="*/ 2147483646 h 792"/>
              <a:gd name="T46" fmla="*/ 2147483646 w 791"/>
              <a:gd name="T47" fmla="*/ 2147483646 h 792"/>
              <a:gd name="T48" fmla="*/ 2147483646 w 791"/>
              <a:gd name="T49" fmla="*/ 2147483646 h 792"/>
              <a:gd name="T50" fmla="*/ 2147483646 w 791"/>
              <a:gd name="T51" fmla="*/ 2147483646 h 792"/>
              <a:gd name="T52" fmla="*/ 2147483646 w 791"/>
              <a:gd name="T53" fmla="*/ 2147483646 h 792"/>
              <a:gd name="T54" fmla="*/ 2147483646 w 791"/>
              <a:gd name="T55" fmla="*/ 2147483646 h 792"/>
              <a:gd name="T56" fmla="*/ 2147483646 w 791"/>
              <a:gd name="T57" fmla="*/ 2147483646 h 792"/>
              <a:gd name="T58" fmla="*/ 2147483646 w 791"/>
              <a:gd name="T59" fmla="*/ 2147483646 h 792"/>
              <a:gd name="T60" fmla="*/ 2147483646 w 791"/>
              <a:gd name="T61" fmla="*/ 2147483646 h 792"/>
              <a:gd name="T62" fmla="*/ 2147483646 w 791"/>
              <a:gd name="T63" fmla="*/ 2147483646 h 792"/>
              <a:gd name="T64" fmla="*/ 2147483646 w 791"/>
              <a:gd name="T65" fmla="*/ 2147483646 h 792"/>
              <a:gd name="T66" fmla="*/ 2147483646 w 791"/>
              <a:gd name="T67" fmla="*/ 2147483646 h 792"/>
              <a:gd name="T68" fmla="*/ 2147483646 w 791"/>
              <a:gd name="T69" fmla="*/ 2147483646 h 792"/>
              <a:gd name="T70" fmla="*/ 2147483646 w 791"/>
              <a:gd name="T71" fmla="*/ 2147483646 h 792"/>
              <a:gd name="T72" fmla="*/ 2147483646 w 791"/>
              <a:gd name="T73" fmla="*/ 2147483646 h 792"/>
              <a:gd name="T74" fmla="*/ 2147483646 w 791"/>
              <a:gd name="T75" fmla="*/ 2147483646 h 792"/>
              <a:gd name="T76" fmla="*/ 0 w 791"/>
              <a:gd name="T77" fmla="*/ 2147483646 h 792"/>
              <a:gd name="T78" fmla="*/ 2147483646 w 791"/>
              <a:gd name="T79" fmla="*/ 2147483646 h 792"/>
              <a:gd name="T80" fmla="*/ 2147483646 w 791"/>
              <a:gd name="T81" fmla="*/ 2147483646 h 792"/>
              <a:gd name="T82" fmla="*/ 2147483646 w 791"/>
              <a:gd name="T83" fmla="*/ 2147483646 h 792"/>
              <a:gd name="T84" fmla="*/ 2147483646 w 791"/>
              <a:gd name="T85" fmla="*/ 2147483646 h 7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91" h="792">
                <a:moveTo>
                  <a:pt x="766" y="767"/>
                </a:moveTo>
                <a:lnTo>
                  <a:pt x="24" y="767"/>
                </a:lnTo>
                <a:lnTo>
                  <a:pt x="24" y="535"/>
                </a:lnTo>
                <a:lnTo>
                  <a:pt x="97" y="657"/>
                </a:lnTo>
                <a:cubicBezTo>
                  <a:pt x="100" y="660"/>
                  <a:pt x="104" y="663"/>
                  <a:pt x="108" y="663"/>
                </a:cubicBezTo>
                <a:lnTo>
                  <a:pt x="682" y="663"/>
                </a:lnTo>
                <a:cubicBezTo>
                  <a:pt x="687" y="663"/>
                  <a:pt x="690" y="660"/>
                  <a:pt x="692" y="657"/>
                </a:cubicBezTo>
                <a:lnTo>
                  <a:pt x="766" y="535"/>
                </a:lnTo>
                <a:lnTo>
                  <a:pt x="766" y="767"/>
                </a:lnTo>
                <a:close/>
                <a:moveTo>
                  <a:pt x="757" y="503"/>
                </a:moveTo>
                <a:lnTo>
                  <a:pt x="675" y="639"/>
                </a:lnTo>
                <a:lnTo>
                  <a:pt x="114" y="639"/>
                </a:lnTo>
                <a:lnTo>
                  <a:pt x="33" y="503"/>
                </a:lnTo>
                <a:lnTo>
                  <a:pt x="757" y="503"/>
                </a:lnTo>
                <a:close/>
                <a:moveTo>
                  <a:pt x="144" y="390"/>
                </a:moveTo>
                <a:lnTo>
                  <a:pt x="144" y="480"/>
                </a:lnTo>
                <a:lnTo>
                  <a:pt x="43" y="480"/>
                </a:lnTo>
                <a:lnTo>
                  <a:pt x="144" y="390"/>
                </a:lnTo>
                <a:close/>
                <a:moveTo>
                  <a:pt x="168" y="376"/>
                </a:moveTo>
                <a:lnTo>
                  <a:pt x="264" y="376"/>
                </a:lnTo>
                <a:lnTo>
                  <a:pt x="264" y="427"/>
                </a:lnTo>
                <a:cubicBezTo>
                  <a:pt x="264" y="434"/>
                  <a:pt x="269" y="440"/>
                  <a:pt x="275" y="440"/>
                </a:cubicBezTo>
                <a:cubicBezTo>
                  <a:pt x="282" y="440"/>
                  <a:pt x="287" y="434"/>
                  <a:pt x="287" y="427"/>
                </a:cubicBezTo>
                <a:lnTo>
                  <a:pt x="287" y="252"/>
                </a:lnTo>
                <a:cubicBezTo>
                  <a:pt x="287" y="245"/>
                  <a:pt x="282" y="240"/>
                  <a:pt x="275" y="240"/>
                </a:cubicBezTo>
                <a:lnTo>
                  <a:pt x="184" y="240"/>
                </a:lnTo>
                <a:lnTo>
                  <a:pt x="395" y="30"/>
                </a:lnTo>
                <a:lnTo>
                  <a:pt x="605" y="240"/>
                </a:lnTo>
                <a:lnTo>
                  <a:pt x="514" y="240"/>
                </a:lnTo>
                <a:cubicBezTo>
                  <a:pt x="508" y="240"/>
                  <a:pt x="503" y="245"/>
                  <a:pt x="503" y="252"/>
                </a:cubicBezTo>
                <a:lnTo>
                  <a:pt x="503" y="427"/>
                </a:lnTo>
                <a:cubicBezTo>
                  <a:pt x="503" y="434"/>
                  <a:pt x="508" y="440"/>
                  <a:pt x="514" y="440"/>
                </a:cubicBezTo>
                <a:cubicBezTo>
                  <a:pt x="521" y="440"/>
                  <a:pt x="527" y="434"/>
                  <a:pt x="527" y="427"/>
                </a:cubicBezTo>
                <a:lnTo>
                  <a:pt x="527" y="376"/>
                </a:lnTo>
                <a:lnTo>
                  <a:pt x="622" y="376"/>
                </a:lnTo>
                <a:lnTo>
                  <a:pt x="622" y="480"/>
                </a:lnTo>
                <a:lnTo>
                  <a:pt x="168" y="480"/>
                </a:lnTo>
                <a:lnTo>
                  <a:pt x="168" y="376"/>
                </a:lnTo>
                <a:close/>
                <a:moveTo>
                  <a:pt x="647" y="390"/>
                </a:moveTo>
                <a:lnTo>
                  <a:pt x="746" y="480"/>
                </a:lnTo>
                <a:lnTo>
                  <a:pt x="647" y="480"/>
                </a:lnTo>
                <a:lnTo>
                  <a:pt x="647" y="390"/>
                </a:lnTo>
                <a:close/>
                <a:moveTo>
                  <a:pt x="786" y="483"/>
                </a:moveTo>
                <a:lnTo>
                  <a:pt x="642" y="355"/>
                </a:lnTo>
                <a:cubicBezTo>
                  <a:pt x="640" y="353"/>
                  <a:pt x="637" y="352"/>
                  <a:pt x="634" y="352"/>
                </a:cubicBezTo>
                <a:lnTo>
                  <a:pt x="527" y="352"/>
                </a:lnTo>
                <a:lnTo>
                  <a:pt x="527" y="264"/>
                </a:lnTo>
                <a:lnTo>
                  <a:pt x="634" y="264"/>
                </a:lnTo>
                <a:cubicBezTo>
                  <a:pt x="639" y="264"/>
                  <a:pt x="644" y="261"/>
                  <a:pt x="645" y="256"/>
                </a:cubicBezTo>
                <a:cubicBezTo>
                  <a:pt x="647" y="252"/>
                  <a:pt x="646" y="247"/>
                  <a:pt x="643" y="243"/>
                </a:cubicBezTo>
                <a:lnTo>
                  <a:pt x="403" y="5"/>
                </a:lnTo>
                <a:cubicBezTo>
                  <a:pt x="399" y="0"/>
                  <a:pt x="391" y="0"/>
                  <a:pt x="386" y="5"/>
                </a:cubicBezTo>
                <a:lnTo>
                  <a:pt x="147" y="243"/>
                </a:lnTo>
                <a:cubicBezTo>
                  <a:pt x="144" y="247"/>
                  <a:pt x="143" y="252"/>
                  <a:pt x="144" y="256"/>
                </a:cubicBezTo>
                <a:cubicBezTo>
                  <a:pt x="147" y="261"/>
                  <a:pt x="151" y="264"/>
                  <a:pt x="155" y="264"/>
                </a:cubicBezTo>
                <a:lnTo>
                  <a:pt x="264" y="264"/>
                </a:lnTo>
                <a:lnTo>
                  <a:pt x="264" y="352"/>
                </a:lnTo>
                <a:lnTo>
                  <a:pt x="155" y="352"/>
                </a:lnTo>
                <a:cubicBezTo>
                  <a:pt x="153" y="352"/>
                  <a:pt x="150" y="353"/>
                  <a:pt x="148" y="355"/>
                </a:cubicBezTo>
                <a:lnTo>
                  <a:pt x="4" y="483"/>
                </a:lnTo>
                <a:cubicBezTo>
                  <a:pt x="2" y="485"/>
                  <a:pt x="0" y="488"/>
                  <a:pt x="0" y="491"/>
                </a:cubicBezTo>
                <a:lnTo>
                  <a:pt x="0" y="779"/>
                </a:lnTo>
                <a:cubicBezTo>
                  <a:pt x="0" y="785"/>
                  <a:pt x="5" y="791"/>
                  <a:pt x="12" y="791"/>
                </a:cubicBezTo>
                <a:lnTo>
                  <a:pt x="778" y="791"/>
                </a:lnTo>
                <a:cubicBezTo>
                  <a:pt x="784" y="791"/>
                  <a:pt x="790" y="785"/>
                  <a:pt x="790" y="779"/>
                </a:cubicBezTo>
                <a:lnTo>
                  <a:pt x="790" y="491"/>
                </a:lnTo>
                <a:cubicBezTo>
                  <a:pt x="790" y="488"/>
                  <a:pt x="789" y="485"/>
                  <a:pt x="786" y="483"/>
                </a:cubicBezTo>
                <a:close/>
              </a:path>
            </a:pathLst>
          </a:custGeom>
          <a:solidFill>
            <a:schemeClr val="bg1"/>
          </a:solidFill>
          <a:ln>
            <a:noFill/>
          </a:ln>
        </p:spPr>
        <p:txBody>
          <a:bodyPr wrap="none" anchor="ctr"/>
          <a:lstStyle/>
          <a:p>
            <a:pPr algn="l" rtl="0"/>
            <a:endParaRPr lang="en-GB" sz="1400" dirty="0">
              <a:latin typeface="+mj-lt"/>
            </a:endParaRPr>
          </a:p>
        </p:txBody>
      </p:sp>
      <p:sp>
        <p:nvSpPr>
          <p:cNvPr id="23" name="Freeform 954">
            <a:extLst>
              <a:ext uri="{FF2B5EF4-FFF2-40B4-BE49-F238E27FC236}">
                <a16:creationId xmlns:a16="http://schemas.microsoft.com/office/drawing/2014/main" id="{CEFD4388-91F6-9F27-B002-081F23EFD0FB}"/>
              </a:ext>
            </a:extLst>
          </p:cNvPr>
          <p:cNvSpPr>
            <a:spLocks noChangeAspect="1"/>
          </p:cNvSpPr>
          <p:nvPr/>
        </p:nvSpPr>
        <p:spPr bwMode="auto">
          <a:xfrm rot="16200000">
            <a:off x="4950236" y="5782997"/>
            <a:ext cx="408548" cy="408548"/>
          </a:xfrm>
          <a:custGeom>
            <a:avLst/>
            <a:gdLst>
              <a:gd name="T0" fmla="*/ 2453975 w 283805"/>
              <a:gd name="T1" fmla="*/ 8432546 h 283804"/>
              <a:gd name="T2" fmla="*/ 4424983 w 283805"/>
              <a:gd name="T3" fmla="*/ 6448347 h 283804"/>
              <a:gd name="T4" fmla="*/ 4790451 w 283805"/>
              <a:gd name="T5" fmla="*/ 6813900 h 283804"/>
              <a:gd name="T6" fmla="*/ 10155741 w 283805"/>
              <a:gd name="T7" fmla="*/ 4960701 h 283804"/>
              <a:gd name="T8" fmla="*/ 6212717 w 283805"/>
              <a:gd name="T9" fmla="*/ 5237155 h 283804"/>
              <a:gd name="T10" fmla="*/ 5978320 w 283805"/>
              <a:gd name="T11" fmla="*/ 3015310 h 283804"/>
              <a:gd name="T12" fmla="*/ 6356860 w 283805"/>
              <a:gd name="T13" fmla="*/ 3380870 h 283804"/>
              <a:gd name="T14" fmla="*/ 4617686 w 283805"/>
              <a:gd name="T15" fmla="*/ 2711152 h 283804"/>
              <a:gd name="T16" fmla="*/ 1598931 w 283805"/>
              <a:gd name="T17" fmla="*/ 3043324 h 283804"/>
              <a:gd name="T18" fmla="*/ 3259251 w 283805"/>
              <a:gd name="T19" fmla="*/ 1672744 h 283804"/>
              <a:gd name="T20" fmla="*/ 5885836 w 283805"/>
              <a:gd name="T21" fmla="*/ 1949182 h 283804"/>
              <a:gd name="T22" fmla="*/ 3259251 w 283805"/>
              <a:gd name="T23" fmla="*/ 1672744 h 283804"/>
              <a:gd name="T24" fmla="*/ 2582739 w 283805"/>
              <a:gd name="T25" fmla="*/ 1805027 h 283804"/>
              <a:gd name="T26" fmla="*/ 1441996 w 283805"/>
              <a:gd name="T27" fmla="*/ 1805027 h 283804"/>
              <a:gd name="T28" fmla="*/ 7492411 w 283805"/>
              <a:gd name="T29" fmla="*/ 1292257 h 283804"/>
              <a:gd name="T30" fmla="*/ 7857921 w 283805"/>
              <a:gd name="T31" fmla="*/ 926706 h 283804"/>
              <a:gd name="T32" fmla="*/ 6043633 w 283805"/>
              <a:gd name="T33" fmla="*/ 721020 h 283804"/>
              <a:gd name="T34" fmla="*/ 4441470 w 283805"/>
              <a:gd name="T35" fmla="*/ 721020 h 283804"/>
              <a:gd name="T36" fmla="*/ 3750821 w 283805"/>
              <a:gd name="T37" fmla="*/ 576793 h 283804"/>
              <a:gd name="T38" fmla="*/ 1600421 w 283805"/>
              <a:gd name="T39" fmla="*/ 853275 h 283804"/>
              <a:gd name="T40" fmla="*/ 783087 w 283805"/>
              <a:gd name="T41" fmla="*/ 0 h 283804"/>
              <a:gd name="T42" fmla="*/ 1788215 w 283805"/>
              <a:gd name="T43" fmla="*/ 7910345 h 283804"/>
              <a:gd name="T44" fmla="*/ 3798455 w 283805"/>
              <a:gd name="T45" fmla="*/ 7035783 h 283804"/>
              <a:gd name="T46" fmla="*/ 4555514 w 283805"/>
              <a:gd name="T47" fmla="*/ 6161185 h 283804"/>
              <a:gd name="T48" fmla="*/ 1461977 w 283805"/>
              <a:gd name="T49" fmla="*/ 5156126 h 283804"/>
              <a:gd name="T50" fmla="*/ 5573661 w 283805"/>
              <a:gd name="T51" fmla="*/ 3916089 h 283804"/>
              <a:gd name="T52" fmla="*/ 6304617 w 283805"/>
              <a:gd name="T53" fmla="*/ 2780361 h 283804"/>
              <a:gd name="T54" fmla="*/ 7857921 w 283805"/>
              <a:gd name="T55" fmla="*/ 613396 h 283804"/>
              <a:gd name="T56" fmla="*/ 9476480 w 283805"/>
              <a:gd name="T57" fmla="*/ 900592 h 283804"/>
              <a:gd name="T58" fmla="*/ 9476480 w 283805"/>
              <a:gd name="T59" fmla="*/ 1448980 h 283804"/>
              <a:gd name="T60" fmla="*/ 7544668 w 283805"/>
              <a:gd name="T61" fmla="*/ 1879746 h 283804"/>
              <a:gd name="T62" fmla="*/ 5978320 w 283805"/>
              <a:gd name="T63" fmla="*/ 4046520 h 283804"/>
              <a:gd name="T64" fmla="*/ 5103711 w 283805"/>
              <a:gd name="T65" fmla="*/ 6813900 h 283804"/>
              <a:gd name="T66" fmla="*/ 3080486 w 283805"/>
              <a:gd name="T67" fmla="*/ 7845063 h 283804"/>
              <a:gd name="T68" fmla="*/ 1788215 w 283805"/>
              <a:gd name="T69" fmla="*/ 8223643 h 283804"/>
              <a:gd name="T70" fmla="*/ 10155248 w 283805"/>
              <a:gd name="T71" fmla="*/ 9372340 h 283804"/>
              <a:gd name="T72" fmla="*/ 9685340 w 283805"/>
              <a:gd name="T73" fmla="*/ 9685614 h 283804"/>
              <a:gd name="T74" fmla="*/ 9372041 w 283805"/>
              <a:gd name="T75" fmla="*/ 10155567 h 283804"/>
              <a:gd name="T76" fmla="*/ 8223396 w 283805"/>
              <a:gd name="T77" fmla="*/ 10155567 h 283804"/>
              <a:gd name="T78" fmla="*/ 7910137 w 283805"/>
              <a:gd name="T79" fmla="*/ 9685614 h 283804"/>
              <a:gd name="T80" fmla="*/ 6617899 w 283805"/>
              <a:gd name="T81" fmla="*/ 10312174 h 283804"/>
              <a:gd name="T82" fmla="*/ 5312575 w 283805"/>
              <a:gd name="T83" fmla="*/ 9685614 h 283804"/>
              <a:gd name="T84" fmla="*/ 4999317 w 283805"/>
              <a:gd name="T85" fmla="*/ 10155567 h 283804"/>
              <a:gd name="T86" fmla="*/ 3850675 w 283805"/>
              <a:gd name="T87" fmla="*/ 10155567 h 283804"/>
              <a:gd name="T88" fmla="*/ 3537369 w 283805"/>
              <a:gd name="T89" fmla="*/ 9685614 h 283804"/>
              <a:gd name="T90" fmla="*/ 2245078 w 283805"/>
              <a:gd name="T91" fmla="*/ 10312174 h 283804"/>
              <a:gd name="T92" fmla="*/ 939854 w 283805"/>
              <a:gd name="T93" fmla="*/ 9685614 h 283804"/>
              <a:gd name="T94" fmla="*/ 626585 w 283805"/>
              <a:gd name="T95" fmla="*/ 10155567 h 283804"/>
              <a:gd name="T96" fmla="*/ 0 w 283805"/>
              <a:gd name="T97" fmla="*/ 9528982 h 283804"/>
              <a:gd name="T98" fmla="*/ 626585 w 283805"/>
              <a:gd name="T99" fmla="*/ 8223643 h 283804"/>
              <a:gd name="T100" fmla="*/ 156546 w 283805"/>
              <a:gd name="T101" fmla="*/ 7910345 h 283804"/>
              <a:gd name="T102" fmla="*/ 156546 w 283805"/>
              <a:gd name="T103" fmla="*/ 6774696 h 283804"/>
              <a:gd name="T104" fmla="*/ 626585 w 283805"/>
              <a:gd name="T105" fmla="*/ 6448347 h 283804"/>
              <a:gd name="T106" fmla="*/ 0 w 283805"/>
              <a:gd name="T107" fmla="*/ 5156126 h 283804"/>
              <a:gd name="T108" fmla="*/ 626585 w 283805"/>
              <a:gd name="T109" fmla="*/ 3850741 h 283804"/>
              <a:gd name="T110" fmla="*/ 156546 w 283805"/>
              <a:gd name="T111" fmla="*/ 3537476 h 283804"/>
              <a:gd name="T112" fmla="*/ 156546 w 283805"/>
              <a:gd name="T113" fmla="*/ 2388694 h 283804"/>
              <a:gd name="T114" fmla="*/ 626585 w 283805"/>
              <a:gd name="T115" fmla="*/ 2075485 h 283804"/>
              <a:gd name="T116" fmla="*/ 0 w 283805"/>
              <a:gd name="T117" fmla="*/ 783146 h 283804"/>
              <a:gd name="T118" fmla="*/ 626585 w 283805"/>
              <a:gd name="T119" fmla="*/ 156554 h 2838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3805" h="283804">
                <a:moveTo>
                  <a:pt x="67538" y="211955"/>
                </a:moveTo>
                <a:cubicBezTo>
                  <a:pt x="61790" y="211955"/>
                  <a:pt x="57479" y="216625"/>
                  <a:pt x="57479" y="222014"/>
                </a:cubicBezTo>
                <a:cubicBezTo>
                  <a:pt x="57479" y="227762"/>
                  <a:pt x="61790" y="232073"/>
                  <a:pt x="67538" y="232073"/>
                </a:cubicBezTo>
                <a:cubicBezTo>
                  <a:pt x="72927" y="232073"/>
                  <a:pt x="77238" y="227762"/>
                  <a:pt x="77238" y="222014"/>
                </a:cubicBezTo>
                <a:cubicBezTo>
                  <a:pt x="77238" y="216625"/>
                  <a:pt x="72927" y="211955"/>
                  <a:pt x="67538" y="211955"/>
                </a:cubicBezTo>
                <a:close/>
                <a:moveTo>
                  <a:pt x="121784" y="177467"/>
                </a:moveTo>
                <a:cubicBezTo>
                  <a:pt x="116396" y="177467"/>
                  <a:pt x="111726" y="182137"/>
                  <a:pt x="111726" y="187526"/>
                </a:cubicBezTo>
                <a:cubicBezTo>
                  <a:pt x="111726" y="193274"/>
                  <a:pt x="116396" y="197585"/>
                  <a:pt x="121784" y="197585"/>
                </a:cubicBezTo>
                <a:cubicBezTo>
                  <a:pt x="127173" y="197585"/>
                  <a:pt x="131843" y="193274"/>
                  <a:pt x="131843" y="187526"/>
                </a:cubicBezTo>
                <a:cubicBezTo>
                  <a:pt x="131843" y="182137"/>
                  <a:pt x="127173" y="177467"/>
                  <a:pt x="121784" y="177467"/>
                </a:cubicBezTo>
                <a:close/>
                <a:moveTo>
                  <a:pt x="170986" y="136525"/>
                </a:moveTo>
                <a:lnTo>
                  <a:pt x="279507" y="136525"/>
                </a:lnTo>
                <a:cubicBezTo>
                  <a:pt x="281656" y="136525"/>
                  <a:pt x="283805" y="138179"/>
                  <a:pt x="283805" y="140494"/>
                </a:cubicBezTo>
                <a:cubicBezTo>
                  <a:pt x="283805" y="142479"/>
                  <a:pt x="281656" y="144132"/>
                  <a:pt x="279507" y="144132"/>
                </a:cubicBezTo>
                <a:lnTo>
                  <a:pt x="170986" y="144132"/>
                </a:lnTo>
                <a:cubicBezTo>
                  <a:pt x="168479" y="144132"/>
                  <a:pt x="166688" y="142479"/>
                  <a:pt x="166688" y="140494"/>
                </a:cubicBezTo>
                <a:cubicBezTo>
                  <a:pt x="166688" y="138179"/>
                  <a:pt x="168479" y="136525"/>
                  <a:pt x="170986" y="136525"/>
                </a:cubicBezTo>
                <a:close/>
                <a:moveTo>
                  <a:pt x="164535" y="82986"/>
                </a:moveTo>
                <a:cubicBezTo>
                  <a:pt x="159146" y="82986"/>
                  <a:pt x="154835" y="87297"/>
                  <a:pt x="154835" y="93045"/>
                </a:cubicBezTo>
                <a:cubicBezTo>
                  <a:pt x="154835" y="98433"/>
                  <a:pt x="159146" y="103103"/>
                  <a:pt x="164535" y="103103"/>
                </a:cubicBezTo>
                <a:cubicBezTo>
                  <a:pt x="170282" y="103103"/>
                  <a:pt x="174953" y="98433"/>
                  <a:pt x="174953" y="93045"/>
                </a:cubicBezTo>
                <a:cubicBezTo>
                  <a:pt x="174953" y="87297"/>
                  <a:pt x="170282" y="82986"/>
                  <a:pt x="164535" y="82986"/>
                </a:cubicBezTo>
                <a:close/>
                <a:moveTo>
                  <a:pt x="44004" y="74613"/>
                </a:moveTo>
                <a:lnTo>
                  <a:pt x="127088" y="74613"/>
                </a:lnTo>
                <a:cubicBezTo>
                  <a:pt x="129605" y="74613"/>
                  <a:pt x="131404" y="76518"/>
                  <a:pt x="131404" y="79185"/>
                </a:cubicBezTo>
                <a:cubicBezTo>
                  <a:pt x="131404" y="81852"/>
                  <a:pt x="129605" y="83757"/>
                  <a:pt x="127088" y="83757"/>
                </a:cubicBezTo>
                <a:lnTo>
                  <a:pt x="44004" y="83757"/>
                </a:lnTo>
                <a:cubicBezTo>
                  <a:pt x="41487" y="83757"/>
                  <a:pt x="39688" y="81852"/>
                  <a:pt x="39688" y="79185"/>
                </a:cubicBezTo>
                <a:cubicBezTo>
                  <a:pt x="39688" y="76518"/>
                  <a:pt x="41487" y="74613"/>
                  <a:pt x="44004" y="74613"/>
                </a:cubicBezTo>
                <a:close/>
                <a:moveTo>
                  <a:pt x="89701" y="46038"/>
                </a:moveTo>
                <a:lnTo>
                  <a:pt x="161990" y="46038"/>
                </a:lnTo>
                <a:cubicBezTo>
                  <a:pt x="164158" y="46038"/>
                  <a:pt x="166327" y="47691"/>
                  <a:pt x="166327" y="50006"/>
                </a:cubicBezTo>
                <a:cubicBezTo>
                  <a:pt x="166327" y="51991"/>
                  <a:pt x="164158" y="53644"/>
                  <a:pt x="161990" y="53644"/>
                </a:cubicBezTo>
                <a:lnTo>
                  <a:pt x="89701" y="53644"/>
                </a:lnTo>
                <a:cubicBezTo>
                  <a:pt x="87532" y="53644"/>
                  <a:pt x="85725" y="51991"/>
                  <a:pt x="85725" y="50006"/>
                </a:cubicBezTo>
                <a:cubicBezTo>
                  <a:pt x="85725" y="47691"/>
                  <a:pt x="87532" y="46038"/>
                  <a:pt x="89701" y="46038"/>
                </a:cubicBezTo>
                <a:close/>
                <a:moveTo>
                  <a:pt x="43969" y="46038"/>
                </a:moveTo>
                <a:lnTo>
                  <a:pt x="66801" y="46038"/>
                </a:lnTo>
                <a:cubicBezTo>
                  <a:pt x="68941" y="46038"/>
                  <a:pt x="71082" y="47691"/>
                  <a:pt x="71082" y="49676"/>
                </a:cubicBezTo>
                <a:cubicBezTo>
                  <a:pt x="71082" y="51991"/>
                  <a:pt x="68941" y="53644"/>
                  <a:pt x="66801" y="53644"/>
                </a:cubicBezTo>
                <a:lnTo>
                  <a:pt x="43969" y="53644"/>
                </a:lnTo>
                <a:cubicBezTo>
                  <a:pt x="41472" y="53644"/>
                  <a:pt x="39688" y="51991"/>
                  <a:pt x="39688" y="49676"/>
                </a:cubicBezTo>
                <a:cubicBezTo>
                  <a:pt x="39688" y="47691"/>
                  <a:pt x="41472" y="46038"/>
                  <a:pt x="43969" y="46038"/>
                </a:cubicBezTo>
                <a:close/>
                <a:moveTo>
                  <a:pt x="216266" y="25506"/>
                </a:moveTo>
                <a:cubicBezTo>
                  <a:pt x="210877" y="25506"/>
                  <a:pt x="206207" y="29817"/>
                  <a:pt x="206207" y="35565"/>
                </a:cubicBezTo>
                <a:cubicBezTo>
                  <a:pt x="206207" y="41313"/>
                  <a:pt x="210877" y="45624"/>
                  <a:pt x="216266" y="45624"/>
                </a:cubicBezTo>
                <a:cubicBezTo>
                  <a:pt x="222014" y="45624"/>
                  <a:pt x="226325" y="41313"/>
                  <a:pt x="226325" y="35565"/>
                </a:cubicBezTo>
                <a:cubicBezTo>
                  <a:pt x="226325" y="29817"/>
                  <a:pt x="222014" y="25506"/>
                  <a:pt x="216266" y="25506"/>
                </a:cubicBezTo>
                <a:close/>
                <a:moveTo>
                  <a:pt x="126505" y="15875"/>
                </a:moveTo>
                <a:lnTo>
                  <a:pt x="162065" y="15875"/>
                </a:lnTo>
                <a:cubicBezTo>
                  <a:pt x="164199" y="15875"/>
                  <a:pt x="166333" y="17529"/>
                  <a:pt x="166333" y="19844"/>
                </a:cubicBezTo>
                <a:cubicBezTo>
                  <a:pt x="166333" y="21828"/>
                  <a:pt x="164199" y="23482"/>
                  <a:pt x="162065" y="23482"/>
                </a:cubicBezTo>
                <a:lnTo>
                  <a:pt x="126505" y="23482"/>
                </a:lnTo>
                <a:cubicBezTo>
                  <a:pt x="124016" y="23482"/>
                  <a:pt x="122238" y="21828"/>
                  <a:pt x="122238" y="19844"/>
                </a:cubicBezTo>
                <a:cubicBezTo>
                  <a:pt x="122238" y="17529"/>
                  <a:pt x="124016" y="15875"/>
                  <a:pt x="126505" y="15875"/>
                </a:cubicBezTo>
                <a:close/>
                <a:moveTo>
                  <a:pt x="44045" y="15875"/>
                </a:moveTo>
                <a:lnTo>
                  <a:pt x="103230" y="15875"/>
                </a:lnTo>
                <a:cubicBezTo>
                  <a:pt x="105772" y="15875"/>
                  <a:pt x="107587" y="17529"/>
                  <a:pt x="107587" y="19844"/>
                </a:cubicBezTo>
                <a:cubicBezTo>
                  <a:pt x="107587" y="21828"/>
                  <a:pt x="105772" y="23482"/>
                  <a:pt x="103230" y="23482"/>
                </a:cubicBezTo>
                <a:lnTo>
                  <a:pt x="44045" y="23482"/>
                </a:lnTo>
                <a:cubicBezTo>
                  <a:pt x="41504" y="23482"/>
                  <a:pt x="39688" y="21828"/>
                  <a:pt x="39688" y="19844"/>
                </a:cubicBezTo>
                <a:cubicBezTo>
                  <a:pt x="39688" y="17529"/>
                  <a:pt x="41504" y="15875"/>
                  <a:pt x="44045" y="15875"/>
                </a:cubicBezTo>
                <a:close/>
                <a:moveTo>
                  <a:pt x="21554" y="0"/>
                </a:moveTo>
                <a:cubicBezTo>
                  <a:pt x="24069" y="0"/>
                  <a:pt x="25865" y="1796"/>
                  <a:pt x="25865" y="4311"/>
                </a:cubicBezTo>
                <a:lnTo>
                  <a:pt x="25865" y="217703"/>
                </a:lnTo>
                <a:lnTo>
                  <a:pt x="49217" y="217703"/>
                </a:lnTo>
                <a:cubicBezTo>
                  <a:pt x="51013" y="209440"/>
                  <a:pt x="58557" y="203333"/>
                  <a:pt x="67538" y="203333"/>
                </a:cubicBezTo>
                <a:cubicBezTo>
                  <a:pt x="72568" y="203333"/>
                  <a:pt x="76879" y="205488"/>
                  <a:pt x="80112" y="208722"/>
                </a:cubicBezTo>
                <a:lnTo>
                  <a:pt x="104541" y="193633"/>
                </a:lnTo>
                <a:cubicBezTo>
                  <a:pt x="103822" y="191837"/>
                  <a:pt x="103104" y="189682"/>
                  <a:pt x="103104" y="187526"/>
                </a:cubicBezTo>
                <a:cubicBezTo>
                  <a:pt x="103104" y="177467"/>
                  <a:pt x="111726" y="169205"/>
                  <a:pt x="121784" y="169205"/>
                </a:cubicBezTo>
                <a:cubicBezTo>
                  <a:pt x="123221" y="169205"/>
                  <a:pt x="124299" y="169205"/>
                  <a:pt x="125377" y="169564"/>
                </a:cubicBezTo>
                <a:lnTo>
                  <a:pt x="136154" y="145854"/>
                </a:lnTo>
                <a:lnTo>
                  <a:pt x="44547" y="145854"/>
                </a:lnTo>
                <a:cubicBezTo>
                  <a:pt x="42032" y="145854"/>
                  <a:pt x="40236" y="144057"/>
                  <a:pt x="40236" y="141902"/>
                </a:cubicBezTo>
                <a:cubicBezTo>
                  <a:pt x="40236" y="139387"/>
                  <a:pt x="42032" y="137591"/>
                  <a:pt x="44547" y="137591"/>
                </a:cubicBezTo>
                <a:lnTo>
                  <a:pt x="139747" y="137591"/>
                </a:lnTo>
                <a:lnTo>
                  <a:pt x="153398" y="107774"/>
                </a:lnTo>
                <a:cubicBezTo>
                  <a:pt x="149087" y="104181"/>
                  <a:pt x="146213" y="98793"/>
                  <a:pt x="146213" y="93045"/>
                </a:cubicBezTo>
                <a:cubicBezTo>
                  <a:pt x="146213" y="82626"/>
                  <a:pt x="154476" y="74364"/>
                  <a:pt x="164535" y="74364"/>
                </a:cubicBezTo>
                <a:cubicBezTo>
                  <a:pt x="168127" y="74364"/>
                  <a:pt x="171001" y="75082"/>
                  <a:pt x="173516" y="76519"/>
                </a:cubicBezTo>
                <a:lnTo>
                  <a:pt x="200818" y="45983"/>
                </a:lnTo>
                <a:cubicBezTo>
                  <a:pt x="199022" y="43109"/>
                  <a:pt x="197944" y="39517"/>
                  <a:pt x="197944" y="35565"/>
                </a:cubicBezTo>
                <a:cubicBezTo>
                  <a:pt x="197944" y="25147"/>
                  <a:pt x="206207" y="16884"/>
                  <a:pt x="216266" y="16884"/>
                </a:cubicBezTo>
                <a:cubicBezTo>
                  <a:pt x="225247" y="16884"/>
                  <a:pt x="232432" y="22992"/>
                  <a:pt x="234587" y="31254"/>
                </a:cubicBezTo>
                <a:lnTo>
                  <a:pt x="260812" y="31254"/>
                </a:lnTo>
                <a:lnTo>
                  <a:pt x="260812" y="24788"/>
                </a:lnTo>
                <a:lnTo>
                  <a:pt x="279493" y="35565"/>
                </a:lnTo>
                <a:lnTo>
                  <a:pt x="260812" y="46343"/>
                </a:lnTo>
                <a:lnTo>
                  <a:pt x="260812" y="39876"/>
                </a:lnTo>
                <a:lnTo>
                  <a:pt x="234587" y="39876"/>
                </a:lnTo>
                <a:cubicBezTo>
                  <a:pt x="232432" y="48139"/>
                  <a:pt x="225247" y="54246"/>
                  <a:pt x="216266" y="54246"/>
                </a:cubicBezTo>
                <a:cubicBezTo>
                  <a:pt x="213392" y="54246"/>
                  <a:pt x="210159" y="53168"/>
                  <a:pt x="207644" y="51731"/>
                </a:cubicBezTo>
                <a:lnTo>
                  <a:pt x="179982" y="82267"/>
                </a:lnTo>
                <a:cubicBezTo>
                  <a:pt x="182138" y="85141"/>
                  <a:pt x="183575" y="88734"/>
                  <a:pt x="183575" y="93045"/>
                </a:cubicBezTo>
                <a:cubicBezTo>
                  <a:pt x="183575" y="103103"/>
                  <a:pt x="174953" y="111366"/>
                  <a:pt x="164535" y="111366"/>
                </a:cubicBezTo>
                <a:cubicBezTo>
                  <a:pt x="163457" y="111366"/>
                  <a:pt x="162379" y="111366"/>
                  <a:pt x="161301" y="111366"/>
                </a:cubicBezTo>
                <a:lnTo>
                  <a:pt x="133280" y="173156"/>
                </a:lnTo>
                <a:cubicBezTo>
                  <a:pt x="137591" y="176389"/>
                  <a:pt x="140465" y="181778"/>
                  <a:pt x="140465" y="187526"/>
                </a:cubicBezTo>
                <a:cubicBezTo>
                  <a:pt x="140465" y="197944"/>
                  <a:pt x="131843" y="206207"/>
                  <a:pt x="121784" y="206207"/>
                </a:cubicBezTo>
                <a:cubicBezTo>
                  <a:pt x="116755" y="206207"/>
                  <a:pt x="112085" y="204051"/>
                  <a:pt x="108852" y="200818"/>
                </a:cubicBezTo>
                <a:lnTo>
                  <a:pt x="84782" y="215906"/>
                </a:lnTo>
                <a:cubicBezTo>
                  <a:pt x="85501" y="218062"/>
                  <a:pt x="86219" y="219858"/>
                  <a:pt x="86219" y="222014"/>
                </a:cubicBezTo>
                <a:cubicBezTo>
                  <a:pt x="86219" y="232432"/>
                  <a:pt x="77597" y="240694"/>
                  <a:pt x="67538" y="240694"/>
                </a:cubicBezTo>
                <a:cubicBezTo>
                  <a:pt x="58557" y="240694"/>
                  <a:pt x="51013" y="234587"/>
                  <a:pt x="49217" y="226325"/>
                </a:cubicBezTo>
                <a:lnTo>
                  <a:pt x="25865" y="226325"/>
                </a:lnTo>
                <a:lnTo>
                  <a:pt x="25865" y="257938"/>
                </a:lnTo>
                <a:lnTo>
                  <a:pt x="279493" y="257938"/>
                </a:lnTo>
                <a:cubicBezTo>
                  <a:pt x="281649" y="257938"/>
                  <a:pt x="283804" y="259734"/>
                  <a:pt x="283804" y="262249"/>
                </a:cubicBezTo>
                <a:cubicBezTo>
                  <a:pt x="283804" y="264764"/>
                  <a:pt x="281649" y="266560"/>
                  <a:pt x="279493" y="266560"/>
                </a:cubicBezTo>
                <a:lnTo>
                  <a:pt x="266560" y="266560"/>
                </a:lnTo>
                <a:lnTo>
                  <a:pt x="266560" y="279493"/>
                </a:lnTo>
                <a:cubicBezTo>
                  <a:pt x="266560" y="281648"/>
                  <a:pt x="264764" y="283804"/>
                  <a:pt x="262249" y="283804"/>
                </a:cubicBezTo>
                <a:cubicBezTo>
                  <a:pt x="259735" y="283804"/>
                  <a:pt x="257938" y="281648"/>
                  <a:pt x="257938" y="279493"/>
                </a:cubicBezTo>
                <a:lnTo>
                  <a:pt x="257938" y="266560"/>
                </a:lnTo>
                <a:lnTo>
                  <a:pt x="226325" y="266560"/>
                </a:lnTo>
                <a:lnTo>
                  <a:pt x="226325" y="279493"/>
                </a:lnTo>
                <a:cubicBezTo>
                  <a:pt x="226325" y="281648"/>
                  <a:pt x="224529" y="283804"/>
                  <a:pt x="222014" y="283804"/>
                </a:cubicBezTo>
                <a:cubicBezTo>
                  <a:pt x="219858" y="283804"/>
                  <a:pt x="217703" y="281648"/>
                  <a:pt x="217703" y="279493"/>
                </a:cubicBezTo>
                <a:lnTo>
                  <a:pt x="217703" y="266560"/>
                </a:lnTo>
                <a:lnTo>
                  <a:pt x="186089" y="266560"/>
                </a:lnTo>
                <a:lnTo>
                  <a:pt x="186089" y="279493"/>
                </a:lnTo>
                <a:cubicBezTo>
                  <a:pt x="186089" y="281648"/>
                  <a:pt x="184293" y="283804"/>
                  <a:pt x="182138" y="283804"/>
                </a:cubicBezTo>
                <a:cubicBezTo>
                  <a:pt x="179623" y="283804"/>
                  <a:pt x="177827" y="281648"/>
                  <a:pt x="177827" y="279493"/>
                </a:cubicBezTo>
                <a:lnTo>
                  <a:pt x="177827" y="266560"/>
                </a:lnTo>
                <a:lnTo>
                  <a:pt x="146213" y="266560"/>
                </a:lnTo>
                <a:lnTo>
                  <a:pt x="146213" y="279493"/>
                </a:lnTo>
                <a:cubicBezTo>
                  <a:pt x="146213" y="281648"/>
                  <a:pt x="144417" y="283804"/>
                  <a:pt x="141902" y="283804"/>
                </a:cubicBezTo>
                <a:cubicBezTo>
                  <a:pt x="139747" y="283804"/>
                  <a:pt x="137591" y="281648"/>
                  <a:pt x="137591" y="279493"/>
                </a:cubicBezTo>
                <a:lnTo>
                  <a:pt x="137591" y="266560"/>
                </a:lnTo>
                <a:lnTo>
                  <a:pt x="105978" y="266560"/>
                </a:lnTo>
                <a:lnTo>
                  <a:pt x="105978" y="279493"/>
                </a:lnTo>
                <a:cubicBezTo>
                  <a:pt x="105978" y="281648"/>
                  <a:pt x="104181" y="283804"/>
                  <a:pt x="101667" y="283804"/>
                </a:cubicBezTo>
                <a:cubicBezTo>
                  <a:pt x="99152" y="283804"/>
                  <a:pt x="97356" y="281648"/>
                  <a:pt x="97356" y="279493"/>
                </a:cubicBezTo>
                <a:lnTo>
                  <a:pt x="97356" y="266560"/>
                </a:lnTo>
                <a:lnTo>
                  <a:pt x="65742" y="266560"/>
                </a:lnTo>
                <a:lnTo>
                  <a:pt x="65742" y="279493"/>
                </a:lnTo>
                <a:cubicBezTo>
                  <a:pt x="65742" y="281648"/>
                  <a:pt x="63946" y="283804"/>
                  <a:pt x="61790" y="283804"/>
                </a:cubicBezTo>
                <a:cubicBezTo>
                  <a:pt x="59276" y="283804"/>
                  <a:pt x="57479" y="281648"/>
                  <a:pt x="57479" y="279493"/>
                </a:cubicBezTo>
                <a:lnTo>
                  <a:pt x="57479" y="266560"/>
                </a:lnTo>
                <a:lnTo>
                  <a:pt x="25865" y="266560"/>
                </a:lnTo>
                <a:lnTo>
                  <a:pt x="25865" y="279493"/>
                </a:lnTo>
                <a:cubicBezTo>
                  <a:pt x="25865" y="281648"/>
                  <a:pt x="24069" y="283804"/>
                  <a:pt x="21554" y="283804"/>
                </a:cubicBezTo>
                <a:cubicBezTo>
                  <a:pt x="19040" y="283804"/>
                  <a:pt x="17244" y="281648"/>
                  <a:pt x="17244" y="279493"/>
                </a:cubicBezTo>
                <a:lnTo>
                  <a:pt x="17244" y="266560"/>
                </a:lnTo>
                <a:lnTo>
                  <a:pt x="4311" y="266560"/>
                </a:lnTo>
                <a:cubicBezTo>
                  <a:pt x="2155" y="266560"/>
                  <a:pt x="0" y="264764"/>
                  <a:pt x="0" y="262249"/>
                </a:cubicBezTo>
                <a:cubicBezTo>
                  <a:pt x="0" y="259734"/>
                  <a:pt x="2155" y="257938"/>
                  <a:pt x="4311" y="257938"/>
                </a:cubicBezTo>
                <a:lnTo>
                  <a:pt x="17244" y="257938"/>
                </a:lnTo>
                <a:lnTo>
                  <a:pt x="17244" y="226325"/>
                </a:lnTo>
                <a:lnTo>
                  <a:pt x="4311" y="226325"/>
                </a:lnTo>
                <a:cubicBezTo>
                  <a:pt x="2155" y="226325"/>
                  <a:pt x="0" y="224528"/>
                  <a:pt x="0" y="222014"/>
                </a:cubicBezTo>
                <a:cubicBezTo>
                  <a:pt x="0" y="219499"/>
                  <a:pt x="2155" y="217703"/>
                  <a:pt x="4311" y="217703"/>
                </a:cubicBezTo>
                <a:lnTo>
                  <a:pt x="17244" y="217703"/>
                </a:lnTo>
                <a:lnTo>
                  <a:pt x="17244" y="186448"/>
                </a:lnTo>
                <a:lnTo>
                  <a:pt x="4311" y="186448"/>
                </a:lnTo>
                <a:cubicBezTo>
                  <a:pt x="2155" y="186448"/>
                  <a:pt x="0" y="184293"/>
                  <a:pt x="0" y="181778"/>
                </a:cubicBezTo>
                <a:cubicBezTo>
                  <a:pt x="0" y="179623"/>
                  <a:pt x="2155" y="177467"/>
                  <a:pt x="4311" y="177467"/>
                </a:cubicBezTo>
                <a:lnTo>
                  <a:pt x="17244" y="177467"/>
                </a:lnTo>
                <a:lnTo>
                  <a:pt x="17244" y="145854"/>
                </a:lnTo>
                <a:lnTo>
                  <a:pt x="4311" y="145854"/>
                </a:lnTo>
                <a:cubicBezTo>
                  <a:pt x="2155" y="145854"/>
                  <a:pt x="0" y="144057"/>
                  <a:pt x="0" y="141902"/>
                </a:cubicBezTo>
                <a:cubicBezTo>
                  <a:pt x="0" y="139387"/>
                  <a:pt x="2155" y="137591"/>
                  <a:pt x="4311" y="137591"/>
                </a:cubicBezTo>
                <a:lnTo>
                  <a:pt x="17244" y="137591"/>
                </a:lnTo>
                <a:lnTo>
                  <a:pt x="17244" y="105977"/>
                </a:lnTo>
                <a:lnTo>
                  <a:pt x="4311" y="105977"/>
                </a:lnTo>
                <a:cubicBezTo>
                  <a:pt x="2155" y="105977"/>
                  <a:pt x="0" y="104181"/>
                  <a:pt x="0" y="101666"/>
                </a:cubicBezTo>
                <a:cubicBezTo>
                  <a:pt x="0" y="99511"/>
                  <a:pt x="2155" y="97356"/>
                  <a:pt x="4311" y="97356"/>
                </a:cubicBezTo>
                <a:lnTo>
                  <a:pt x="17244" y="97356"/>
                </a:lnTo>
                <a:lnTo>
                  <a:pt x="17244" y="65742"/>
                </a:lnTo>
                <a:lnTo>
                  <a:pt x="4311" y="65742"/>
                </a:lnTo>
                <a:cubicBezTo>
                  <a:pt x="2155" y="65742"/>
                  <a:pt x="0" y="63946"/>
                  <a:pt x="0" y="61431"/>
                </a:cubicBezTo>
                <a:cubicBezTo>
                  <a:pt x="0" y="59275"/>
                  <a:pt x="2155" y="57120"/>
                  <a:pt x="4311" y="57120"/>
                </a:cubicBezTo>
                <a:lnTo>
                  <a:pt x="17244" y="57120"/>
                </a:lnTo>
                <a:lnTo>
                  <a:pt x="17244" y="25506"/>
                </a:lnTo>
                <a:lnTo>
                  <a:pt x="4311" y="25506"/>
                </a:lnTo>
                <a:cubicBezTo>
                  <a:pt x="2155" y="25506"/>
                  <a:pt x="0" y="23710"/>
                  <a:pt x="0" y="21555"/>
                </a:cubicBezTo>
                <a:cubicBezTo>
                  <a:pt x="0" y="19040"/>
                  <a:pt x="2155" y="17244"/>
                  <a:pt x="4311" y="17244"/>
                </a:cubicBezTo>
                <a:lnTo>
                  <a:pt x="17244" y="17244"/>
                </a:lnTo>
                <a:lnTo>
                  <a:pt x="17244" y="4311"/>
                </a:lnTo>
                <a:cubicBezTo>
                  <a:pt x="17244" y="1796"/>
                  <a:pt x="19040" y="0"/>
                  <a:pt x="21554" y="0"/>
                </a:cubicBezTo>
                <a:close/>
              </a:path>
            </a:pathLst>
          </a:custGeom>
          <a:solidFill>
            <a:schemeClr val="bg1"/>
          </a:solidFill>
          <a:ln>
            <a:noFill/>
          </a:ln>
        </p:spPr>
        <p:txBody>
          <a:bodyPr anchor="ctr"/>
          <a:lstStyle/>
          <a:p>
            <a:pPr algn="l" rtl="0"/>
            <a:endParaRPr lang="en-GB" sz="1400" dirty="0">
              <a:latin typeface="+mj-lt"/>
            </a:endParaRPr>
          </a:p>
        </p:txBody>
      </p:sp>
      <p:sp>
        <p:nvSpPr>
          <p:cNvPr id="24" name="TextBox 27">
            <a:extLst>
              <a:ext uri="{FF2B5EF4-FFF2-40B4-BE49-F238E27FC236}">
                <a16:creationId xmlns:a16="http://schemas.microsoft.com/office/drawing/2014/main" id="{8CFAE046-93FA-1A12-9B41-E0706EDF23B6}"/>
              </a:ext>
            </a:extLst>
          </p:cNvPr>
          <p:cNvSpPr txBox="1"/>
          <p:nvPr/>
        </p:nvSpPr>
        <p:spPr>
          <a:xfrm>
            <a:off x="7407625" y="2673719"/>
            <a:ext cx="3735060" cy="430887"/>
          </a:xfrm>
          <a:prstGeom prst="rect">
            <a:avLst/>
          </a:prstGeom>
          <a:noFill/>
        </p:spPr>
        <p:txBody>
          <a:bodyPr wrap="square" rtlCol="0" anchor="t" anchorCtr="0">
            <a:spAutoFit/>
          </a:bodyPr>
          <a:lstStyle/>
          <a:p>
            <a:pPr algn="l" rtl="0"/>
            <a:r>
              <a:rPr lang="en-GB" sz="2200" b="1" dirty="0">
                <a:solidFill>
                  <a:srgbClr val="EDA13E"/>
                </a:solidFill>
                <a:ea typeface="League Spartan" charset="0"/>
                <a:cs typeface="Poppins" pitchFamily="2" charset="77"/>
              </a:rPr>
              <a:t>Información Pública Eficiente</a:t>
            </a:r>
          </a:p>
        </p:txBody>
      </p:sp>
      <p:sp>
        <p:nvSpPr>
          <p:cNvPr id="25" name="Subtitle 2">
            <a:extLst>
              <a:ext uri="{FF2B5EF4-FFF2-40B4-BE49-F238E27FC236}">
                <a16:creationId xmlns:a16="http://schemas.microsoft.com/office/drawing/2014/main" id="{FD4C47AB-E33F-0382-1C58-41E14C99185F}"/>
              </a:ext>
            </a:extLst>
          </p:cNvPr>
          <p:cNvSpPr txBox="1">
            <a:spLocks/>
          </p:cNvSpPr>
          <p:nvPr/>
        </p:nvSpPr>
        <p:spPr>
          <a:xfrm>
            <a:off x="7482574" y="3062244"/>
            <a:ext cx="4432971" cy="73033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2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Si su crisis es relevante para el público, informe al público de la manera más eficiente posible: comunicados en su sitio web, conferencias de prensa, etc.</a:t>
            </a:r>
          </a:p>
        </p:txBody>
      </p:sp>
      <p:sp>
        <p:nvSpPr>
          <p:cNvPr id="26" name="TextBox 31">
            <a:extLst>
              <a:ext uri="{FF2B5EF4-FFF2-40B4-BE49-F238E27FC236}">
                <a16:creationId xmlns:a16="http://schemas.microsoft.com/office/drawing/2014/main" id="{74B0090C-52FD-D133-3C23-AB65E2B829A8}"/>
              </a:ext>
            </a:extLst>
          </p:cNvPr>
          <p:cNvSpPr txBox="1"/>
          <p:nvPr/>
        </p:nvSpPr>
        <p:spPr>
          <a:xfrm>
            <a:off x="7322650" y="5583513"/>
            <a:ext cx="1680737" cy="378373"/>
          </a:xfrm>
          <a:prstGeom prst="rect">
            <a:avLst/>
          </a:prstGeom>
          <a:noFill/>
        </p:spPr>
        <p:txBody>
          <a:bodyPr wrap="square" rtlCol="0" anchor="b" anchorCtr="0">
            <a:spAutoFit/>
          </a:bodyPr>
          <a:lstStyle/>
          <a:p>
            <a:pPr algn="l" rtl="0">
              <a:lnSpc>
                <a:spcPts val="2220"/>
              </a:lnSpc>
            </a:pPr>
            <a:r>
              <a:rPr lang="en-GB" sz="2200" b="1" dirty="0">
                <a:ea typeface="League Spartan" charset="0"/>
                <a:cs typeface="Poppins" pitchFamily="2" charset="77"/>
              </a:rPr>
              <a:t>Sé justo</a:t>
            </a:r>
          </a:p>
        </p:txBody>
      </p:sp>
      <p:sp>
        <p:nvSpPr>
          <p:cNvPr id="27" name="Subtitle 2">
            <a:extLst>
              <a:ext uri="{FF2B5EF4-FFF2-40B4-BE49-F238E27FC236}">
                <a16:creationId xmlns:a16="http://schemas.microsoft.com/office/drawing/2014/main" id="{BC481C0C-63EF-9D6C-7A3B-AD7827F15748}"/>
              </a:ext>
            </a:extLst>
          </p:cNvPr>
          <p:cNvSpPr txBox="1">
            <a:spLocks/>
          </p:cNvSpPr>
          <p:nvPr/>
        </p:nvSpPr>
        <p:spPr>
          <a:xfrm>
            <a:off x="7352629" y="5910960"/>
            <a:ext cx="4432971" cy="49950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2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Trate a todas las partes interesadas de manera justa y no oculte información a algunos grupos de partes interesadas</a:t>
            </a:r>
          </a:p>
        </p:txBody>
      </p:sp>
      <p:sp>
        <p:nvSpPr>
          <p:cNvPr id="28" name="TextBox 37">
            <a:extLst>
              <a:ext uri="{FF2B5EF4-FFF2-40B4-BE49-F238E27FC236}">
                <a16:creationId xmlns:a16="http://schemas.microsoft.com/office/drawing/2014/main" id="{AC3713A3-E53B-6804-8632-E57C06DD8DF1}"/>
              </a:ext>
            </a:extLst>
          </p:cNvPr>
          <p:cNvSpPr txBox="1"/>
          <p:nvPr/>
        </p:nvSpPr>
        <p:spPr>
          <a:xfrm>
            <a:off x="530826" y="2658729"/>
            <a:ext cx="3736457" cy="378373"/>
          </a:xfrm>
          <a:prstGeom prst="rect">
            <a:avLst/>
          </a:prstGeom>
          <a:noFill/>
        </p:spPr>
        <p:txBody>
          <a:bodyPr wrap="square" rtlCol="0" anchor="t" anchorCtr="0">
            <a:spAutoFit/>
          </a:bodyPr>
          <a:lstStyle/>
          <a:p>
            <a:pPr algn="l" rtl="0">
              <a:lnSpc>
                <a:spcPts val="2220"/>
              </a:lnSpc>
            </a:pPr>
            <a:r>
              <a:rPr lang="en-GB" sz="2200" b="1" dirty="0">
                <a:solidFill>
                  <a:srgbClr val="7F1C58"/>
                </a:solidFill>
                <a:ea typeface="League Spartan" charset="0"/>
                <a:cs typeface="Poppins" pitchFamily="2" charset="77"/>
              </a:rPr>
              <a:t>Centralice la comunicación</a:t>
            </a:r>
          </a:p>
        </p:txBody>
      </p:sp>
      <p:sp>
        <p:nvSpPr>
          <p:cNvPr id="29" name="Subtitle 2">
            <a:extLst>
              <a:ext uri="{FF2B5EF4-FFF2-40B4-BE49-F238E27FC236}">
                <a16:creationId xmlns:a16="http://schemas.microsoft.com/office/drawing/2014/main" id="{54F0CB4F-7590-83F9-A577-898184155D23}"/>
              </a:ext>
            </a:extLst>
          </p:cNvPr>
          <p:cNvSpPr txBox="1">
            <a:spLocks/>
          </p:cNvSpPr>
          <p:nvPr/>
        </p:nvSpPr>
        <p:spPr>
          <a:xfrm>
            <a:off x="659073" y="3062244"/>
            <a:ext cx="3608210" cy="73033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2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Centralice el flujo bidireccional de información para que tenga la información en un solo lugar</a:t>
            </a:r>
          </a:p>
        </p:txBody>
      </p:sp>
      <p:sp>
        <p:nvSpPr>
          <p:cNvPr id="30" name="TextBox 40">
            <a:extLst>
              <a:ext uri="{FF2B5EF4-FFF2-40B4-BE49-F238E27FC236}">
                <a16:creationId xmlns:a16="http://schemas.microsoft.com/office/drawing/2014/main" id="{647863BE-9654-3839-1112-7F26C8FDB953}"/>
              </a:ext>
            </a:extLst>
          </p:cNvPr>
          <p:cNvSpPr txBox="1"/>
          <p:nvPr/>
        </p:nvSpPr>
        <p:spPr>
          <a:xfrm>
            <a:off x="2855753" y="5659103"/>
            <a:ext cx="1681672" cy="378373"/>
          </a:xfrm>
          <a:prstGeom prst="rect">
            <a:avLst/>
          </a:prstGeom>
          <a:noFill/>
        </p:spPr>
        <p:txBody>
          <a:bodyPr wrap="square" rtlCol="0" anchor="b" anchorCtr="0">
            <a:spAutoFit/>
          </a:bodyPr>
          <a:lstStyle/>
          <a:p>
            <a:pPr algn="l" rtl="0">
              <a:lnSpc>
                <a:spcPts val="2220"/>
              </a:lnSpc>
            </a:pPr>
            <a:r>
              <a:rPr lang="en-GB" sz="2200" b="1" dirty="0">
                <a:solidFill>
                  <a:srgbClr val="F16924"/>
                </a:solidFill>
                <a:ea typeface="League Spartan" charset="0"/>
                <a:cs typeface="Poppins" pitchFamily="2" charset="77"/>
              </a:rPr>
              <a:t>Actualizar</a:t>
            </a:r>
          </a:p>
        </p:txBody>
      </p:sp>
      <p:sp>
        <p:nvSpPr>
          <p:cNvPr id="37" name="Subtitle 2">
            <a:extLst>
              <a:ext uri="{FF2B5EF4-FFF2-40B4-BE49-F238E27FC236}">
                <a16:creationId xmlns:a16="http://schemas.microsoft.com/office/drawing/2014/main" id="{286D7793-002E-4818-EF94-F88FFE1148C8}"/>
              </a:ext>
            </a:extLst>
          </p:cNvPr>
          <p:cNvSpPr txBox="1">
            <a:spLocks/>
          </p:cNvSpPr>
          <p:nvPr/>
        </p:nvSpPr>
        <p:spPr>
          <a:xfrm>
            <a:off x="1244507" y="5986550"/>
            <a:ext cx="3292918" cy="49950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2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Mantenga a todas las audiencias relevantes actualizadas a medida que evoluciona la crisis</a:t>
            </a:r>
          </a:p>
        </p:txBody>
      </p:sp>
      <p:sp>
        <p:nvSpPr>
          <p:cNvPr id="52" name="TextBox 34">
            <a:extLst>
              <a:ext uri="{FF2B5EF4-FFF2-40B4-BE49-F238E27FC236}">
                <a16:creationId xmlns:a16="http://schemas.microsoft.com/office/drawing/2014/main" id="{AFDABAD8-86B8-AF83-A476-6454B98E5791}"/>
              </a:ext>
            </a:extLst>
          </p:cNvPr>
          <p:cNvSpPr txBox="1"/>
          <p:nvPr/>
        </p:nvSpPr>
        <p:spPr>
          <a:xfrm>
            <a:off x="7836396" y="4169881"/>
            <a:ext cx="1681672" cy="378373"/>
          </a:xfrm>
          <a:prstGeom prst="rect">
            <a:avLst/>
          </a:prstGeom>
          <a:noFill/>
        </p:spPr>
        <p:txBody>
          <a:bodyPr wrap="square" rtlCol="0" anchor="b" anchorCtr="0">
            <a:spAutoFit/>
          </a:bodyPr>
          <a:lstStyle/>
          <a:p>
            <a:pPr algn="l" rtl="0">
              <a:lnSpc>
                <a:spcPts val="2220"/>
              </a:lnSpc>
            </a:pPr>
            <a:r>
              <a:rPr lang="en-GB" sz="2200" b="1" dirty="0">
                <a:solidFill>
                  <a:srgbClr val="B41F7A"/>
                </a:solidFill>
                <a:ea typeface="League Spartan" charset="0"/>
                <a:cs typeface="Poppins" pitchFamily="2" charset="77"/>
              </a:rPr>
              <a:t>Se honesto</a:t>
            </a:r>
          </a:p>
        </p:txBody>
      </p:sp>
      <p:sp>
        <p:nvSpPr>
          <p:cNvPr id="53" name="Subtitle 2">
            <a:extLst>
              <a:ext uri="{FF2B5EF4-FFF2-40B4-BE49-F238E27FC236}">
                <a16:creationId xmlns:a16="http://schemas.microsoft.com/office/drawing/2014/main" id="{95BFAC34-4EB7-4213-491C-269591F64B9E}"/>
              </a:ext>
            </a:extLst>
          </p:cNvPr>
          <p:cNvSpPr txBox="1">
            <a:spLocks/>
          </p:cNvSpPr>
          <p:nvPr/>
        </p:nvSpPr>
        <p:spPr>
          <a:xfrm>
            <a:off x="7911346" y="4529920"/>
            <a:ext cx="3849989" cy="49950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2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Responder a las partes interesadas de manera veraz, abierta, rápida e informativa</a:t>
            </a:r>
          </a:p>
        </p:txBody>
      </p:sp>
      <p:sp>
        <p:nvSpPr>
          <p:cNvPr id="54" name="TextBox 44">
            <a:extLst>
              <a:ext uri="{FF2B5EF4-FFF2-40B4-BE49-F238E27FC236}">
                <a16:creationId xmlns:a16="http://schemas.microsoft.com/office/drawing/2014/main" id="{D46382C4-E62C-E20D-D00D-E8B590DDF171}"/>
              </a:ext>
            </a:extLst>
          </p:cNvPr>
          <p:cNvSpPr txBox="1"/>
          <p:nvPr/>
        </p:nvSpPr>
        <p:spPr>
          <a:xfrm>
            <a:off x="2181214" y="4005541"/>
            <a:ext cx="1681672" cy="378373"/>
          </a:xfrm>
          <a:prstGeom prst="rect">
            <a:avLst/>
          </a:prstGeom>
          <a:noFill/>
        </p:spPr>
        <p:txBody>
          <a:bodyPr wrap="square" rtlCol="0" anchor="b" anchorCtr="0">
            <a:spAutoFit/>
          </a:bodyPr>
          <a:lstStyle/>
          <a:p>
            <a:pPr algn="l" rtl="0">
              <a:lnSpc>
                <a:spcPts val="2220"/>
              </a:lnSpc>
            </a:pPr>
            <a:r>
              <a:rPr lang="en-GB" sz="2200" b="1" dirty="0">
                <a:solidFill>
                  <a:srgbClr val="B41F7A"/>
                </a:solidFill>
                <a:ea typeface="League Spartan" charset="0"/>
                <a:cs typeface="Poppins" pitchFamily="2" charset="77"/>
              </a:rPr>
              <a:t>Monitor</a:t>
            </a:r>
          </a:p>
        </p:txBody>
      </p:sp>
      <p:sp>
        <p:nvSpPr>
          <p:cNvPr id="55" name="Subtitle 2">
            <a:extLst>
              <a:ext uri="{FF2B5EF4-FFF2-40B4-BE49-F238E27FC236}">
                <a16:creationId xmlns:a16="http://schemas.microsoft.com/office/drawing/2014/main" id="{EAAAFDC0-D4B0-1014-F832-E44B0E364FBD}"/>
              </a:ext>
            </a:extLst>
          </p:cNvPr>
          <p:cNvSpPr txBox="1">
            <a:spLocks/>
          </p:cNvSpPr>
          <p:nvPr/>
        </p:nvSpPr>
        <p:spPr>
          <a:xfrm>
            <a:off x="249864" y="4380570"/>
            <a:ext cx="3613022" cy="96116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2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Supervisar las reacciones de las partes interesadas y también controlar los medios impresos, de difusión y las redes sociales; mantener registros en una línea de tiempo</a:t>
            </a:r>
          </a:p>
        </p:txBody>
      </p:sp>
    </p:spTree>
    <p:extLst>
      <p:ext uri="{BB962C8B-B14F-4D97-AF65-F5344CB8AC3E}">
        <p14:creationId xmlns:p14="http://schemas.microsoft.com/office/powerpoint/2010/main" val="8847277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A56617-F13E-6158-1BDF-6195DC875F48}"/>
              </a:ext>
            </a:extLst>
          </p:cNvPr>
          <p:cNvSpPr/>
          <p:nvPr/>
        </p:nvSpPr>
        <p:spPr>
          <a:xfrm>
            <a:off x="0" y="0"/>
            <a:ext cx="609600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395315" cy="1723686"/>
          </a:xfrm>
        </p:spPr>
        <p:txBody>
          <a:bodyPr>
            <a:normAutofit/>
          </a:bodyPr>
          <a:lstStyle/>
          <a:p>
            <a:pPr algn="l" rtl="0"/>
            <a:r>
              <a:rPr lang="en-GB" dirty="0">
                <a:solidFill>
                  <a:schemeClr val="bg1"/>
                </a:solidFill>
              </a:rPr>
              <a:t>Mitos sobre el liderazgo empresarial</a:t>
            </a:r>
          </a:p>
        </p:txBody>
      </p:sp>
      <p:sp>
        <p:nvSpPr>
          <p:cNvPr id="3" name="Text Placeholder 2">
            <a:extLst>
              <a:ext uri="{FF2B5EF4-FFF2-40B4-BE49-F238E27FC236}">
                <a16:creationId xmlns:a16="http://schemas.microsoft.com/office/drawing/2014/main" id="{79CC231D-3AD8-ACBF-9B95-F1367BC11BF7}"/>
              </a:ext>
            </a:extLst>
          </p:cNvPr>
          <p:cNvSpPr>
            <a:spLocks noGrp="1"/>
          </p:cNvSpPr>
          <p:nvPr>
            <p:ph type="body" sz="quarter" idx="18"/>
          </p:nvPr>
        </p:nvSpPr>
        <p:spPr>
          <a:xfrm>
            <a:off x="434413" y="2315240"/>
            <a:ext cx="3887709" cy="4058147"/>
          </a:xfrm>
        </p:spPr>
        <p:txBody>
          <a:bodyPr>
            <a:normAutofit fontScale="92500"/>
          </a:bodyPr>
          <a:lstStyle/>
          <a:p>
            <a:pPr marL="12700" indent="-12700" algn="l" rtl="0"/>
            <a:r>
              <a:rPr lang="en-US" dirty="0">
                <a:solidFill>
                  <a:schemeClr val="bg1"/>
                </a:solidFill>
              </a:rPr>
              <a:t>Cuando se trata de liderazgo empresarial, no hay una talla única para todos. Cada líder tiene su propia personalidad, estilo y enfoque para liderar equipos, y hay diferentes situaciones en las que los estilos de liderazgo específicos funcionan o no funcionan. Dicho esto, hay mitos de liderazgo que parecen surgir con el tiempo. Aquí hay varios que se mencionan constantemente:</a:t>
            </a:r>
          </a:p>
          <a:p>
            <a:pPr marL="12700" indent="-12700" algn="l" rtl="0"/>
            <a:endParaRPr lang="en-US" dirty="0">
              <a:solidFill>
                <a:schemeClr val="bg1"/>
              </a:solidFill>
            </a:endParaRPr>
          </a:p>
        </p:txBody>
      </p:sp>
      <p:cxnSp>
        <p:nvCxnSpPr>
          <p:cNvPr id="5" name="Straight Connector 4">
            <a:extLst>
              <a:ext uri="{FF2B5EF4-FFF2-40B4-BE49-F238E27FC236}">
                <a16:creationId xmlns:a16="http://schemas.microsoft.com/office/drawing/2014/main" id="{80A4E5A9-0658-4044-B07A-0D2092A4E383}"/>
              </a:ext>
            </a:extLst>
          </p:cNvPr>
          <p:cNvCxnSpPr/>
          <p:nvPr/>
        </p:nvCxnSpPr>
        <p:spPr>
          <a:xfrm>
            <a:off x="4226768" y="1785257"/>
            <a:ext cx="0" cy="3722914"/>
          </a:xfrm>
          <a:prstGeom prst="line">
            <a:avLst/>
          </a:prstGeom>
          <a:ln>
            <a:solidFill>
              <a:srgbClr val="B41F7A"/>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4D75561-E2B9-D860-68A2-AEBCFB34CFB8}"/>
              </a:ext>
            </a:extLst>
          </p:cNvPr>
          <p:cNvSpPr/>
          <p:nvPr/>
        </p:nvSpPr>
        <p:spPr>
          <a:xfrm>
            <a:off x="634089" y="210235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8" name="TextBox 125">
            <a:extLst>
              <a:ext uri="{FF2B5EF4-FFF2-40B4-BE49-F238E27FC236}">
                <a16:creationId xmlns:a16="http://schemas.microsoft.com/office/drawing/2014/main" id="{9BED686A-47A4-F647-EA7A-E1D7671600A2}"/>
              </a:ext>
            </a:extLst>
          </p:cNvPr>
          <p:cNvSpPr txBox="1"/>
          <p:nvPr/>
        </p:nvSpPr>
        <p:spPr>
          <a:xfrm>
            <a:off x="7774524" y="613340"/>
            <a:ext cx="4208369" cy="5020733"/>
          </a:xfrm>
          <a:prstGeom prst="rect">
            <a:avLst/>
          </a:prstGeom>
          <a:noFill/>
        </p:spPr>
        <p:txBody>
          <a:bodyPr wrap="square" rtlCol="0" anchor="t" anchorCtr="0">
            <a:spAutoFit/>
          </a:bodyPr>
          <a:lstStyle/>
          <a:p>
            <a:pPr marL="342900" indent="-342900" algn="l" rtl="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Los líderes nacen, no se hacen</a:t>
            </a:r>
          </a:p>
          <a:p>
            <a:pPr marL="342900" indent="-342900" algn="l" rtl="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Los verdaderos líderes son carismáticos extrovertidos</a:t>
            </a:r>
          </a:p>
          <a:p>
            <a:pPr marL="342900" indent="-342900" algn="l" rtl="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El liderazgo depende de su posición/título</a:t>
            </a:r>
          </a:p>
          <a:p>
            <a:pPr marL="342900" indent="-342900" algn="l" rtl="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Los líderes siempre están “encendidos”</a:t>
            </a:r>
          </a:p>
          <a:p>
            <a:pPr marL="342900" indent="-342900" algn="l" rtl="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El liderazgo se trata de gustar</a:t>
            </a:r>
          </a:p>
          <a:p>
            <a:pPr marL="342900" indent="-342900" algn="l" rtl="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El liderazgo es un evento programado.</a:t>
            </a:r>
          </a:p>
          <a:p>
            <a:pPr marL="342900" indent="-342900" algn="l" rtl="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Y muchos más.</a:t>
            </a:r>
          </a:p>
          <a:p>
            <a:pPr marL="342900" indent="-342900" algn="l" rtl="0">
              <a:lnSpc>
                <a:spcPts val="2200"/>
              </a:lnSpc>
              <a:spcBef>
                <a:spcPts val="600"/>
              </a:spcBef>
              <a:buClr>
                <a:srgbClr val="EDA13E"/>
              </a:buClr>
              <a:buFont typeface="Arial" panose="020B0604020202020204" pitchFamily="34" charset="0"/>
              <a:buChar char="•"/>
            </a:pPr>
            <a:endParaRPr lang="en-GB" sz="2200" dirty="0">
              <a:solidFill>
                <a:srgbClr val="595959"/>
              </a:solidFill>
              <a:ea typeface="League Spartan" charset="0"/>
              <a:cs typeface="Poppins" pitchFamily="2" charset="77"/>
            </a:endParaRPr>
          </a:p>
          <a:p>
            <a:pPr algn="l" rtl="0">
              <a:lnSpc>
                <a:spcPts val="2200"/>
              </a:lnSpc>
              <a:spcBef>
                <a:spcPts val="600"/>
              </a:spcBef>
              <a:buClr>
                <a:srgbClr val="EDA13E"/>
              </a:buClr>
            </a:pPr>
            <a:r>
              <a:rPr lang="en-GB" sz="2200" b="1" dirty="0">
                <a:solidFill>
                  <a:schemeClr val="bg1"/>
                </a:solidFill>
                <a:highlight>
                  <a:srgbClr val="F16924"/>
                </a:highlight>
                <a:ea typeface="League Spartan" charset="0"/>
                <a:cs typeface="Poppins" pitchFamily="2" charset="77"/>
              </a:rPr>
              <a:t>LEER</a:t>
            </a:r>
            <a:r>
              <a:rPr lang="en-GB" sz="2200" dirty="0">
                <a:solidFill>
                  <a:srgbClr val="595959"/>
                </a:solidFill>
                <a:ea typeface="League Spartan" charset="0"/>
                <a:cs typeface="Poppins" pitchFamily="2" charset="77"/>
              </a:rPr>
              <a:t> </a:t>
            </a:r>
            <a:r>
              <a:rPr lang="en-GB" sz="2400" dirty="0">
                <a:hlinkClick r:id="rId3"/>
              </a:rPr>
              <a:t>10 mitos populares sobre el liderazgo y cómo superarlos (entrepreneur.com)</a:t>
            </a:r>
            <a:endParaRPr lang="en-GB" sz="2200" dirty="0">
              <a:solidFill>
                <a:schemeClr val="bg1"/>
              </a:solidFill>
              <a:highlight>
                <a:srgbClr val="F16924"/>
              </a:highlight>
              <a:ea typeface="League Spartan" charset="0"/>
              <a:cs typeface="Poppins" pitchFamily="2" charset="77"/>
            </a:endParaRPr>
          </a:p>
          <a:p>
            <a:pPr marL="342900" indent="-342900" algn="l" rtl="0">
              <a:lnSpc>
                <a:spcPts val="2200"/>
              </a:lnSpc>
              <a:spcBef>
                <a:spcPts val="600"/>
              </a:spcBef>
              <a:buClr>
                <a:srgbClr val="EDA13E"/>
              </a:buClr>
              <a:buFont typeface="Arial" panose="020B0604020202020204" pitchFamily="34" charset="0"/>
              <a:buChar char="•"/>
            </a:pPr>
            <a:endParaRPr lang="en-GB" sz="2200" dirty="0">
              <a:solidFill>
                <a:srgbClr val="595959"/>
              </a:solidFill>
              <a:ea typeface="League Spartan" charset="0"/>
              <a:cs typeface="Poppins" pitchFamily="2" charset="77"/>
            </a:endParaRPr>
          </a:p>
        </p:txBody>
      </p:sp>
      <p:pic>
        <p:nvPicPr>
          <p:cNvPr id="10" name="Picture 9">
            <a:extLst>
              <a:ext uri="{FF2B5EF4-FFF2-40B4-BE49-F238E27FC236}">
                <a16:creationId xmlns:a16="http://schemas.microsoft.com/office/drawing/2014/main" id="{6374E1CE-FE91-6A74-AFE6-BC088008C4D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flipH="1">
            <a:off x="4417475" y="2597709"/>
            <a:ext cx="3357049" cy="4260291"/>
          </a:xfrm>
          <a:prstGeom prst="rect">
            <a:avLst/>
          </a:prstGeom>
          <a:effectLst>
            <a:outerShdw blurRad="233154" dist="17463" dir="3180000" algn="tl" rotWithShape="0">
              <a:prstClr val="black">
                <a:alpha val="40000"/>
              </a:prstClr>
            </a:outerShdw>
          </a:effectLst>
        </p:spPr>
      </p:pic>
    </p:spTree>
    <p:extLst>
      <p:ext uri="{BB962C8B-B14F-4D97-AF65-F5344CB8AC3E}">
        <p14:creationId xmlns:p14="http://schemas.microsoft.com/office/powerpoint/2010/main" val="151856146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49">
            <a:extLst>
              <a:ext uri="{FF2B5EF4-FFF2-40B4-BE49-F238E27FC236}">
                <a16:creationId xmlns:a16="http://schemas.microsoft.com/office/drawing/2014/main" id="{D757A3B3-349A-E58F-6AEE-8284F535B134}"/>
              </a:ext>
            </a:extLst>
          </p:cNvPr>
          <p:cNvSpPr txBox="1"/>
          <p:nvPr/>
        </p:nvSpPr>
        <p:spPr>
          <a:xfrm>
            <a:off x="6159908" y="837186"/>
            <a:ext cx="5578549" cy="5964518"/>
          </a:xfrm>
          <a:prstGeom prst="rect">
            <a:avLst/>
          </a:prstGeom>
          <a:noFill/>
        </p:spPr>
        <p:txBody>
          <a:bodyPr wrap="square" numCol="1" rtlCol="0" anchor="t">
            <a:spAutoFit/>
          </a:bodyPr>
          <a:lstStyle/>
          <a:p>
            <a:pPr algn="l" rtl="0">
              <a:lnSpc>
                <a:spcPts val="2240"/>
              </a:lnSpc>
              <a:defRPr/>
            </a:pPr>
            <a:r>
              <a:rPr lang="en-GB" sz="2200" b="1" dirty="0">
                <a:solidFill>
                  <a:srgbClr val="F16924"/>
                </a:solidFill>
                <a:ea typeface="Lato Light" panose="020F0502020204030203" pitchFamily="34" charset="0"/>
                <a:cs typeface="Lato Light" panose="020F0502020204030203" pitchFamily="34" charset="0"/>
              </a:rPr>
              <a:t>Interrogar</a:t>
            </a:r>
          </a:p>
          <a:p>
            <a:pPr algn="l" rtl="0">
              <a:lnSpc>
                <a:spcPts val="2240"/>
              </a:lnSpc>
              <a:defRPr/>
            </a:pPr>
            <a:r>
              <a:rPr lang="en-GB" sz="2200" dirty="0">
                <a:solidFill>
                  <a:srgbClr val="595959"/>
                </a:solidFill>
                <a:ea typeface="Lato Light" panose="020F0502020204030203" pitchFamily="34" charset="0"/>
                <a:cs typeface="Lato Light" panose="020F0502020204030203" pitchFamily="34" charset="0"/>
              </a:rPr>
              <a:t>No olvide decirles a las partes interesadas que la crisis ha terminado. Informe a todos los involucrados o afectados.</a:t>
            </a:r>
          </a:p>
          <a:p>
            <a:pPr algn="l" rtl="0">
              <a:defRPr/>
            </a:pPr>
            <a:endParaRPr lang="en-GB" sz="2200" dirty="0">
              <a:solidFill>
                <a:srgbClr val="595959"/>
              </a:solidFill>
              <a:ea typeface="Lato Light" panose="020F0502020204030203" pitchFamily="34" charset="0"/>
              <a:cs typeface="Lato Light" panose="020F0502020204030203" pitchFamily="34" charset="0"/>
            </a:endParaRPr>
          </a:p>
          <a:p>
            <a:pPr algn="l" rtl="0">
              <a:lnSpc>
                <a:spcPts val="2240"/>
              </a:lnSpc>
              <a:defRPr/>
            </a:pPr>
            <a:r>
              <a:rPr lang="en-GB" sz="2200" b="1" dirty="0">
                <a:solidFill>
                  <a:srgbClr val="F16924"/>
                </a:solidFill>
                <a:ea typeface="Lato Light" panose="020F0502020204030203" pitchFamily="34" charset="0"/>
                <a:cs typeface="Lato Light" panose="020F0502020204030203" pitchFamily="34" charset="0"/>
              </a:rPr>
              <a:t>Analizar y Reportar</a:t>
            </a:r>
          </a:p>
          <a:p>
            <a:pPr algn="l" rtl="0">
              <a:lnSpc>
                <a:spcPts val="2240"/>
              </a:lnSpc>
              <a:defRPr/>
            </a:pPr>
            <a:r>
              <a:rPr lang="en-GB" sz="2200" dirty="0">
                <a:solidFill>
                  <a:srgbClr val="595959"/>
                </a:solidFill>
                <a:ea typeface="Lato Light" panose="020F0502020204030203" pitchFamily="34" charset="0"/>
                <a:cs typeface="Lato Light" panose="020F0502020204030203" pitchFamily="34" charset="0"/>
              </a:rPr>
              <a:t>Escriba un breve informe de causas, responsabilidades, éxitos, fracasos y recomendaciones para mejorar.</a:t>
            </a:r>
          </a:p>
          <a:p>
            <a:pPr algn="l" rtl="0">
              <a:defRPr/>
            </a:pPr>
            <a:endParaRPr lang="en-GB" sz="2200" dirty="0">
              <a:solidFill>
                <a:srgbClr val="595959"/>
              </a:solidFill>
              <a:ea typeface="Lato Light" panose="020F0502020204030203" pitchFamily="34" charset="0"/>
              <a:cs typeface="Lato Light" panose="020F0502020204030203" pitchFamily="34" charset="0"/>
            </a:endParaRPr>
          </a:p>
          <a:p>
            <a:pPr algn="l" rtl="0">
              <a:lnSpc>
                <a:spcPts val="2240"/>
              </a:lnSpc>
              <a:defRPr/>
            </a:pPr>
            <a:r>
              <a:rPr lang="en-GB" sz="2200" b="1" dirty="0">
                <a:solidFill>
                  <a:srgbClr val="F16924"/>
                </a:solidFill>
                <a:ea typeface="Lato Light" panose="020F0502020204030203" pitchFamily="34" charset="0"/>
                <a:cs typeface="Lato Light" panose="020F0502020204030203" pitchFamily="34" charset="0"/>
              </a:rPr>
              <a:t>Premio</a:t>
            </a:r>
          </a:p>
          <a:p>
            <a:pPr algn="l" rtl="0">
              <a:lnSpc>
                <a:spcPts val="2240"/>
              </a:lnSpc>
              <a:defRPr/>
            </a:pPr>
            <a:r>
              <a:rPr lang="en-GB" sz="2200" dirty="0">
                <a:solidFill>
                  <a:srgbClr val="595959"/>
                </a:solidFill>
                <a:ea typeface="Lato Light" panose="020F0502020204030203" pitchFamily="34" charset="0"/>
                <a:cs typeface="Lato Light" panose="020F0502020204030203" pitchFamily="34" charset="0"/>
              </a:rPr>
              <a:t>Reconocer y premiar a quienes contribuyeron a la gestión de la crisis.</a:t>
            </a:r>
          </a:p>
          <a:p>
            <a:pPr algn="l" rtl="0">
              <a:defRPr/>
            </a:pPr>
            <a:endParaRPr lang="en-GB" sz="2200" dirty="0">
              <a:solidFill>
                <a:srgbClr val="595959"/>
              </a:solidFill>
              <a:ea typeface="Lato Light" panose="020F0502020204030203" pitchFamily="34" charset="0"/>
              <a:cs typeface="Lato Light" panose="020F0502020204030203" pitchFamily="34" charset="0"/>
            </a:endParaRPr>
          </a:p>
          <a:p>
            <a:pPr algn="l" rtl="0">
              <a:lnSpc>
                <a:spcPts val="2240"/>
              </a:lnSpc>
              <a:defRPr/>
            </a:pPr>
            <a:r>
              <a:rPr lang="en-GB" sz="2200" b="1" dirty="0">
                <a:solidFill>
                  <a:srgbClr val="F16924"/>
                </a:solidFill>
                <a:ea typeface="Lato Light" panose="020F0502020204030203" pitchFamily="34" charset="0"/>
                <a:cs typeface="Lato Light" panose="020F0502020204030203" pitchFamily="34" charset="0"/>
              </a:rPr>
              <a:t>reconstruir la confianza</a:t>
            </a:r>
          </a:p>
          <a:p>
            <a:pPr algn="l" rtl="0">
              <a:lnSpc>
                <a:spcPts val="2240"/>
              </a:lnSpc>
              <a:defRPr/>
            </a:pPr>
            <a:r>
              <a:rPr lang="en-GB" sz="2200" dirty="0">
                <a:solidFill>
                  <a:srgbClr val="595959"/>
                </a:solidFill>
                <a:ea typeface="Lato Light" panose="020F0502020204030203" pitchFamily="34" charset="0"/>
                <a:cs typeface="Lato Light" panose="020F0502020204030203" pitchFamily="34" charset="0"/>
              </a:rPr>
              <a:t>Siga los planes de recuperación para reconstruir la confianza, la reputación, la moral de los empleados y reducir el estrés.</a:t>
            </a:r>
          </a:p>
          <a:p>
            <a:pPr algn="l" rtl="0">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algn="l" rtl="0">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p:txBody>
      </p:sp>
      <p:sp>
        <p:nvSpPr>
          <p:cNvPr id="65" name="Rectangle 64">
            <a:extLst>
              <a:ext uri="{FF2B5EF4-FFF2-40B4-BE49-F238E27FC236}">
                <a16:creationId xmlns:a16="http://schemas.microsoft.com/office/drawing/2014/main" id="{AF40216C-D6F3-F306-3BA4-29DF71354095}"/>
              </a:ext>
            </a:extLst>
          </p:cNvPr>
          <p:cNvSpPr/>
          <p:nvPr/>
        </p:nvSpPr>
        <p:spPr>
          <a:xfrm>
            <a:off x="351337" y="0"/>
            <a:ext cx="5105433"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69" name="Text Placeholder 3">
            <a:extLst>
              <a:ext uri="{FF2B5EF4-FFF2-40B4-BE49-F238E27FC236}">
                <a16:creationId xmlns:a16="http://schemas.microsoft.com/office/drawing/2014/main" id="{A00325A7-0669-3AFE-FDAA-A3FA9F9AABB7}"/>
              </a:ext>
            </a:extLst>
          </p:cNvPr>
          <p:cNvSpPr>
            <a:spLocks noGrp="1"/>
          </p:cNvSpPr>
          <p:nvPr>
            <p:ph type="body" sz="quarter" idx="16"/>
          </p:nvPr>
        </p:nvSpPr>
        <p:spPr>
          <a:xfrm>
            <a:off x="688814" y="550490"/>
            <a:ext cx="3654315" cy="3041709"/>
          </a:xfrm>
        </p:spPr>
        <p:txBody>
          <a:bodyPr>
            <a:normAutofit/>
          </a:bodyPr>
          <a:lstStyle/>
          <a:p>
            <a:pPr algn="l" rtl="0"/>
            <a:r>
              <a:rPr lang="en-GB" dirty="0">
                <a:solidFill>
                  <a:schemeClr val="bg1"/>
                </a:solidFill>
              </a:rPr>
              <a:t>Reglas básicas de comunicación</a:t>
            </a:r>
            <a:r>
              <a:rPr lang="en-GB" b="1" dirty="0">
                <a:solidFill>
                  <a:schemeClr val="bg1"/>
                </a:solidFill>
              </a:rPr>
              <a:t>DESPUÉS</a:t>
            </a:r>
            <a:r>
              <a:rPr lang="en-GB" dirty="0">
                <a:solidFill>
                  <a:schemeClr val="bg1"/>
                </a:solidFill>
              </a:rPr>
              <a:t>una crisis</a:t>
            </a:r>
          </a:p>
        </p:txBody>
      </p:sp>
      <p:grpSp>
        <p:nvGrpSpPr>
          <p:cNvPr id="71" name="Group 70">
            <a:extLst>
              <a:ext uri="{FF2B5EF4-FFF2-40B4-BE49-F238E27FC236}">
                <a16:creationId xmlns:a16="http://schemas.microsoft.com/office/drawing/2014/main" id="{417EDDE8-3EF8-2D15-C593-67EE955D566C}"/>
              </a:ext>
            </a:extLst>
          </p:cNvPr>
          <p:cNvGrpSpPr/>
          <p:nvPr/>
        </p:nvGrpSpPr>
        <p:grpSpPr>
          <a:xfrm>
            <a:off x="5108697" y="761340"/>
            <a:ext cx="701992" cy="701724"/>
            <a:chOff x="7037107" y="1407878"/>
            <a:chExt cx="701992" cy="701724"/>
          </a:xfrm>
        </p:grpSpPr>
        <p:sp>
          <p:nvSpPr>
            <p:cNvPr id="72" name="Freeform 71">
              <a:extLst>
                <a:ext uri="{FF2B5EF4-FFF2-40B4-BE49-F238E27FC236}">
                  <a16:creationId xmlns:a16="http://schemas.microsoft.com/office/drawing/2014/main" id="{98095F9C-2D50-BB58-C922-BA7BC79ECCAD}"/>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73" name="Freeform 72">
              <a:extLst>
                <a:ext uri="{FF2B5EF4-FFF2-40B4-BE49-F238E27FC236}">
                  <a16:creationId xmlns:a16="http://schemas.microsoft.com/office/drawing/2014/main" id="{07C391F8-3B5F-EE57-ACDE-0C45CCDE5EC7}"/>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74" name="TextBox 73">
              <a:extLst>
                <a:ext uri="{FF2B5EF4-FFF2-40B4-BE49-F238E27FC236}">
                  <a16:creationId xmlns:a16="http://schemas.microsoft.com/office/drawing/2014/main" id="{0C99CBC8-55E0-4EF9-F2B0-2A7229140B67}"/>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cxnSp>
        <p:nvCxnSpPr>
          <p:cNvPr id="76" name="Straight Connector 75">
            <a:extLst>
              <a:ext uri="{FF2B5EF4-FFF2-40B4-BE49-F238E27FC236}">
                <a16:creationId xmlns:a16="http://schemas.microsoft.com/office/drawing/2014/main" id="{F97680B3-A51B-00CC-60AD-B35BE7DB5730}"/>
              </a:ext>
            </a:extLst>
          </p:cNvPr>
          <p:cNvCxnSpPr>
            <a:cxnSpLocks/>
          </p:cNvCxnSpPr>
          <p:nvPr/>
        </p:nvCxnSpPr>
        <p:spPr>
          <a:xfrm>
            <a:off x="5456770" y="4776717"/>
            <a:ext cx="673523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61F7FA56-B03C-81F6-BE0E-2704DE19540A}"/>
              </a:ext>
            </a:extLst>
          </p:cNvPr>
          <p:cNvGrpSpPr/>
          <p:nvPr/>
        </p:nvGrpSpPr>
        <p:grpSpPr>
          <a:xfrm>
            <a:off x="5108697" y="2248717"/>
            <a:ext cx="701992" cy="701724"/>
            <a:chOff x="7037107" y="1407878"/>
            <a:chExt cx="701992" cy="701724"/>
          </a:xfrm>
        </p:grpSpPr>
        <p:sp>
          <p:nvSpPr>
            <p:cNvPr id="80" name="Freeform 79">
              <a:extLst>
                <a:ext uri="{FF2B5EF4-FFF2-40B4-BE49-F238E27FC236}">
                  <a16:creationId xmlns:a16="http://schemas.microsoft.com/office/drawing/2014/main" id="{AF46E66D-E6A0-1987-B05D-A2CE70685DAF}"/>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81" name="Freeform 80">
              <a:extLst>
                <a:ext uri="{FF2B5EF4-FFF2-40B4-BE49-F238E27FC236}">
                  <a16:creationId xmlns:a16="http://schemas.microsoft.com/office/drawing/2014/main" id="{85DA42FA-8CA0-338C-83AA-614E0F934049}"/>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82" name="TextBox 81">
              <a:extLst>
                <a:ext uri="{FF2B5EF4-FFF2-40B4-BE49-F238E27FC236}">
                  <a16:creationId xmlns:a16="http://schemas.microsoft.com/office/drawing/2014/main" id="{12106801-C2C7-8E46-397C-96E4A1EB230D}"/>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83" name="Group 82">
            <a:extLst>
              <a:ext uri="{FF2B5EF4-FFF2-40B4-BE49-F238E27FC236}">
                <a16:creationId xmlns:a16="http://schemas.microsoft.com/office/drawing/2014/main" id="{75A57721-777F-D1A0-CB43-D8CB08A5B899}"/>
              </a:ext>
            </a:extLst>
          </p:cNvPr>
          <p:cNvGrpSpPr/>
          <p:nvPr/>
        </p:nvGrpSpPr>
        <p:grpSpPr>
          <a:xfrm>
            <a:off x="5108697" y="3756245"/>
            <a:ext cx="701992" cy="701724"/>
            <a:chOff x="7037107" y="1407878"/>
            <a:chExt cx="701992" cy="701724"/>
          </a:xfrm>
        </p:grpSpPr>
        <p:sp>
          <p:nvSpPr>
            <p:cNvPr id="84" name="Freeform 83">
              <a:extLst>
                <a:ext uri="{FF2B5EF4-FFF2-40B4-BE49-F238E27FC236}">
                  <a16:creationId xmlns:a16="http://schemas.microsoft.com/office/drawing/2014/main" id="{ECF8D7B7-1411-C7E3-6DE1-A975704BD391}"/>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85" name="Freeform 84">
              <a:extLst>
                <a:ext uri="{FF2B5EF4-FFF2-40B4-BE49-F238E27FC236}">
                  <a16:creationId xmlns:a16="http://schemas.microsoft.com/office/drawing/2014/main" id="{40D11EB8-0496-080F-40D0-06CEA2D2659B}"/>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86" name="TextBox 85">
              <a:extLst>
                <a:ext uri="{FF2B5EF4-FFF2-40B4-BE49-F238E27FC236}">
                  <a16:creationId xmlns:a16="http://schemas.microsoft.com/office/drawing/2014/main" id="{122A56BA-D6CF-12BA-C3F6-911549DF82E2}"/>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87" name="Group 86">
            <a:extLst>
              <a:ext uri="{FF2B5EF4-FFF2-40B4-BE49-F238E27FC236}">
                <a16:creationId xmlns:a16="http://schemas.microsoft.com/office/drawing/2014/main" id="{A4927791-10A8-A9A8-3503-B9E95739B9CF}"/>
              </a:ext>
            </a:extLst>
          </p:cNvPr>
          <p:cNvGrpSpPr/>
          <p:nvPr/>
        </p:nvGrpSpPr>
        <p:grpSpPr>
          <a:xfrm>
            <a:off x="5108697" y="4903238"/>
            <a:ext cx="701992" cy="701724"/>
            <a:chOff x="7037107" y="1407878"/>
            <a:chExt cx="701992" cy="701724"/>
          </a:xfrm>
        </p:grpSpPr>
        <p:sp>
          <p:nvSpPr>
            <p:cNvPr id="88" name="Freeform 87">
              <a:extLst>
                <a:ext uri="{FF2B5EF4-FFF2-40B4-BE49-F238E27FC236}">
                  <a16:creationId xmlns:a16="http://schemas.microsoft.com/office/drawing/2014/main" id="{9CB37A8D-E0C6-DA20-9EF8-EB65E31195C6}"/>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89" name="Freeform 88">
              <a:extLst>
                <a:ext uri="{FF2B5EF4-FFF2-40B4-BE49-F238E27FC236}">
                  <a16:creationId xmlns:a16="http://schemas.microsoft.com/office/drawing/2014/main" id="{C42DB063-DFC6-3B81-2E91-713463015762}"/>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90" name="TextBox 89">
              <a:extLst>
                <a:ext uri="{FF2B5EF4-FFF2-40B4-BE49-F238E27FC236}">
                  <a16:creationId xmlns:a16="http://schemas.microsoft.com/office/drawing/2014/main" id="{9FA189D2-3675-3BF2-B140-2F43E499CDC3}"/>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sp>
        <p:nvSpPr>
          <p:cNvPr id="2" name="Text Placeholder 2">
            <a:extLst>
              <a:ext uri="{FF2B5EF4-FFF2-40B4-BE49-F238E27FC236}">
                <a16:creationId xmlns:a16="http://schemas.microsoft.com/office/drawing/2014/main" id="{046B1680-4210-0AD3-D76D-79A564F0B15B}"/>
              </a:ext>
            </a:extLst>
          </p:cNvPr>
          <p:cNvSpPr txBox="1">
            <a:spLocks/>
          </p:cNvSpPr>
          <p:nvPr/>
        </p:nvSpPr>
        <p:spPr>
          <a:xfrm>
            <a:off x="692494" y="3062178"/>
            <a:ext cx="3650635" cy="4261580"/>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r>
              <a:rPr lang="en-US" dirty="0">
                <a:solidFill>
                  <a:schemeClr val="bg1"/>
                </a:solidFill>
              </a:rPr>
              <a:t>Una vez que se ha dominado la crisis, muchas empresas "vuelven a la normalidad" con relativa rapidez. A menudo se olvidan de informar a las partes interesadas relevantes que la crisis se ha dominado con éxito. Sin embargo, aquí es exactamente donde comienza la reconstrucción de la confianza.</a:t>
            </a:r>
          </a:p>
        </p:txBody>
      </p:sp>
      <p:sp>
        <p:nvSpPr>
          <p:cNvPr id="4" name="Rectangle 3">
            <a:extLst>
              <a:ext uri="{FF2B5EF4-FFF2-40B4-BE49-F238E27FC236}">
                <a16:creationId xmlns:a16="http://schemas.microsoft.com/office/drawing/2014/main" id="{CC45B7D4-2E3F-83EC-3AED-84EAFD560075}"/>
              </a:ext>
            </a:extLst>
          </p:cNvPr>
          <p:cNvSpPr/>
          <p:nvPr/>
        </p:nvSpPr>
        <p:spPr>
          <a:xfrm>
            <a:off x="793240" y="2337471"/>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cxnSp>
        <p:nvCxnSpPr>
          <p:cNvPr id="7" name="Straight Connector 6">
            <a:extLst>
              <a:ext uri="{FF2B5EF4-FFF2-40B4-BE49-F238E27FC236}">
                <a16:creationId xmlns:a16="http://schemas.microsoft.com/office/drawing/2014/main" id="{AD972B35-57DF-D042-0CE8-AAA42335288B}"/>
              </a:ext>
            </a:extLst>
          </p:cNvPr>
          <p:cNvCxnSpPr>
            <a:cxnSpLocks/>
          </p:cNvCxnSpPr>
          <p:nvPr/>
        </p:nvCxnSpPr>
        <p:spPr>
          <a:xfrm>
            <a:off x="5456770" y="3569191"/>
            <a:ext cx="673523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ECD1B48-9863-6C06-BC63-4EAC5377C182}"/>
              </a:ext>
            </a:extLst>
          </p:cNvPr>
          <p:cNvCxnSpPr>
            <a:cxnSpLocks/>
          </p:cNvCxnSpPr>
          <p:nvPr/>
        </p:nvCxnSpPr>
        <p:spPr>
          <a:xfrm>
            <a:off x="5456770" y="2106459"/>
            <a:ext cx="673523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647173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0B16E9D-A2CC-9691-FAEE-6B2447670D92}"/>
              </a:ext>
            </a:extLst>
          </p:cNvPr>
          <p:cNvSpPr>
            <a:spLocks noGrp="1"/>
          </p:cNvSpPr>
          <p:nvPr>
            <p:ph type="body" sz="quarter" idx="17"/>
          </p:nvPr>
        </p:nvSpPr>
        <p:spPr/>
        <p:txBody>
          <a:bodyPr/>
          <a:lstStyle/>
          <a:p>
            <a:pPr algn="l" rtl="0"/>
            <a:r>
              <a:rPr lang="en-US" dirty="0"/>
              <a:t>04</a:t>
            </a:r>
          </a:p>
        </p:txBody>
      </p:sp>
      <p:sp>
        <p:nvSpPr>
          <p:cNvPr id="8" name="Text Placeholder 7">
            <a:extLst>
              <a:ext uri="{FF2B5EF4-FFF2-40B4-BE49-F238E27FC236}">
                <a16:creationId xmlns:a16="http://schemas.microsoft.com/office/drawing/2014/main" id="{643DDF24-9074-5912-521E-4097ECBB50FC}"/>
              </a:ext>
            </a:extLst>
          </p:cNvPr>
          <p:cNvSpPr>
            <a:spLocks noGrp="1"/>
          </p:cNvSpPr>
          <p:nvPr>
            <p:ph type="body" sz="quarter" idx="16"/>
          </p:nvPr>
        </p:nvSpPr>
        <p:spPr>
          <a:xfrm>
            <a:off x="2149154" y="1379072"/>
            <a:ext cx="4723594" cy="2438016"/>
          </a:xfrm>
        </p:spPr>
        <p:txBody>
          <a:bodyPr>
            <a:normAutofit/>
          </a:bodyPr>
          <a:lstStyle/>
          <a:p>
            <a:pPr algn="l" rtl="0"/>
            <a:r>
              <a:rPr lang="en-US" sz="3200" dirty="0">
                <a:solidFill>
                  <a:schemeClr val="bg1"/>
                </a:solidFill>
              </a:rPr>
              <a:t>Motivación en crisis: el papel del control</a:t>
            </a:r>
          </a:p>
        </p:txBody>
      </p:sp>
    </p:spTree>
    <p:extLst>
      <p:ext uri="{BB962C8B-B14F-4D97-AF65-F5344CB8AC3E}">
        <p14:creationId xmlns:p14="http://schemas.microsoft.com/office/powerpoint/2010/main" val="2627676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B94CB5-075B-68A2-1E09-FD32ECCDE6E5}"/>
              </a:ext>
            </a:extLst>
          </p:cNvPr>
          <p:cNvSpPr>
            <a:spLocks noGrp="1"/>
          </p:cNvSpPr>
          <p:nvPr>
            <p:ph type="body" sz="quarter" idx="18"/>
          </p:nvPr>
        </p:nvSpPr>
        <p:spPr>
          <a:xfrm>
            <a:off x="734714" y="2158583"/>
            <a:ext cx="6655437" cy="3867461"/>
          </a:xfrm>
        </p:spPr>
        <p:txBody>
          <a:bodyPr>
            <a:noAutofit/>
          </a:bodyPr>
          <a:lstStyle/>
          <a:p>
            <a:pPr marL="0" lvl="0" indent="0" algn="l" defTabSz="1087636" rtl="0">
              <a:lnSpc>
                <a:spcPts val="2240"/>
              </a:lnSpc>
              <a:spcBef>
                <a:spcPts val="0"/>
              </a:spcBef>
              <a:defRPr/>
            </a:pPr>
            <a:r>
              <a:rPr lang="en-GB" sz="2200" dirty="0">
                <a:ea typeface="Open Sans Light" panose="020B0306030504020204" pitchFamily="34" charset="0"/>
                <a:cs typeface="Open Sans Light" panose="020B0306030504020204" pitchFamily="34" charset="0"/>
              </a:rPr>
              <a:t>El control amplía el campo de la comunicación al permitir que los responsables cooperen con otras funciones. Cuando los gerentes y empleados de una empresa tienen, más o menos, la misma imagen de adónde "ir", qué caminos tomar, qué sistemas e instrumentos usar, qué condiciones marco considerar, etc., la comunicación y el trabajo pueden ser mucho más más focalizado y eficiente. La misma imagen de la gestión ayuda a reconocer más fácilmente en la vida cotidiana dónde existen desviaciones oa tomar las medidas correctas sin instrucciones estrechas/concretas.</a:t>
            </a:r>
          </a:p>
        </p:txBody>
      </p:sp>
      <p:sp>
        <p:nvSpPr>
          <p:cNvPr id="4" name="Text Placeholder 3">
            <a:extLst>
              <a:ext uri="{FF2B5EF4-FFF2-40B4-BE49-F238E27FC236}">
                <a16:creationId xmlns:a16="http://schemas.microsoft.com/office/drawing/2014/main" id="{42B05DD5-8C34-5B6B-5C36-3F0F45B95780}"/>
              </a:ext>
            </a:extLst>
          </p:cNvPr>
          <p:cNvSpPr>
            <a:spLocks noGrp="1"/>
          </p:cNvSpPr>
          <p:nvPr>
            <p:ph type="body" sz="quarter" idx="16"/>
          </p:nvPr>
        </p:nvSpPr>
        <p:spPr>
          <a:xfrm>
            <a:off x="734714" y="642972"/>
            <a:ext cx="4619165" cy="1260779"/>
          </a:xfrm>
        </p:spPr>
        <p:txBody>
          <a:bodyPr>
            <a:normAutofit/>
          </a:bodyPr>
          <a:lstStyle/>
          <a:p>
            <a:pPr algn="l" rtl="0"/>
            <a:r>
              <a:rPr lang="en-GB" dirty="0"/>
              <a:t>Motivación en crisis: el papel del control</a:t>
            </a:r>
          </a:p>
        </p:txBody>
      </p:sp>
      <p:pic>
        <p:nvPicPr>
          <p:cNvPr id="6" name="Picture 5">
            <a:extLst>
              <a:ext uri="{FF2B5EF4-FFF2-40B4-BE49-F238E27FC236}">
                <a16:creationId xmlns:a16="http://schemas.microsoft.com/office/drawing/2014/main" id="{0161D4CA-F5FA-C1E9-EBCD-85EBA639C585}"/>
              </a:ext>
            </a:extLst>
          </p:cNvPr>
          <p:cNvPicPr>
            <a:picLocks noChangeAspect="1"/>
          </p:cNvPicPr>
          <p:nvPr/>
        </p:nvPicPr>
        <p:blipFill rotWithShape="1">
          <a:blip r:embed="rId2"/>
          <a:srcRect l="14833" t="437" r="55071" b="-437"/>
          <a:stretch/>
        </p:blipFill>
        <p:spPr>
          <a:xfrm>
            <a:off x="7689954" y="1"/>
            <a:ext cx="3852862" cy="6857999"/>
          </a:xfrm>
          <a:prstGeom prst="rect">
            <a:avLst/>
          </a:prstGeom>
        </p:spPr>
      </p:pic>
      <p:sp>
        <p:nvSpPr>
          <p:cNvPr id="2" name="Rectangle 1">
            <a:extLst>
              <a:ext uri="{FF2B5EF4-FFF2-40B4-BE49-F238E27FC236}">
                <a16:creationId xmlns:a16="http://schemas.microsoft.com/office/drawing/2014/main" id="{F63D810A-8F98-ACED-CABD-9B95BF1A00DF}"/>
              </a:ext>
            </a:extLst>
          </p:cNvPr>
          <p:cNvSpPr/>
          <p:nvPr/>
        </p:nvSpPr>
        <p:spPr>
          <a:xfrm>
            <a:off x="698761" y="177656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Tree>
    <p:extLst>
      <p:ext uri="{BB962C8B-B14F-4D97-AF65-F5344CB8AC3E}">
        <p14:creationId xmlns:p14="http://schemas.microsoft.com/office/powerpoint/2010/main" val="57107635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Freeform 65">
            <a:extLst>
              <a:ext uri="{FF2B5EF4-FFF2-40B4-BE49-F238E27FC236}">
                <a16:creationId xmlns:a16="http://schemas.microsoft.com/office/drawing/2014/main" id="{B8BAD2A3-BC7F-1834-FDE8-04F7E6EA8736}"/>
              </a:ext>
            </a:extLst>
          </p:cNvPr>
          <p:cNvSpPr/>
          <p:nvPr/>
        </p:nvSpPr>
        <p:spPr>
          <a:xfrm rot="1363340">
            <a:off x="4052037" y="2759472"/>
            <a:ext cx="1204314" cy="1175314"/>
          </a:xfrm>
          <a:custGeom>
            <a:avLst/>
            <a:gdLst>
              <a:gd name="connsiteX0" fmla="*/ 1180319 w 3378706"/>
              <a:gd name="connsiteY0" fmla="*/ 0 h 3297346"/>
              <a:gd name="connsiteX1" fmla="*/ 3377856 w 3378706"/>
              <a:gd name="connsiteY1" fmla="*/ 908750 h 3297346"/>
              <a:gd name="connsiteX2" fmla="*/ 3338466 w 3378706"/>
              <a:gd name="connsiteY2" fmla="*/ 1019714 h 3297346"/>
              <a:gd name="connsiteX3" fmla="*/ 3339209 w 3378706"/>
              <a:gd name="connsiteY3" fmla="*/ 2281301 h 3297346"/>
              <a:gd name="connsiteX4" fmla="*/ 3378706 w 3378706"/>
              <a:gd name="connsiteY4" fmla="*/ 2390819 h 3297346"/>
              <a:gd name="connsiteX5" fmla="*/ 1175502 w 3378706"/>
              <a:gd name="connsiteY5" fmla="*/ 3297346 h 3297346"/>
              <a:gd name="connsiteX6" fmla="*/ 0 w 3378706"/>
              <a:gd name="connsiteY6" fmla="*/ 1652044 h 3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78706" h="3297346">
                <a:moveTo>
                  <a:pt x="1180319" y="0"/>
                </a:moveTo>
                <a:lnTo>
                  <a:pt x="3377856" y="908750"/>
                </a:lnTo>
                <a:lnTo>
                  <a:pt x="3338466" y="1019714"/>
                </a:lnTo>
                <a:cubicBezTo>
                  <a:pt x="3217337" y="1420667"/>
                  <a:pt x="3210534" y="1858407"/>
                  <a:pt x="3339209" y="2281301"/>
                </a:cubicBezTo>
                <a:lnTo>
                  <a:pt x="3378706" y="2390819"/>
                </a:lnTo>
                <a:lnTo>
                  <a:pt x="1175502" y="3297346"/>
                </a:lnTo>
                <a:lnTo>
                  <a:pt x="0" y="1652044"/>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rgbClr val="595959"/>
              </a:solidFill>
              <a:latin typeface="+mj-lt"/>
            </a:endParaRPr>
          </a:p>
        </p:txBody>
      </p:sp>
      <p:sp>
        <p:nvSpPr>
          <p:cNvPr id="41" name="Freeform 73">
            <a:extLst>
              <a:ext uri="{FF2B5EF4-FFF2-40B4-BE49-F238E27FC236}">
                <a16:creationId xmlns:a16="http://schemas.microsoft.com/office/drawing/2014/main" id="{81422360-9D8E-9204-721C-D4707AA83478}"/>
              </a:ext>
            </a:extLst>
          </p:cNvPr>
          <p:cNvSpPr/>
          <p:nvPr/>
        </p:nvSpPr>
        <p:spPr>
          <a:xfrm rot="1363340">
            <a:off x="6507925" y="3790757"/>
            <a:ext cx="1205433" cy="1175314"/>
          </a:xfrm>
          <a:custGeom>
            <a:avLst/>
            <a:gdLst>
              <a:gd name="connsiteX0" fmla="*/ 2837 w 3381845"/>
              <a:gd name="connsiteY0" fmla="*/ 906652 h 3297345"/>
              <a:gd name="connsiteX1" fmla="*/ 2206344 w 3381845"/>
              <a:gd name="connsiteY1" fmla="*/ 0 h 3297345"/>
              <a:gd name="connsiteX2" fmla="*/ 3381845 w 3381845"/>
              <a:gd name="connsiteY2" fmla="*/ 1645300 h 3297345"/>
              <a:gd name="connsiteX3" fmla="*/ 2201526 w 3381845"/>
              <a:gd name="connsiteY3" fmla="*/ 3297345 h 3297345"/>
              <a:gd name="connsiteX4" fmla="*/ 0 w 3381845"/>
              <a:gd name="connsiteY4" fmla="*/ 2386946 h 3297345"/>
              <a:gd name="connsiteX5" fmla="*/ 40902 w 3381845"/>
              <a:gd name="connsiteY5" fmla="*/ 2271725 h 3297345"/>
              <a:gd name="connsiteX6" fmla="*/ 40159 w 3381845"/>
              <a:gd name="connsiteY6" fmla="*/ 1010137 h 329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845" h="3297345">
                <a:moveTo>
                  <a:pt x="2837" y="906652"/>
                </a:moveTo>
                <a:lnTo>
                  <a:pt x="2206344" y="0"/>
                </a:lnTo>
                <a:lnTo>
                  <a:pt x="3381845" y="1645300"/>
                </a:lnTo>
                <a:lnTo>
                  <a:pt x="2201526" y="3297345"/>
                </a:lnTo>
                <a:lnTo>
                  <a:pt x="0" y="2386946"/>
                </a:lnTo>
                <a:lnTo>
                  <a:pt x="40902" y="2271725"/>
                </a:lnTo>
                <a:cubicBezTo>
                  <a:pt x="162031" y="1870771"/>
                  <a:pt x="168834" y="1433031"/>
                  <a:pt x="40159" y="1010137"/>
                </a:cubicBez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rgbClr val="595959"/>
              </a:solidFill>
              <a:latin typeface="+mj-lt"/>
            </a:endParaRPr>
          </a:p>
        </p:txBody>
      </p:sp>
      <p:sp>
        <p:nvSpPr>
          <p:cNvPr id="6" name="Rectangle 5">
            <a:extLst>
              <a:ext uri="{FF2B5EF4-FFF2-40B4-BE49-F238E27FC236}">
                <a16:creationId xmlns:a16="http://schemas.microsoft.com/office/drawing/2014/main" id="{B1E04F49-6384-15AB-22BB-266E2249B24B}"/>
              </a:ext>
            </a:extLst>
          </p:cNvPr>
          <p:cNvSpPr/>
          <p:nvPr/>
        </p:nvSpPr>
        <p:spPr>
          <a:xfrm>
            <a:off x="0" y="119466"/>
            <a:ext cx="12192000" cy="91474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 name="Text Placeholder 3">
            <a:extLst>
              <a:ext uri="{FF2B5EF4-FFF2-40B4-BE49-F238E27FC236}">
                <a16:creationId xmlns:a16="http://schemas.microsoft.com/office/drawing/2014/main" id="{DCF0AFD1-78E0-6CC3-9E16-B88F885B95E2}"/>
              </a:ext>
            </a:extLst>
          </p:cNvPr>
          <p:cNvSpPr>
            <a:spLocks noGrp="1"/>
          </p:cNvSpPr>
          <p:nvPr>
            <p:ph type="body" sz="quarter" idx="16"/>
          </p:nvPr>
        </p:nvSpPr>
        <p:spPr>
          <a:xfrm>
            <a:off x="529759" y="328024"/>
            <a:ext cx="11073661" cy="582221"/>
          </a:xfrm>
        </p:spPr>
        <p:txBody>
          <a:bodyPr>
            <a:normAutofit lnSpcReduction="10000"/>
          </a:bodyPr>
          <a:lstStyle/>
          <a:p>
            <a:pPr algn="l" rtl="0"/>
            <a:r>
              <a:rPr lang="en-US" dirty="0">
                <a:solidFill>
                  <a:schemeClr val="bg1"/>
                </a:solidFill>
              </a:rPr>
              <a:t>Motivación en crisis: el papel del control</a:t>
            </a:r>
          </a:p>
          <a:p>
            <a:pPr algn="l" rtl="0"/>
            <a:endParaRPr lang="en-US" dirty="0"/>
          </a:p>
        </p:txBody>
      </p:sp>
      <p:sp>
        <p:nvSpPr>
          <p:cNvPr id="7" name="Freeform 61">
            <a:extLst>
              <a:ext uri="{FF2B5EF4-FFF2-40B4-BE49-F238E27FC236}">
                <a16:creationId xmlns:a16="http://schemas.microsoft.com/office/drawing/2014/main" id="{4C987845-F72B-8AC9-F51A-ED4EEA3A1B0A}"/>
              </a:ext>
            </a:extLst>
          </p:cNvPr>
          <p:cNvSpPr/>
          <p:nvPr/>
        </p:nvSpPr>
        <p:spPr>
          <a:xfrm rot="1363340">
            <a:off x="5792803" y="2041406"/>
            <a:ext cx="1186490" cy="1205011"/>
          </a:xfrm>
          <a:custGeom>
            <a:avLst/>
            <a:gdLst>
              <a:gd name="connsiteX0" fmla="*/ 1669783 w 3328700"/>
              <a:gd name="connsiteY0" fmla="*/ 0 h 3380659"/>
              <a:gd name="connsiteX1" fmla="*/ 3328700 w 3328700"/>
              <a:gd name="connsiteY1" fmla="*/ 1185230 h 3380659"/>
              <a:gd name="connsiteX2" fmla="*/ 2416872 w 3328700"/>
              <a:gd name="connsiteY2" fmla="*/ 3378978 h 3380659"/>
              <a:gd name="connsiteX3" fmla="*/ 2297921 w 3328700"/>
              <a:gd name="connsiteY3" fmla="*/ 3336751 h 3380659"/>
              <a:gd name="connsiteX4" fmla="*/ 1036334 w 3328700"/>
              <a:gd name="connsiteY4" fmla="*/ 3337495 h 3380659"/>
              <a:gd name="connsiteX5" fmla="*/ 916645 w 3328700"/>
              <a:gd name="connsiteY5" fmla="*/ 3380659 h 3380659"/>
              <a:gd name="connsiteX6" fmla="*/ 0 w 3328700"/>
              <a:gd name="connsiteY6" fmla="*/ 1192992 h 33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0659">
                <a:moveTo>
                  <a:pt x="1669783" y="0"/>
                </a:moveTo>
                <a:lnTo>
                  <a:pt x="3328700" y="1185230"/>
                </a:lnTo>
                <a:lnTo>
                  <a:pt x="2416872" y="3378978"/>
                </a:lnTo>
                <a:lnTo>
                  <a:pt x="2297921" y="3336751"/>
                </a:lnTo>
                <a:cubicBezTo>
                  <a:pt x="1896967" y="3215623"/>
                  <a:pt x="1459228" y="3208820"/>
                  <a:pt x="1036334" y="3337495"/>
                </a:cubicBezTo>
                <a:lnTo>
                  <a:pt x="916645" y="3380659"/>
                </a:lnTo>
                <a:lnTo>
                  <a:pt x="0" y="1192992"/>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rgbClr val="595959"/>
              </a:solidFill>
              <a:latin typeface="+mj-lt"/>
            </a:endParaRPr>
          </a:p>
        </p:txBody>
      </p:sp>
      <p:sp>
        <p:nvSpPr>
          <p:cNvPr id="8" name="Freeform 75">
            <a:extLst>
              <a:ext uri="{FF2B5EF4-FFF2-40B4-BE49-F238E27FC236}">
                <a16:creationId xmlns:a16="http://schemas.microsoft.com/office/drawing/2014/main" id="{0F02604D-1594-1AB7-CB8B-810FC8DFEF1A}"/>
              </a:ext>
            </a:extLst>
          </p:cNvPr>
          <p:cNvSpPr/>
          <p:nvPr/>
        </p:nvSpPr>
        <p:spPr>
          <a:xfrm rot="1363340">
            <a:off x="6482688" y="2808000"/>
            <a:ext cx="1157963" cy="1159792"/>
          </a:xfrm>
          <a:custGeom>
            <a:avLst/>
            <a:gdLst>
              <a:gd name="connsiteX0" fmla="*/ 913025 w 3248668"/>
              <a:gd name="connsiteY0" fmla="*/ 0 h 3253798"/>
              <a:gd name="connsiteX1" fmla="*/ 2912846 w 3248668"/>
              <a:gd name="connsiteY1" fmla="*/ 333074 h 3253798"/>
              <a:gd name="connsiteX2" fmla="*/ 3248668 w 3248668"/>
              <a:gd name="connsiteY2" fmla="*/ 2349394 h 3253798"/>
              <a:gd name="connsiteX3" fmla="*/ 1050625 w 3248668"/>
              <a:gd name="connsiteY3" fmla="*/ 3253798 h 3253798"/>
              <a:gd name="connsiteX4" fmla="*/ 988555 w 3248668"/>
              <a:gd name="connsiteY4" fmla="*/ 3124324 h 3253798"/>
              <a:gd name="connsiteX5" fmla="*/ 90104 w 3248668"/>
              <a:gd name="connsiteY5" fmla="*/ 2238668 h 3253798"/>
              <a:gd name="connsiteX6" fmla="*/ 0 w 3248668"/>
              <a:gd name="connsiteY6" fmla="*/ 2196630 h 325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8668" h="3253798">
                <a:moveTo>
                  <a:pt x="913025" y="0"/>
                </a:moveTo>
                <a:lnTo>
                  <a:pt x="2912846" y="333074"/>
                </a:lnTo>
                <a:lnTo>
                  <a:pt x="3248668" y="2349394"/>
                </a:lnTo>
                <a:lnTo>
                  <a:pt x="1050625" y="3253798"/>
                </a:lnTo>
                <a:lnTo>
                  <a:pt x="988555" y="3124324"/>
                </a:lnTo>
                <a:cubicBezTo>
                  <a:pt x="777490" y="2735932"/>
                  <a:pt x="460796" y="2433663"/>
                  <a:pt x="90104" y="2238668"/>
                </a:cubicBezTo>
                <a:lnTo>
                  <a:pt x="0" y="2196630"/>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rgbClr val="595959"/>
              </a:solidFill>
              <a:latin typeface="+mj-lt"/>
            </a:endParaRPr>
          </a:p>
        </p:txBody>
      </p:sp>
      <p:sp>
        <p:nvSpPr>
          <p:cNvPr id="9" name="Freeform 63">
            <a:extLst>
              <a:ext uri="{FF2B5EF4-FFF2-40B4-BE49-F238E27FC236}">
                <a16:creationId xmlns:a16="http://schemas.microsoft.com/office/drawing/2014/main" id="{3B63C200-711A-2C22-CBBA-7FFF02B14666}"/>
              </a:ext>
            </a:extLst>
          </p:cNvPr>
          <p:cNvSpPr/>
          <p:nvPr/>
        </p:nvSpPr>
        <p:spPr>
          <a:xfrm rot="1363340">
            <a:off x="4807179" y="2106558"/>
            <a:ext cx="1155359" cy="1157443"/>
          </a:xfrm>
          <a:custGeom>
            <a:avLst/>
            <a:gdLst>
              <a:gd name="connsiteX0" fmla="*/ 334462 w 3241362"/>
              <a:gd name="connsiteY0" fmla="*/ 330874 h 3247207"/>
              <a:gd name="connsiteX1" fmla="*/ 2321077 w 3241362"/>
              <a:gd name="connsiteY1" fmla="*/ 0 h 3247207"/>
              <a:gd name="connsiteX2" fmla="*/ 3241362 w 3241362"/>
              <a:gd name="connsiteY2" fmla="*/ 2196353 h 3247207"/>
              <a:gd name="connsiteX3" fmla="*/ 3127428 w 3241362"/>
              <a:gd name="connsiteY3" fmla="*/ 2250973 h 3247207"/>
              <a:gd name="connsiteX4" fmla="*/ 2241771 w 3241362"/>
              <a:gd name="connsiteY4" fmla="*/ 3149425 h 3247207"/>
              <a:gd name="connsiteX5" fmla="*/ 2196152 w 3241362"/>
              <a:gd name="connsiteY5" fmla="*/ 3247207 h 3247207"/>
              <a:gd name="connsiteX6" fmla="*/ 0 w 3241362"/>
              <a:gd name="connsiteY6" fmla="*/ 2339029 h 3247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1362" h="3247207">
                <a:moveTo>
                  <a:pt x="334462" y="330874"/>
                </a:moveTo>
                <a:lnTo>
                  <a:pt x="2321077" y="0"/>
                </a:lnTo>
                <a:lnTo>
                  <a:pt x="3241362" y="2196353"/>
                </a:lnTo>
                <a:lnTo>
                  <a:pt x="3127428" y="2250973"/>
                </a:lnTo>
                <a:cubicBezTo>
                  <a:pt x="2739036" y="2462038"/>
                  <a:pt x="2436766" y="2778733"/>
                  <a:pt x="2241771" y="3149425"/>
                </a:cubicBezTo>
                <a:lnTo>
                  <a:pt x="2196152" y="3247207"/>
                </a:lnTo>
                <a:lnTo>
                  <a:pt x="0" y="2339029"/>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rgbClr val="595959"/>
              </a:solidFill>
              <a:latin typeface="+mj-lt"/>
            </a:endParaRPr>
          </a:p>
        </p:txBody>
      </p:sp>
      <p:sp>
        <p:nvSpPr>
          <p:cNvPr id="12" name="Freeform 67">
            <a:extLst>
              <a:ext uri="{FF2B5EF4-FFF2-40B4-BE49-F238E27FC236}">
                <a16:creationId xmlns:a16="http://schemas.microsoft.com/office/drawing/2014/main" id="{E5CA4C10-F20D-B1F4-D297-8A7E18256770}"/>
              </a:ext>
            </a:extLst>
          </p:cNvPr>
          <p:cNvSpPr/>
          <p:nvPr/>
        </p:nvSpPr>
        <p:spPr>
          <a:xfrm rot="1363340">
            <a:off x="4105988" y="3778847"/>
            <a:ext cx="1158553" cy="1159835"/>
          </a:xfrm>
          <a:custGeom>
            <a:avLst/>
            <a:gdLst>
              <a:gd name="connsiteX0" fmla="*/ 0 w 3250323"/>
              <a:gd name="connsiteY0" fmla="*/ 904525 h 3253919"/>
              <a:gd name="connsiteX1" fmla="*/ 2198339 w 3250323"/>
              <a:gd name="connsiteY1" fmla="*/ 0 h 3253919"/>
              <a:gd name="connsiteX2" fmla="*/ 2257636 w 3250323"/>
              <a:gd name="connsiteY2" fmla="*/ 123689 h 3253919"/>
              <a:gd name="connsiteX3" fmla="*/ 3156088 w 3250323"/>
              <a:gd name="connsiteY3" fmla="*/ 1009346 h 3253919"/>
              <a:gd name="connsiteX4" fmla="*/ 3250323 w 3250323"/>
              <a:gd name="connsiteY4" fmla="*/ 1053310 h 3253919"/>
              <a:gd name="connsiteX5" fmla="*/ 2335643 w 3250323"/>
              <a:gd name="connsiteY5" fmla="*/ 3253919 h 3253919"/>
              <a:gd name="connsiteX6" fmla="*/ 335822 w 3250323"/>
              <a:gd name="connsiteY6" fmla="*/ 2920845 h 325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0323" h="3253919">
                <a:moveTo>
                  <a:pt x="0" y="904525"/>
                </a:moveTo>
                <a:lnTo>
                  <a:pt x="2198339" y="0"/>
                </a:lnTo>
                <a:lnTo>
                  <a:pt x="2257636" y="123689"/>
                </a:lnTo>
                <a:cubicBezTo>
                  <a:pt x="2468702" y="512080"/>
                  <a:pt x="2785396" y="814350"/>
                  <a:pt x="3156088" y="1009346"/>
                </a:cubicBezTo>
                <a:lnTo>
                  <a:pt x="3250323" y="1053310"/>
                </a:lnTo>
                <a:lnTo>
                  <a:pt x="2335643" y="3253919"/>
                </a:lnTo>
                <a:lnTo>
                  <a:pt x="335822" y="2920845"/>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rgbClr val="595959"/>
              </a:solidFill>
              <a:latin typeface="+mj-lt"/>
            </a:endParaRPr>
          </a:p>
        </p:txBody>
      </p:sp>
      <p:sp>
        <p:nvSpPr>
          <p:cNvPr id="13" name="Freeform 71">
            <a:extLst>
              <a:ext uri="{FF2B5EF4-FFF2-40B4-BE49-F238E27FC236}">
                <a16:creationId xmlns:a16="http://schemas.microsoft.com/office/drawing/2014/main" id="{C2CF79AA-5531-3EC0-6A19-90CE76B96FCD}"/>
              </a:ext>
            </a:extLst>
          </p:cNvPr>
          <p:cNvSpPr/>
          <p:nvPr/>
        </p:nvSpPr>
        <p:spPr>
          <a:xfrm rot="1363340">
            <a:off x="5783390" y="4481774"/>
            <a:ext cx="1156242" cy="1158089"/>
          </a:xfrm>
          <a:custGeom>
            <a:avLst/>
            <a:gdLst>
              <a:gd name="connsiteX0" fmla="*/ 1043303 w 3243838"/>
              <a:gd name="connsiteY0" fmla="*/ 0 h 3249020"/>
              <a:gd name="connsiteX1" fmla="*/ 3243838 w 3243838"/>
              <a:gd name="connsiteY1" fmla="*/ 909991 h 3249020"/>
              <a:gd name="connsiteX2" fmla="*/ 2909376 w 3243838"/>
              <a:gd name="connsiteY2" fmla="*/ 2918146 h 3249020"/>
              <a:gd name="connsiteX3" fmla="*/ 922760 w 3243838"/>
              <a:gd name="connsiteY3" fmla="*/ 3249020 h 3249020"/>
              <a:gd name="connsiteX4" fmla="*/ 0 w 3243838"/>
              <a:gd name="connsiteY4" fmla="*/ 1046760 h 3249020"/>
              <a:gd name="connsiteX5" fmla="*/ 113936 w 3243838"/>
              <a:gd name="connsiteY5" fmla="*/ 992139 h 3249020"/>
              <a:gd name="connsiteX6" fmla="*/ 999593 w 3243838"/>
              <a:gd name="connsiteY6" fmla="*/ 93687 h 324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3838" h="3249020">
                <a:moveTo>
                  <a:pt x="1043303" y="0"/>
                </a:moveTo>
                <a:lnTo>
                  <a:pt x="3243838" y="909991"/>
                </a:lnTo>
                <a:lnTo>
                  <a:pt x="2909376" y="2918146"/>
                </a:lnTo>
                <a:lnTo>
                  <a:pt x="922760" y="3249020"/>
                </a:lnTo>
                <a:lnTo>
                  <a:pt x="0" y="1046760"/>
                </a:lnTo>
                <a:lnTo>
                  <a:pt x="113936" y="992139"/>
                </a:lnTo>
                <a:cubicBezTo>
                  <a:pt x="502328" y="781074"/>
                  <a:pt x="804598" y="464379"/>
                  <a:pt x="999593" y="93687"/>
                </a:cubicBez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rgbClr val="595959"/>
              </a:solidFill>
              <a:latin typeface="+mj-lt"/>
            </a:endParaRPr>
          </a:p>
        </p:txBody>
      </p:sp>
      <p:sp>
        <p:nvSpPr>
          <p:cNvPr id="14" name="Freeform 69">
            <a:extLst>
              <a:ext uri="{FF2B5EF4-FFF2-40B4-BE49-F238E27FC236}">
                <a16:creationId xmlns:a16="http://schemas.microsoft.com/office/drawing/2014/main" id="{EB714AA5-5C92-1ADE-045F-4E7DBDC83325}"/>
              </a:ext>
            </a:extLst>
          </p:cNvPr>
          <p:cNvSpPr/>
          <p:nvPr/>
        </p:nvSpPr>
        <p:spPr>
          <a:xfrm rot="1363340">
            <a:off x="4767766" y="4498126"/>
            <a:ext cx="1186490" cy="1207116"/>
          </a:xfrm>
          <a:custGeom>
            <a:avLst/>
            <a:gdLst>
              <a:gd name="connsiteX0" fmla="*/ 913648 w 3328700"/>
              <a:gd name="connsiteY0" fmla="*/ 3208 h 3386565"/>
              <a:gd name="connsiteX1" fmla="*/ 1028303 w 3328700"/>
              <a:gd name="connsiteY1" fmla="*/ 43909 h 3386565"/>
              <a:gd name="connsiteX2" fmla="*/ 2289890 w 3328700"/>
              <a:gd name="connsiteY2" fmla="*/ 43165 h 3386565"/>
              <a:gd name="connsiteX3" fmla="*/ 2409580 w 3328700"/>
              <a:gd name="connsiteY3" fmla="*/ 0 h 3386565"/>
              <a:gd name="connsiteX4" fmla="*/ 3328700 w 3328700"/>
              <a:gd name="connsiteY4" fmla="*/ 2193574 h 3386565"/>
              <a:gd name="connsiteX5" fmla="*/ 1658918 w 3328700"/>
              <a:gd name="connsiteY5" fmla="*/ 3386565 h 3386565"/>
              <a:gd name="connsiteX6" fmla="*/ 0 w 3328700"/>
              <a:gd name="connsiteY6" fmla="*/ 2201336 h 338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6565">
                <a:moveTo>
                  <a:pt x="913648" y="3208"/>
                </a:moveTo>
                <a:lnTo>
                  <a:pt x="1028303" y="43909"/>
                </a:lnTo>
                <a:cubicBezTo>
                  <a:pt x="1429256" y="165037"/>
                  <a:pt x="1866996" y="171841"/>
                  <a:pt x="2289890" y="43165"/>
                </a:cubicBezTo>
                <a:lnTo>
                  <a:pt x="2409580" y="0"/>
                </a:lnTo>
                <a:lnTo>
                  <a:pt x="3328700" y="2193574"/>
                </a:lnTo>
                <a:lnTo>
                  <a:pt x="1658918" y="3386565"/>
                </a:lnTo>
                <a:lnTo>
                  <a:pt x="0" y="2201336"/>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rgbClr val="595959"/>
              </a:solidFill>
              <a:latin typeface="+mj-lt"/>
            </a:endParaRPr>
          </a:p>
        </p:txBody>
      </p:sp>
      <p:sp>
        <p:nvSpPr>
          <p:cNvPr id="15" name="Oval 76">
            <a:extLst>
              <a:ext uri="{FF2B5EF4-FFF2-40B4-BE49-F238E27FC236}">
                <a16:creationId xmlns:a16="http://schemas.microsoft.com/office/drawing/2014/main" id="{A8CD48B3-7C58-BCE5-AF99-1C8E144B7FB1}"/>
              </a:ext>
            </a:extLst>
          </p:cNvPr>
          <p:cNvSpPr/>
          <p:nvPr/>
        </p:nvSpPr>
        <p:spPr>
          <a:xfrm>
            <a:off x="5096168" y="3094983"/>
            <a:ext cx="1554316" cy="155431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rgbClr val="595959"/>
              </a:solidFill>
              <a:latin typeface="+mj-lt"/>
            </a:endParaRPr>
          </a:p>
        </p:txBody>
      </p:sp>
      <p:sp>
        <p:nvSpPr>
          <p:cNvPr id="16" name="TextBox 77">
            <a:extLst>
              <a:ext uri="{FF2B5EF4-FFF2-40B4-BE49-F238E27FC236}">
                <a16:creationId xmlns:a16="http://schemas.microsoft.com/office/drawing/2014/main" id="{558823E8-7B6E-96AE-283B-A70253D710F3}"/>
              </a:ext>
            </a:extLst>
          </p:cNvPr>
          <p:cNvSpPr txBox="1"/>
          <p:nvPr/>
        </p:nvSpPr>
        <p:spPr>
          <a:xfrm>
            <a:off x="2840542" y="5337298"/>
            <a:ext cx="1689950" cy="400110"/>
          </a:xfrm>
          <a:prstGeom prst="rect">
            <a:avLst/>
          </a:prstGeom>
          <a:noFill/>
        </p:spPr>
        <p:txBody>
          <a:bodyPr wrap="none" rtlCol="0" anchor="b" anchorCtr="0">
            <a:spAutoFit/>
          </a:bodyPr>
          <a:lstStyle/>
          <a:p>
            <a:pPr algn="l" rtl="0"/>
            <a:r>
              <a:rPr lang="en-GB" sz="2000" b="1" dirty="0">
                <a:solidFill>
                  <a:srgbClr val="F16924"/>
                </a:solidFill>
                <a:ea typeface="League Spartan" charset="0"/>
                <a:cs typeface="Poppins" pitchFamily="2" charset="77"/>
              </a:rPr>
              <a:t>Entrada externa</a:t>
            </a:r>
          </a:p>
        </p:txBody>
      </p:sp>
      <p:sp>
        <p:nvSpPr>
          <p:cNvPr id="17" name="Subtitle 2">
            <a:extLst>
              <a:ext uri="{FF2B5EF4-FFF2-40B4-BE49-F238E27FC236}">
                <a16:creationId xmlns:a16="http://schemas.microsoft.com/office/drawing/2014/main" id="{3E5177AF-7A31-1DEA-3061-20A32B8D00D8}"/>
              </a:ext>
            </a:extLst>
          </p:cNvPr>
          <p:cNvSpPr txBox="1">
            <a:spLocks/>
          </p:cNvSpPr>
          <p:nvPr/>
        </p:nvSpPr>
        <p:spPr>
          <a:xfrm>
            <a:off x="998510" y="5714561"/>
            <a:ext cx="3531982" cy="7656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Qué ofertas queremos ofrecer? ¿Cómo vemos cómo se han utilizado estas ofertas?</a:t>
            </a:r>
          </a:p>
        </p:txBody>
      </p:sp>
      <p:sp>
        <p:nvSpPr>
          <p:cNvPr id="18" name="TextBox 85">
            <a:extLst>
              <a:ext uri="{FF2B5EF4-FFF2-40B4-BE49-F238E27FC236}">
                <a16:creationId xmlns:a16="http://schemas.microsoft.com/office/drawing/2014/main" id="{913CC629-6473-E91A-4B42-2F8C214E9676}"/>
              </a:ext>
            </a:extLst>
          </p:cNvPr>
          <p:cNvSpPr txBox="1"/>
          <p:nvPr/>
        </p:nvSpPr>
        <p:spPr>
          <a:xfrm>
            <a:off x="6958194" y="5375998"/>
            <a:ext cx="1650708" cy="400110"/>
          </a:xfrm>
          <a:prstGeom prst="rect">
            <a:avLst/>
          </a:prstGeom>
          <a:noFill/>
        </p:spPr>
        <p:txBody>
          <a:bodyPr wrap="none" rtlCol="0" anchor="b" anchorCtr="0">
            <a:spAutoFit/>
          </a:bodyPr>
          <a:lstStyle/>
          <a:p>
            <a:pPr algn="l" rtl="0"/>
            <a:r>
              <a:rPr lang="en-GB" sz="2000" b="1" dirty="0">
                <a:solidFill>
                  <a:srgbClr val="B41F7A"/>
                </a:solidFill>
                <a:ea typeface="League Spartan" charset="0"/>
                <a:cs typeface="Poppins" pitchFamily="2" charset="77"/>
              </a:rPr>
              <a:t>Entrada interna</a:t>
            </a:r>
          </a:p>
        </p:txBody>
      </p:sp>
      <p:sp>
        <p:nvSpPr>
          <p:cNvPr id="19" name="Subtitle 2">
            <a:extLst>
              <a:ext uri="{FF2B5EF4-FFF2-40B4-BE49-F238E27FC236}">
                <a16:creationId xmlns:a16="http://schemas.microsoft.com/office/drawing/2014/main" id="{44B168B1-1E45-CAED-6350-57D925CDD3E2}"/>
              </a:ext>
            </a:extLst>
          </p:cNvPr>
          <p:cNvSpPr txBox="1">
            <a:spLocks/>
          </p:cNvSpPr>
          <p:nvPr/>
        </p:nvSpPr>
        <p:spPr>
          <a:xfrm>
            <a:off x="7048366" y="5764374"/>
            <a:ext cx="4192309" cy="7656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Qué queremos crear en la organización? ¿Qué nos muestra si hemos utilizado nuestros recursos de manera eficiente?</a:t>
            </a:r>
          </a:p>
        </p:txBody>
      </p:sp>
      <p:sp>
        <p:nvSpPr>
          <p:cNvPr id="20" name="TextBox 79">
            <a:extLst>
              <a:ext uri="{FF2B5EF4-FFF2-40B4-BE49-F238E27FC236}">
                <a16:creationId xmlns:a16="http://schemas.microsoft.com/office/drawing/2014/main" id="{2C6CE4C0-5F21-536A-0429-BAEE584F7DCB}"/>
              </a:ext>
            </a:extLst>
          </p:cNvPr>
          <p:cNvSpPr txBox="1"/>
          <p:nvPr/>
        </p:nvSpPr>
        <p:spPr>
          <a:xfrm>
            <a:off x="3712389" y="1255166"/>
            <a:ext cx="1056188" cy="400110"/>
          </a:xfrm>
          <a:prstGeom prst="rect">
            <a:avLst/>
          </a:prstGeom>
          <a:noFill/>
        </p:spPr>
        <p:txBody>
          <a:bodyPr wrap="none" rtlCol="0" anchor="b" anchorCtr="0">
            <a:spAutoFit/>
          </a:bodyPr>
          <a:lstStyle/>
          <a:p>
            <a:pPr algn="l" rtl="0"/>
            <a:r>
              <a:rPr lang="en-GB" sz="2000" b="1" dirty="0">
                <a:solidFill>
                  <a:srgbClr val="B41F7A"/>
                </a:solidFill>
                <a:ea typeface="League Spartan" charset="0"/>
                <a:cs typeface="Poppins" pitchFamily="2" charset="77"/>
              </a:rPr>
              <a:t>Salida</a:t>
            </a:r>
          </a:p>
        </p:txBody>
      </p:sp>
      <p:sp>
        <p:nvSpPr>
          <p:cNvPr id="21" name="Subtitle 2">
            <a:extLst>
              <a:ext uri="{FF2B5EF4-FFF2-40B4-BE49-F238E27FC236}">
                <a16:creationId xmlns:a16="http://schemas.microsoft.com/office/drawing/2014/main" id="{25AC9EE4-0828-1845-802A-B573693F0332}"/>
              </a:ext>
            </a:extLst>
          </p:cNvPr>
          <p:cNvSpPr txBox="1">
            <a:spLocks/>
          </p:cNvSpPr>
          <p:nvPr/>
        </p:nvSpPr>
        <p:spPr>
          <a:xfrm>
            <a:off x="998510" y="1610982"/>
            <a:ext cx="3724119" cy="52194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Cómo determinamos si se han logrado los objetivos?</a:t>
            </a:r>
          </a:p>
        </p:txBody>
      </p:sp>
      <p:sp>
        <p:nvSpPr>
          <p:cNvPr id="22" name="TextBox 87">
            <a:extLst>
              <a:ext uri="{FF2B5EF4-FFF2-40B4-BE49-F238E27FC236}">
                <a16:creationId xmlns:a16="http://schemas.microsoft.com/office/drawing/2014/main" id="{261406BE-63D2-4D98-8EED-7424A66B909A}"/>
              </a:ext>
            </a:extLst>
          </p:cNvPr>
          <p:cNvSpPr txBox="1"/>
          <p:nvPr/>
        </p:nvSpPr>
        <p:spPr>
          <a:xfrm>
            <a:off x="6898295" y="1241398"/>
            <a:ext cx="944810" cy="400110"/>
          </a:xfrm>
          <a:prstGeom prst="rect">
            <a:avLst/>
          </a:prstGeom>
          <a:noFill/>
        </p:spPr>
        <p:txBody>
          <a:bodyPr wrap="none" rtlCol="0" anchor="b" anchorCtr="0">
            <a:spAutoFit/>
          </a:bodyPr>
          <a:lstStyle/>
          <a:p>
            <a:pPr algn="l" rtl="0"/>
            <a:r>
              <a:rPr lang="en-GB" sz="2000" b="1" dirty="0">
                <a:solidFill>
                  <a:srgbClr val="F16924"/>
                </a:solidFill>
                <a:ea typeface="League Spartan" charset="0"/>
                <a:cs typeface="Poppins" pitchFamily="2" charset="77"/>
              </a:rPr>
              <a:t>Objetivos</a:t>
            </a:r>
          </a:p>
        </p:txBody>
      </p:sp>
      <p:sp>
        <p:nvSpPr>
          <p:cNvPr id="23" name="Subtitle 2">
            <a:extLst>
              <a:ext uri="{FF2B5EF4-FFF2-40B4-BE49-F238E27FC236}">
                <a16:creationId xmlns:a16="http://schemas.microsoft.com/office/drawing/2014/main" id="{1EA89D2D-EC88-DC01-61CB-02BAFDB5CEFD}"/>
              </a:ext>
            </a:extLst>
          </p:cNvPr>
          <p:cNvSpPr txBox="1">
            <a:spLocks/>
          </p:cNvSpPr>
          <p:nvPr/>
        </p:nvSpPr>
        <p:spPr>
          <a:xfrm>
            <a:off x="7005889" y="1590622"/>
            <a:ext cx="3114255" cy="52194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Que queremos lograr? ¿Cómo medimos el éxito?</a:t>
            </a:r>
          </a:p>
        </p:txBody>
      </p:sp>
      <p:sp>
        <p:nvSpPr>
          <p:cNvPr id="24" name="TextBox 81">
            <a:extLst>
              <a:ext uri="{FF2B5EF4-FFF2-40B4-BE49-F238E27FC236}">
                <a16:creationId xmlns:a16="http://schemas.microsoft.com/office/drawing/2014/main" id="{B1BD03DF-1DC5-E7F9-ECEA-149FD0AAAC6D}"/>
              </a:ext>
            </a:extLst>
          </p:cNvPr>
          <p:cNvSpPr txBox="1"/>
          <p:nvPr/>
        </p:nvSpPr>
        <p:spPr>
          <a:xfrm>
            <a:off x="1980623" y="3912642"/>
            <a:ext cx="1858650" cy="400110"/>
          </a:xfrm>
          <a:prstGeom prst="rect">
            <a:avLst/>
          </a:prstGeom>
          <a:noFill/>
        </p:spPr>
        <p:txBody>
          <a:bodyPr wrap="none" rtlCol="0" anchor="b" anchorCtr="0">
            <a:spAutoFit/>
          </a:bodyPr>
          <a:lstStyle/>
          <a:p>
            <a:pPr algn="l" rtl="0"/>
            <a:r>
              <a:rPr lang="en-GB" sz="2000" b="1" dirty="0">
                <a:solidFill>
                  <a:srgbClr val="EDA13E"/>
                </a:solidFill>
                <a:ea typeface="League Spartan" charset="0"/>
                <a:cs typeface="Poppins" pitchFamily="2" charset="77"/>
              </a:rPr>
              <a:t>Resultado directo</a:t>
            </a:r>
          </a:p>
        </p:txBody>
      </p:sp>
      <p:sp>
        <p:nvSpPr>
          <p:cNvPr id="25" name="Subtitle 2">
            <a:extLst>
              <a:ext uri="{FF2B5EF4-FFF2-40B4-BE49-F238E27FC236}">
                <a16:creationId xmlns:a16="http://schemas.microsoft.com/office/drawing/2014/main" id="{2BF658CD-9E3A-D8C9-0458-66DA3DF95A2F}"/>
              </a:ext>
            </a:extLst>
          </p:cNvPr>
          <p:cNvSpPr txBox="1">
            <a:spLocks/>
          </p:cNvSpPr>
          <p:nvPr/>
        </p:nvSpPr>
        <p:spPr>
          <a:xfrm>
            <a:off x="53883" y="4276300"/>
            <a:ext cx="3785390" cy="7656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Qué percepción buscamos?</a:t>
            </a:r>
          </a:p>
          <a:p>
            <a:pPr algn="l" rtl="0">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Cómo reconocemos si este cambio ha tenido lugar?</a:t>
            </a:r>
          </a:p>
        </p:txBody>
      </p:sp>
      <p:sp>
        <p:nvSpPr>
          <p:cNvPr id="26" name="TextBox 89">
            <a:extLst>
              <a:ext uri="{FF2B5EF4-FFF2-40B4-BE49-F238E27FC236}">
                <a16:creationId xmlns:a16="http://schemas.microsoft.com/office/drawing/2014/main" id="{96FEF90C-6320-8B84-619C-EA8D2E53EC33}"/>
              </a:ext>
            </a:extLst>
          </p:cNvPr>
          <p:cNvSpPr txBox="1"/>
          <p:nvPr/>
        </p:nvSpPr>
        <p:spPr>
          <a:xfrm>
            <a:off x="7946925" y="3931381"/>
            <a:ext cx="755335" cy="400110"/>
          </a:xfrm>
          <a:prstGeom prst="rect">
            <a:avLst/>
          </a:prstGeom>
          <a:noFill/>
        </p:spPr>
        <p:txBody>
          <a:bodyPr wrap="none" rtlCol="0" anchor="b" anchorCtr="0">
            <a:spAutoFit/>
          </a:bodyPr>
          <a:lstStyle/>
          <a:p>
            <a:pPr algn="l" rtl="0"/>
            <a:r>
              <a:rPr lang="en-GB" sz="2000" b="1" dirty="0">
                <a:solidFill>
                  <a:srgbClr val="7F1C58"/>
                </a:solidFill>
                <a:ea typeface="League Spartan" charset="0"/>
                <a:cs typeface="Poppins" pitchFamily="2" charset="77"/>
              </a:rPr>
              <a:t>Aporte</a:t>
            </a:r>
          </a:p>
        </p:txBody>
      </p:sp>
      <p:sp>
        <p:nvSpPr>
          <p:cNvPr id="27" name="Subtitle 2">
            <a:extLst>
              <a:ext uri="{FF2B5EF4-FFF2-40B4-BE49-F238E27FC236}">
                <a16:creationId xmlns:a16="http://schemas.microsoft.com/office/drawing/2014/main" id="{813FA588-0DD9-DB34-1C58-E209393DBB17}"/>
              </a:ext>
            </a:extLst>
          </p:cNvPr>
          <p:cNvSpPr txBox="1">
            <a:spLocks/>
          </p:cNvSpPr>
          <p:nvPr/>
        </p:nvSpPr>
        <p:spPr>
          <a:xfrm>
            <a:off x="8006065" y="4303406"/>
            <a:ext cx="3597355" cy="7656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Cuáles son nuestros requisitos financieros y de personal? ¿Para qué queremos utilizar estos recursos?</a:t>
            </a:r>
          </a:p>
        </p:txBody>
      </p:sp>
      <p:sp>
        <p:nvSpPr>
          <p:cNvPr id="28" name="TextBox 83">
            <a:extLst>
              <a:ext uri="{FF2B5EF4-FFF2-40B4-BE49-F238E27FC236}">
                <a16:creationId xmlns:a16="http://schemas.microsoft.com/office/drawing/2014/main" id="{FA85F8DC-53B7-BD92-9812-563238766A61}"/>
              </a:ext>
            </a:extLst>
          </p:cNvPr>
          <p:cNvSpPr txBox="1"/>
          <p:nvPr/>
        </p:nvSpPr>
        <p:spPr>
          <a:xfrm>
            <a:off x="1722435" y="2408099"/>
            <a:ext cx="2041393" cy="400110"/>
          </a:xfrm>
          <a:prstGeom prst="rect">
            <a:avLst/>
          </a:prstGeom>
          <a:noFill/>
        </p:spPr>
        <p:txBody>
          <a:bodyPr wrap="none" rtlCol="0" anchor="b" anchorCtr="0">
            <a:spAutoFit/>
          </a:bodyPr>
          <a:lstStyle/>
          <a:p>
            <a:pPr algn="l" rtl="0"/>
            <a:r>
              <a:rPr lang="en-GB" sz="2000" b="1" dirty="0">
                <a:solidFill>
                  <a:srgbClr val="7F1C58"/>
                </a:solidFill>
                <a:ea typeface="League Spartan" charset="0"/>
                <a:cs typeface="Poppins" pitchFamily="2" charset="77"/>
              </a:rPr>
              <a:t>Resultado indirecto</a:t>
            </a:r>
          </a:p>
        </p:txBody>
      </p:sp>
      <p:sp>
        <p:nvSpPr>
          <p:cNvPr id="29" name="Subtitle 2">
            <a:extLst>
              <a:ext uri="{FF2B5EF4-FFF2-40B4-BE49-F238E27FC236}">
                <a16:creationId xmlns:a16="http://schemas.microsoft.com/office/drawing/2014/main" id="{16FD39F5-8CA4-7858-992F-CC815ECAB93C}"/>
              </a:ext>
            </a:extLst>
          </p:cNvPr>
          <p:cNvSpPr txBox="1">
            <a:spLocks/>
          </p:cNvSpPr>
          <p:nvPr/>
        </p:nvSpPr>
        <p:spPr>
          <a:xfrm>
            <a:off x="314793" y="2741843"/>
            <a:ext cx="3449035" cy="100925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Qué tipo de comportamiento/actitudes buscamos? ¿Cómo determinamos si nos hemos acercado más a estos objetivos?</a:t>
            </a:r>
          </a:p>
        </p:txBody>
      </p:sp>
      <p:sp>
        <p:nvSpPr>
          <p:cNvPr id="30" name="TextBox 91">
            <a:extLst>
              <a:ext uri="{FF2B5EF4-FFF2-40B4-BE49-F238E27FC236}">
                <a16:creationId xmlns:a16="http://schemas.microsoft.com/office/drawing/2014/main" id="{D5EE7F6B-A0E5-DFC2-DA5D-4FCC80DC4ACD}"/>
              </a:ext>
            </a:extLst>
          </p:cNvPr>
          <p:cNvSpPr txBox="1"/>
          <p:nvPr/>
        </p:nvSpPr>
        <p:spPr>
          <a:xfrm>
            <a:off x="7880253" y="2570573"/>
            <a:ext cx="1516825" cy="400110"/>
          </a:xfrm>
          <a:prstGeom prst="rect">
            <a:avLst/>
          </a:prstGeom>
          <a:noFill/>
        </p:spPr>
        <p:txBody>
          <a:bodyPr wrap="none" rtlCol="0" anchor="b" anchorCtr="0">
            <a:spAutoFit/>
          </a:bodyPr>
          <a:lstStyle/>
          <a:p>
            <a:pPr algn="l" rtl="0"/>
            <a:r>
              <a:rPr lang="en-GB" sz="2000" b="1" dirty="0">
                <a:solidFill>
                  <a:srgbClr val="EDA13E"/>
                </a:solidFill>
                <a:ea typeface="League Spartan" charset="0"/>
                <a:cs typeface="Poppins" pitchFamily="2" charset="77"/>
              </a:rPr>
              <a:t>Sub-Proyectos</a:t>
            </a:r>
          </a:p>
        </p:txBody>
      </p:sp>
      <p:sp>
        <p:nvSpPr>
          <p:cNvPr id="31" name="Subtitle 2">
            <a:extLst>
              <a:ext uri="{FF2B5EF4-FFF2-40B4-BE49-F238E27FC236}">
                <a16:creationId xmlns:a16="http://schemas.microsoft.com/office/drawing/2014/main" id="{0DC7FDF5-4FE1-535F-B618-817CA2A3D203}"/>
              </a:ext>
            </a:extLst>
          </p:cNvPr>
          <p:cNvSpPr txBox="1">
            <a:spLocks/>
          </p:cNvSpPr>
          <p:nvPr/>
        </p:nvSpPr>
        <p:spPr>
          <a:xfrm>
            <a:off x="7946925" y="2912834"/>
            <a:ext cx="3429049" cy="7656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Qué hitos estamos marcando? ¿Cómo sabemos si estamos en el camino correcto?</a:t>
            </a:r>
          </a:p>
        </p:txBody>
      </p:sp>
      <p:sp>
        <p:nvSpPr>
          <p:cNvPr id="32" name="Gleichschenkliges Dreieck 3">
            <a:extLst>
              <a:ext uri="{FF2B5EF4-FFF2-40B4-BE49-F238E27FC236}">
                <a16:creationId xmlns:a16="http://schemas.microsoft.com/office/drawing/2014/main" id="{A70A7086-9BA6-ABC2-9C0A-B492601374ED}"/>
              </a:ext>
            </a:extLst>
          </p:cNvPr>
          <p:cNvSpPr/>
          <p:nvPr/>
        </p:nvSpPr>
        <p:spPr>
          <a:xfrm rot="2710436">
            <a:off x="4823804" y="2804521"/>
            <a:ext cx="544727" cy="28686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rgbClr val="595959"/>
              </a:solidFill>
            </a:endParaRPr>
          </a:p>
        </p:txBody>
      </p:sp>
      <p:sp>
        <p:nvSpPr>
          <p:cNvPr id="33" name="Gleichschenkliges Dreieck 92">
            <a:extLst>
              <a:ext uri="{FF2B5EF4-FFF2-40B4-BE49-F238E27FC236}">
                <a16:creationId xmlns:a16="http://schemas.microsoft.com/office/drawing/2014/main" id="{64D2C037-E1FB-938E-23DE-9D3A7D75B94C}"/>
              </a:ext>
            </a:extLst>
          </p:cNvPr>
          <p:cNvSpPr/>
          <p:nvPr/>
        </p:nvSpPr>
        <p:spPr>
          <a:xfrm rot="5400000">
            <a:off x="5702688" y="2495425"/>
            <a:ext cx="544727" cy="28686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rgbClr val="595959"/>
              </a:solidFill>
            </a:endParaRPr>
          </a:p>
        </p:txBody>
      </p:sp>
      <p:sp>
        <p:nvSpPr>
          <p:cNvPr id="34" name="Gleichschenkliges Dreieck 93">
            <a:extLst>
              <a:ext uri="{FF2B5EF4-FFF2-40B4-BE49-F238E27FC236}">
                <a16:creationId xmlns:a16="http://schemas.microsoft.com/office/drawing/2014/main" id="{5A606D7C-B0FC-1253-CC18-A024473F4B5C}"/>
              </a:ext>
            </a:extLst>
          </p:cNvPr>
          <p:cNvSpPr/>
          <p:nvPr/>
        </p:nvSpPr>
        <p:spPr>
          <a:xfrm rot="8087739">
            <a:off x="6540506" y="2951549"/>
            <a:ext cx="544727" cy="2868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rgbClr val="595959"/>
              </a:solidFill>
            </a:endParaRPr>
          </a:p>
        </p:txBody>
      </p:sp>
      <p:sp>
        <p:nvSpPr>
          <p:cNvPr id="35" name="Gleichschenkliges Dreieck 94">
            <a:extLst>
              <a:ext uri="{FF2B5EF4-FFF2-40B4-BE49-F238E27FC236}">
                <a16:creationId xmlns:a16="http://schemas.microsoft.com/office/drawing/2014/main" id="{56A16D80-7A52-4CC4-A11E-949A5499123C}"/>
              </a:ext>
            </a:extLst>
          </p:cNvPr>
          <p:cNvSpPr/>
          <p:nvPr/>
        </p:nvSpPr>
        <p:spPr>
          <a:xfrm rot="10800000">
            <a:off x="6812869" y="3838831"/>
            <a:ext cx="544727" cy="2868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rgbClr val="595959"/>
              </a:solidFill>
            </a:endParaRPr>
          </a:p>
        </p:txBody>
      </p:sp>
      <p:sp>
        <p:nvSpPr>
          <p:cNvPr id="36" name="Gleichschenkliges Dreieck 95">
            <a:extLst>
              <a:ext uri="{FF2B5EF4-FFF2-40B4-BE49-F238E27FC236}">
                <a16:creationId xmlns:a16="http://schemas.microsoft.com/office/drawing/2014/main" id="{145C3A34-162C-ADA7-312B-18DD454B1253}"/>
              </a:ext>
            </a:extLst>
          </p:cNvPr>
          <p:cNvSpPr/>
          <p:nvPr/>
        </p:nvSpPr>
        <p:spPr>
          <a:xfrm rot="13537568">
            <a:off x="6372076" y="4654134"/>
            <a:ext cx="544727" cy="2868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rgbClr val="595959"/>
              </a:solidFill>
            </a:endParaRPr>
          </a:p>
        </p:txBody>
      </p:sp>
      <p:sp>
        <p:nvSpPr>
          <p:cNvPr id="37" name="Gleichschenkliges Dreieck 96">
            <a:extLst>
              <a:ext uri="{FF2B5EF4-FFF2-40B4-BE49-F238E27FC236}">
                <a16:creationId xmlns:a16="http://schemas.microsoft.com/office/drawing/2014/main" id="{77017F2A-47D3-7E1F-8622-B411286097FE}"/>
              </a:ext>
            </a:extLst>
          </p:cNvPr>
          <p:cNvSpPr/>
          <p:nvPr/>
        </p:nvSpPr>
        <p:spPr>
          <a:xfrm rot="16200000">
            <a:off x="5496979" y="4935209"/>
            <a:ext cx="544727" cy="2868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rgbClr val="595959"/>
              </a:solidFill>
            </a:endParaRPr>
          </a:p>
        </p:txBody>
      </p:sp>
      <p:sp>
        <p:nvSpPr>
          <p:cNvPr id="38" name="Gleichschenkliges Dreieck 97">
            <a:extLst>
              <a:ext uri="{FF2B5EF4-FFF2-40B4-BE49-F238E27FC236}">
                <a16:creationId xmlns:a16="http://schemas.microsoft.com/office/drawing/2014/main" id="{385CD798-DBDB-9254-30B8-3028311F2770}"/>
              </a:ext>
            </a:extLst>
          </p:cNvPr>
          <p:cNvSpPr/>
          <p:nvPr/>
        </p:nvSpPr>
        <p:spPr>
          <a:xfrm rot="18901129">
            <a:off x="4649191" y="4509314"/>
            <a:ext cx="544727" cy="2868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rgbClr val="595959"/>
              </a:solidFill>
            </a:endParaRPr>
          </a:p>
        </p:txBody>
      </p:sp>
      <p:sp>
        <p:nvSpPr>
          <p:cNvPr id="39" name="Gleichschenkliges Dreieck 98">
            <a:extLst>
              <a:ext uri="{FF2B5EF4-FFF2-40B4-BE49-F238E27FC236}">
                <a16:creationId xmlns:a16="http://schemas.microsoft.com/office/drawing/2014/main" id="{DCB7AF8C-1BC5-4EF7-2665-C8773260BBC4}"/>
              </a:ext>
            </a:extLst>
          </p:cNvPr>
          <p:cNvSpPr/>
          <p:nvPr/>
        </p:nvSpPr>
        <p:spPr>
          <a:xfrm>
            <a:off x="4404573" y="3625865"/>
            <a:ext cx="544727" cy="2868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rgbClr val="595959"/>
              </a:solidFill>
            </a:endParaRPr>
          </a:p>
        </p:txBody>
      </p:sp>
      <p:sp>
        <p:nvSpPr>
          <p:cNvPr id="42" name="Text Placeholder 2">
            <a:extLst>
              <a:ext uri="{FF2B5EF4-FFF2-40B4-BE49-F238E27FC236}">
                <a16:creationId xmlns:a16="http://schemas.microsoft.com/office/drawing/2014/main" id="{9C122CEB-DA05-21CC-8BB6-037DC72F3FA3}"/>
              </a:ext>
            </a:extLst>
          </p:cNvPr>
          <p:cNvSpPr txBox="1">
            <a:spLocks/>
          </p:cNvSpPr>
          <p:nvPr/>
        </p:nvSpPr>
        <p:spPr>
          <a:xfrm>
            <a:off x="5995521" y="2375231"/>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None/>
            </a:pPr>
            <a:r>
              <a:rPr lang="en-US" sz="4000" dirty="0">
                <a:solidFill>
                  <a:schemeClr val="bg1"/>
                </a:solidFill>
              </a:rPr>
              <a:t>01</a:t>
            </a:r>
          </a:p>
        </p:txBody>
      </p:sp>
      <p:sp>
        <p:nvSpPr>
          <p:cNvPr id="43" name="Text Placeholder 2">
            <a:extLst>
              <a:ext uri="{FF2B5EF4-FFF2-40B4-BE49-F238E27FC236}">
                <a16:creationId xmlns:a16="http://schemas.microsoft.com/office/drawing/2014/main" id="{0C9527D4-36C9-71F3-331E-A7C4894EF440}"/>
              </a:ext>
            </a:extLst>
          </p:cNvPr>
          <p:cNvSpPr txBox="1">
            <a:spLocks/>
          </p:cNvSpPr>
          <p:nvPr/>
        </p:nvSpPr>
        <p:spPr>
          <a:xfrm>
            <a:off x="6689865" y="3065184"/>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None/>
            </a:pPr>
            <a:r>
              <a:rPr lang="en-US" sz="4000" dirty="0">
                <a:solidFill>
                  <a:schemeClr val="bg1"/>
                </a:solidFill>
              </a:rPr>
              <a:t>02</a:t>
            </a:r>
          </a:p>
        </p:txBody>
      </p:sp>
      <p:sp>
        <p:nvSpPr>
          <p:cNvPr id="44" name="Text Placeholder 2">
            <a:extLst>
              <a:ext uri="{FF2B5EF4-FFF2-40B4-BE49-F238E27FC236}">
                <a16:creationId xmlns:a16="http://schemas.microsoft.com/office/drawing/2014/main" id="{A7AF0CFB-880F-6CE4-1E50-9DECE8491038}"/>
              </a:ext>
            </a:extLst>
          </p:cNvPr>
          <p:cNvSpPr txBox="1">
            <a:spLocks/>
          </p:cNvSpPr>
          <p:nvPr/>
        </p:nvSpPr>
        <p:spPr>
          <a:xfrm>
            <a:off x="6717862" y="4086895"/>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None/>
            </a:pPr>
            <a:r>
              <a:rPr lang="en-US" sz="4000" dirty="0">
                <a:solidFill>
                  <a:schemeClr val="bg1"/>
                </a:solidFill>
              </a:rPr>
              <a:t>03</a:t>
            </a:r>
          </a:p>
        </p:txBody>
      </p:sp>
      <p:sp>
        <p:nvSpPr>
          <p:cNvPr id="45" name="Text Placeholder 2">
            <a:extLst>
              <a:ext uri="{FF2B5EF4-FFF2-40B4-BE49-F238E27FC236}">
                <a16:creationId xmlns:a16="http://schemas.microsoft.com/office/drawing/2014/main" id="{AA396BFF-5148-C2F0-4D82-9AD74400464B}"/>
              </a:ext>
            </a:extLst>
          </p:cNvPr>
          <p:cNvSpPr txBox="1">
            <a:spLocks/>
          </p:cNvSpPr>
          <p:nvPr/>
        </p:nvSpPr>
        <p:spPr>
          <a:xfrm>
            <a:off x="5953924" y="4909741"/>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None/>
            </a:pPr>
            <a:r>
              <a:rPr lang="en-US" sz="4000" dirty="0">
                <a:solidFill>
                  <a:schemeClr val="bg1"/>
                </a:solidFill>
              </a:rPr>
              <a:t>04</a:t>
            </a:r>
          </a:p>
        </p:txBody>
      </p:sp>
      <p:sp>
        <p:nvSpPr>
          <p:cNvPr id="46" name="Text Placeholder 2">
            <a:extLst>
              <a:ext uri="{FF2B5EF4-FFF2-40B4-BE49-F238E27FC236}">
                <a16:creationId xmlns:a16="http://schemas.microsoft.com/office/drawing/2014/main" id="{7DFC996C-5BBD-4501-398A-133E591BF4EE}"/>
              </a:ext>
            </a:extLst>
          </p:cNvPr>
          <p:cNvSpPr txBox="1">
            <a:spLocks/>
          </p:cNvSpPr>
          <p:nvPr/>
        </p:nvSpPr>
        <p:spPr>
          <a:xfrm>
            <a:off x="4920660" y="4867890"/>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None/>
            </a:pPr>
            <a:r>
              <a:rPr lang="en-US" sz="4000" dirty="0">
                <a:solidFill>
                  <a:schemeClr val="bg1"/>
                </a:solidFill>
              </a:rPr>
              <a:t>05</a:t>
            </a:r>
          </a:p>
        </p:txBody>
      </p:sp>
      <p:sp>
        <p:nvSpPr>
          <p:cNvPr id="47" name="Text Placeholder 2">
            <a:extLst>
              <a:ext uri="{FF2B5EF4-FFF2-40B4-BE49-F238E27FC236}">
                <a16:creationId xmlns:a16="http://schemas.microsoft.com/office/drawing/2014/main" id="{3EE281E7-7D8E-4101-3B97-E7FCB410F9B1}"/>
              </a:ext>
            </a:extLst>
          </p:cNvPr>
          <p:cNvSpPr txBox="1">
            <a:spLocks/>
          </p:cNvSpPr>
          <p:nvPr/>
        </p:nvSpPr>
        <p:spPr>
          <a:xfrm>
            <a:off x="4258738" y="3950356"/>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None/>
            </a:pPr>
            <a:r>
              <a:rPr lang="en-US" sz="4000" dirty="0">
                <a:solidFill>
                  <a:schemeClr val="bg1"/>
                </a:solidFill>
              </a:rPr>
              <a:t>06</a:t>
            </a:r>
          </a:p>
        </p:txBody>
      </p:sp>
      <p:sp>
        <p:nvSpPr>
          <p:cNvPr id="48" name="Text Placeholder 2">
            <a:extLst>
              <a:ext uri="{FF2B5EF4-FFF2-40B4-BE49-F238E27FC236}">
                <a16:creationId xmlns:a16="http://schemas.microsoft.com/office/drawing/2014/main" id="{5F9AD0B4-C934-7FBC-B129-04ED2AC6FE06}"/>
              </a:ext>
            </a:extLst>
          </p:cNvPr>
          <p:cNvSpPr txBox="1">
            <a:spLocks/>
          </p:cNvSpPr>
          <p:nvPr/>
        </p:nvSpPr>
        <p:spPr>
          <a:xfrm>
            <a:off x="4290257" y="2976494"/>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None/>
            </a:pPr>
            <a:r>
              <a:rPr lang="en-US" sz="4000" dirty="0">
                <a:solidFill>
                  <a:schemeClr val="bg1"/>
                </a:solidFill>
              </a:rPr>
              <a:t>07</a:t>
            </a:r>
          </a:p>
        </p:txBody>
      </p:sp>
      <p:sp>
        <p:nvSpPr>
          <p:cNvPr id="49" name="Text Placeholder 2">
            <a:extLst>
              <a:ext uri="{FF2B5EF4-FFF2-40B4-BE49-F238E27FC236}">
                <a16:creationId xmlns:a16="http://schemas.microsoft.com/office/drawing/2014/main" id="{6606AC2E-0331-2766-75EA-B9090AECF0F7}"/>
              </a:ext>
            </a:extLst>
          </p:cNvPr>
          <p:cNvSpPr txBox="1">
            <a:spLocks/>
          </p:cNvSpPr>
          <p:nvPr/>
        </p:nvSpPr>
        <p:spPr>
          <a:xfrm>
            <a:off x="5038230" y="2271127"/>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rtl="0">
              <a:buNone/>
            </a:pPr>
            <a:r>
              <a:rPr lang="en-US" sz="4000" dirty="0">
                <a:solidFill>
                  <a:schemeClr val="bg1"/>
                </a:solidFill>
              </a:rPr>
              <a:t>08</a:t>
            </a:r>
          </a:p>
        </p:txBody>
      </p:sp>
    </p:spTree>
    <p:extLst>
      <p:ext uri="{BB962C8B-B14F-4D97-AF65-F5344CB8AC3E}">
        <p14:creationId xmlns:p14="http://schemas.microsoft.com/office/powerpoint/2010/main" val="103921909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49">
            <a:extLst>
              <a:ext uri="{FF2B5EF4-FFF2-40B4-BE49-F238E27FC236}">
                <a16:creationId xmlns:a16="http://schemas.microsoft.com/office/drawing/2014/main" id="{D757A3B3-349A-E58F-6AEE-8284F535B134}"/>
              </a:ext>
            </a:extLst>
          </p:cNvPr>
          <p:cNvSpPr txBox="1"/>
          <p:nvPr/>
        </p:nvSpPr>
        <p:spPr>
          <a:xfrm>
            <a:off x="6647963" y="633076"/>
            <a:ext cx="5192700" cy="6359561"/>
          </a:xfrm>
          <a:prstGeom prst="rect">
            <a:avLst/>
          </a:prstGeom>
          <a:noFill/>
        </p:spPr>
        <p:txBody>
          <a:bodyPr wrap="square" numCol="1" rtlCol="0" anchor="t">
            <a:spAutoFit/>
          </a:bodyPr>
          <a:lstStyle/>
          <a:p>
            <a:pPr algn="l" rtl="0">
              <a:lnSpc>
                <a:spcPts val="2240"/>
              </a:lnSpc>
              <a:defRPr/>
            </a:pPr>
            <a:r>
              <a:rPr lang="en-GB" sz="2200" b="1" dirty="0">
                <a:solidFill>
                  <a:srgbClr val="F16924"/>
                </a:solidFill>
                <a:ea typeface="Lato Light" panose="020F0502020204030203" pitchFamily="34" charset="0"/>
                <a:cs typeface="Lato Light" panose="020F0502020204030203" pitchFamily="34" charset="0"/>
              </a:rPr>
              <a:t>el mundo de los numeros</a:t>
            </a:r>
          </a:p>
          <a:p>
            <a:pPr marL="342900" indent="-342900" algn="l" rtl="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Estructura del sistema de cifras clave: objetivos superiores y estrategias como base</a:t>
            </a:r>
          </a:p>
          <a:p>
            <a:pPr marL="342900" indent="-342900" algn="l" rtl="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Propietario del proceso: del análisis al informe (convertir datos en información)</a:t>
            </a:r>
          </a:p>
          <a:p>
            <a:pPr marL="342900" indent="-342900" algn="l" rtl="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Comprender el mundo del "cliente</a:t>
            </a:r>
          </a:p>
          <a:p>
            <a:pPr algn="l" rtl="0">
              <a:defRPr/>
            </a:pPr>
            <a:endParaRPr lang="en-GB" sz="2200" dirty="0">
              <a:solidFill>
                <a:srgbClr val="595959"/>
              </a:solidFill>
              <a:ea typeface="Lato Light" panose="020F0502020204030203" pitchFamily="34" charset="0"/>
              <a:cs typeface="Lato Light" panose="020F0502020204030203" pitchFamily="34" charset="0"/>
            </a:endParaRPr>
          </a:p>
          <a:p>
            <a:pPr algn="l" rtl="0">
              <a:lnSpc>
                <a:spcPts val="2240"/>
              </a:lnSpc>
              <a:defRPr/>
            </a:pPr>
            <a:r>
              <a:rPr lang="en-GB" sz="2200" b="1" dirty="0">
                <a:solidFill>
                  <a:srgbClr val="F16924"/>
                </a:solidFill>
                <a:ea typeface="Lato Light" panose="020F0502020204030203" pitchFamily="34" charset="0"/>
                <a:cs typeface="Lato Light" panose="020F0502020204030203" pitchFamily="34" charset="0"/>
              </a:rPr>
              <a:t>Del mundo de los números al mundo de la acción</a:t>
            </a:r>
          </a:p>
          <a:p>
            <a:pPr marL="342900" indent="-342900" algn="l" rtl="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Imágenes comunes sobre valores (por ejemplo, transparencia)</a:t>
            </a:r>
          </a:p>
          <a:p>
            <a:pPr marL="342900" indent="-342900" algn="l" rtl="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El controlador</a:t>
            </a:r>
          </a:p>
          <a:p>
            <a:pPr marL="342900" indent="-342900" algn="l" rtl="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Medidas y medidas de control</a:t>
            </a:r>
          </a:p>
          <a:p>
            <a:pPr algn="l" rtl="0">
              <a:lnSpc>
                <a:spcPts val="2240"/>
              </a:lnSpc>
              <a:buClr>
                <a:srgbClr val="B41F7A"/>
              </a:buClr>
              <a:defRPr/>
            </a:pPr>
            <a:endParaRPr lang="en-GB" sz="2200" dirty="0">
              <a:solidFill>
                <a:srgbClr val="595959"/>
              </a:solidFill>
              <a:ea typeface="Lato Light" panose="020F0502020204030203" pitchFamily="34" charset="0"/>
              <a:cs typeface="Lato Light" panose="020F0502020204030203" pitchFamily="34" charset="0"/>
            </a:endParaRPr>
          </a:p>
          <a:p>
            <a:pPr algn="l" rtl="0">
              <a:buClr>
                <a:srgbClr val="B41F7A"/>
              </a:buClr>
              <a:defRPr/>
            </a:pPr>
            <a:endParaRPr lang="en-GB" sz="2200" dirty="0">
              <a:solidFill>
                <a:srgbClr val="595959"/>
              </a:solidFill>
              <a:ea typeface="Lato Light" panose="020F0502020204030203" pitchFamily="34" charset="0"/>
              <a:cs typeface="Lato Light" panose="020F0502020204030203" pitchFamily="34" charset="0"/>
            </a:endParaRPr>
          </a:p>
          <a:p>
            <a:pPr algn="l" rtl="0">
              <a:lnSpc>
                <a:spcPts val="2240"/>
              </a:lnSpc>
              <a:defRPr/>
            </a:pPr>
            <a:r>
              <a:rPr lang="en-GB" sz="2200" b="1" dirty="0">
                <a:solidFill>
                  <a:srgbClr val="F16924"/>
                </a:solidFill>
                <a:ea typeface="Lato Light" panose="020F0502020204030203" pitchFamily="34" charset="0"/>
                <a:cs typeface="Lato Light" panose="020F0502020204030203" pitchFamily="34" charset="0"/>
              </a:rPr>
              <a:t>La comunicación como factor de éxito</a:t>
            </a:r>
          </a:p>
          <a:p>
            <a:pPr marL="342900" indent="-342900" algn="l" rtl="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Garantizar la imagen común</a:t>
            </a:r>
          </a:p>
          <a:p>
            <a:pPr algn="l" rtl="0">
              <a:lnSpc>
                <a:spcPct val="150000"/>
              </a:lnSpc>
              <a:defRPr/>
            </a:pPr>
            <a:endParaRPr lang="en-GB" sz="2200" dirty="0">
              <a:solidFill>
                <a:srgbClr val="595959"/>
              </a:solidFill>
              <a:ea typeface="Lato Light" panose="020F0502020204030203" pitchFamily="34" charset="0"/>
              <a:cs typeface="Lato Light" panose="020F0502020204030203" pitchFamily="34" charset="0"/>
            </a:endParaRPr>
          </a:p>
          <a:p>
            <a:pPr algn="l" rtl="0">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p:txBody>
      </p:sp>
      <p:sp>
        <p:nvSpPr>
          <p:cNvPr id="65" name="Rectangle 64">
            <a:extLst>
              <a:ext uri="{FF2B5EF4-FFF2-40B4-BE49-F238E27FC236}">
                <a16:creationId xmlns:a16="http://schemas.microsoft.com/office/drawing/2014/main" id="{AF40216C-D6F3-F306-3BA4-29DF71354095}"/>
              </a:ext>
            </a:extLst>
          </p:cNvPr>
          <p:cNvSpPr/>
          <p:nvPr/>
        </p:nvSpPr>
        <p:spPr>
          <a:xfrm>
            <a:off x="351337" y="0"/>
            <a:ext cx="5680755"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69" name="Text Placeholder 3">
            <a:extLst>
              <a:ext uri="{FF2B5EF4-FFF2-40B4-BE49-F238E27FC236}">
                <a16:creationId xmlns:a16="http://schemas.microsoft.com/office/drawing/2014/main" id="{A00325A7-0669-3AFE-FDAA-A3FA9F9AABB7}"/>
              </a:ext>
            </a:extLst>
          </p:cNvPr>
          <p:cNvSpPr>
            <a:spLocks noGrp="1"/>
          </p:cNvSpPr>
          <p:nvPr>
            <p:ph type="body" sz="quarter" idx="16"/>
          </p:nvPr>
        </p:nvSpPr>
        <p:spPr>
          <a:xfrm>
            <a:off x="688814" y="414736"/>
            <a:ext cx="4451077" cy="3041709"/>
          </a:xfrm>
        </p:spPr>
        <p:txBody>
          <a:bodyPr>
            <a:normAutofit/>
          </a:bodyPr>
          <a:lstStyle/>
          <a:p>
            <a:pPr algn="l" rtl="0"/>
            <a:r>
              <a:rPr lang="en-GB" dirty="0">
                <a:solidFill>
                  <a:schemeClr val="bg1"/>
                </a:solidFill>
              </a:rPr>
              <a:t>Motivación en crisis: el papel del control</a:t>
            </a:r>
          </a:p>
          <a:p>
            <a:pPr algn="l" rtl="0"/>
            <a:endParaRPr lang="en-US" dirty="0"/>
          </a:p>
        </p:txBody>
      </p:sp>
      <p:grpSp>
        <p:nvGrpSpPr>
          <p:cNvPr id="71" name="Group 70">
            <a:extLst>
              <a:ext uri="{FF2B5EF4-FFF2-40B4-BE49-F238E27FC236}">
                <a16:creationId xmlns:a16="http://schemas.microsoft.com/office/drawing/2014/main" id="{417EDDE8-3EF8-2D15-C593-67EE955D566C}"/>
              </a:ext>
            </a:extLst>
          </p:cNvPr>
          <p:cNvGrpSpPr/>
          <p:nvPr/>
        </p:nvGrpSpPr>
        <p:grpSpPr>
          <a:xfrm>
            <a:off x="5684018" y="572220"/>
            <a:ext cx="701992" cy="701724"/>
            <a:chOff x="7037107" y="1407878"/>
            <a:chExt cx="701992" cy="701724"/>
          </a:xfrm>
        </p:grpSpPr>
        <p:sp>
          <p:nvSpPr>
            <p:cNvPr id="72" name="Freeform 71">
              <a:extLst>
                <a:ext uri="{FF2B5EF4-FFF2-40B4-BE49-F238E27FC236}">
                  <a16:creationId xmlns:a16="http://schemas.microsoft.com/office/drawing/2014/main" id="{98095F9C-2D50-BB58-C922-BA7BC79ECCAD}"/>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73" name="Freeform 72">
              <a:extLst>
                <a:ext uri="{FF2B5EF4-FFF2-40B4-BE49-F238E27FC236}">
                  <a16:creationId xmlns:a16="http://schemas.microsoft.com/office/drawing/2014/main" id="{07C391F8-3B5F-EE57-ACDE-0C45CCDE5EC7}"/>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74" name="TextBox 73">
              <a:extLst>
                <a:ext uri="{FF2B5EF4-FFF2-40B4-BE49-F238E27FC236}">
                  <a16:creationId xmlns:a16="http://schemas.microsoft.com/office/drawing/2014/main" id="{0C99CBC8-55E0-4EF9-F2B0-2A7229140B67}"/>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cxnSp>
        <p:nvCxnSpPr>
          <p:cNvPr id="76" name="Straight Connector 75">
            <a:extLst>
              <a:ext uri="{FF2B5EF4-FFF2-40B4-BE49-F238E27FC236}">
                <a16:creationId xmlns:a16="http://schemas.microsoft.com/office/drawing/2014/main" id="{F97680B3-A51B-00CC-60AD-B35BE7DB5730}"/>
              </a:ext>
            </a:extLst>
          </p:cNvPr>
          <p:cNvCxnSpPr>
            <a:cxnSpLocks/>
          </p:cNvCxnSpPr>
          <p:nvPr/>
        </p:nvCxnSpPr>
        <p:spPr>
          <a:xfrm>
            <a:off x="6032092" y="5330627"/>
            <a:ext cx="6159908"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61F7FA56-B03C-81F6-BE0E-2704DE19540A}"/>
              </a:ext>
            </a:extLst>
          </p:cNvPr>
          <p:cNvGrpSpPr/>
          <p:nvPr/>
        </p:nvGrpSpPr>
        <p:grpSpPr>
          <a:xfrm>
            <a:off x="5684018" y="3161237"/>
            <a:ext cx="701992" cy="701724"/>
            <a:chOff x="7037107" y="1407878"/>
            <a:chExt cx="701992" cy="701724"/>
          </a:xfrm>
        </p:grpSpPr>
        <p:sp>
          <p:nvSpPr>
            <p:cNvPr id="80" name="Freeform 79">
              <a:extLst>
                <a:ext uri="{FF2B5EF4-FFF2-40B4-BE49-F238E27FC236}">
                  <a16:creationId xmlns:a16="http://schemas.microsoft.com/office/drawing/2014/main" id="{AF46E66D-E6A0-1987-B05D-A2CE70685DAF}"/>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81" name="Freeform 80">
              <a:extLst>
                <a:ext uri="{FF2B5EF4-FFF2-40B4-BE49-F238E27FC236}">
                  <a16:creationId xmlns:a16="http://schemas.microsoft.com/office/drawing/2014/main" id="{85DA42FA-8CA0-338C-83AA-614E0F934049}"/>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82" name="TextBox 81">
              <a:extLst>
                <a:ext uri="{FF2B5EF4-FFF2-40B4-BE49-F238E27FC236}">
                  <a16:creationId xmlns:a16="http://schemas.microsoft.com/office/drawing/2014/main" id="{12106801-C2C7-8E46-397C-96E4A1EB230D}"/>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83" name="Group 82">
            <a:extLst>
              <a:ext uri="{FF2B5EF4-FFF2-40B4-BE49-F238E27FC236}">
                <a16:creationId xmlns:a16="http://schemas.microsoft.com/office/drawing/2014/main" id="{75A57721-777F-D1A0-CB43-D8CB08A5B899}"/>
              </a:ext>
            </a:extLst>
          </p:cNvPr>
          <p:cNvGrpSpPr/>
          <p:nvPr/>
        </p:nvGrpSpPr>
        <p:grpSpPr>
          <a:xfrm>
            <a:off x="5684018" y="5451317"/>
            <a:ext cx="701992" cy="701724"/>
            <a:chOff x="7037107" y="1407878"/>
            <a:chExt cx="701992" cy="701724"/>
          </a:xfrm>
        </p:grpSpPr>
        <p:sp>
          <p:nvSpPr>
            <p:cNvPr id="84" name="Freeform 83">
              <a:extLst>
                <a:ext uri="{FF2B5EF4-FFF2-40B4-BE49-F238E27FC236}">
                  <a16:creationId xmlns:a16="http://schemas.microsoft.com/office/drawing/2014/main" id="{ECF8D7B7-1411-C7E3-6DE1-A975704BD391}"/>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85" name="Freeform 84">
              <a:extLst>
                <a:ext uri="{FF2B5EF4-FFF2-40B4-BE49-F238E27FC236}">
                  <a16:creationId xmlns:a16="http://schemas.microsoft.com/office/drawing/2014/main" id="{40D11EB8-0496-080F-40D0-06CEA2D2659B}"/>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sp>
          <p:nvSpPr>
            <p:cNvPr id="86" name="TextBox 85">
              <a:extLst>
                <a:ext uri="{FF2B5EF4-FFF2-40B4-BE49-F238E27FC236}">
                  <a16:creationId xmlns:a16="http://schemas.microsoft.com/office/drawing/2014/main" id="{122A56BA-D6CF-12BA-C3F6-911549DF82E2}"/>
                </a:ext>
              </a:extLst>
            </p:cNvPr>
            <p:cNvSpPr txBox="1"/>
            <p:nvPr/>
          </p:nvSpPr>
          <p:spPr>
            <a:xfrm>
              <a:off x="7123230" y="1483724"/>
              <a:ext cx="560940" cy="523220"/>
            </a:xfrm>
            <a:prstGeom prst="rect">
              <a:avLst/>
            </a:prstGeom>
            <a:noFill/>
          </p:spPr>
          <p:txBody>
            <a:bodyPr wrap="square" rtlCol="0">
              <a:spAutoFit/>
            </a:bodyPr>
            <a:lstStyle/>
            <a:p>
              <a:pPr algn="l" rtl="0"/>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sp>
        <p:nvSpPr>
          <p:cNvPr id="2" name="Text Placeholder 2">
            <a:extLst>
              <a:ext uri="{FF2B5EF4-FFF2-40B4-BE49-F238E27FC236}">
                <a16:creationId xmlns:a16="http://schemas.microsoft.com/office/drawing/2014/main" id="{046B1680-4210-0AD3-D76D-79A564F0B15B}"/>
              </a:ext>
            </a:extLst>
          </p:cNvPr>
          <p:cNvSpPr txBox="1">
            <a:spLocks/>
          </p:cNvSpPr>
          <p:nvPr/>
        </p:nvSpPr>
        <p:spPr>
          <a:xfrm>
            <a:off x="692495" y="2131471"/>
            <a:ext cx="4764278" cy="5056533"/>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r>
              <a:rPr lang="en-US" dirty="0">
                <a:solidFill>
                  <a:schemeClr val="bg1"/>
                </a:solidFill>
              </a:rPr>
              <a:t>Los empleados motivados ponen su máximo esfuerzo para lograr</a:t>
            </a:r>
            <a:r>
              <a:rPr lang="en-US" dirty="0" err="1">
                <a:solidFill>
                  <a:schemeClr val="bg1"/>
                </a:solidFill>
              </a:rPr>
              <a:t>organizativo</a:t>
            </a:r>
            <a:r>
              <a:rPr lang="en-US" dirty="0">
                <a:solidFill>
                  <a:schemeClr val="bg1"/>
                </a:solidFill>
              </a:rPr>
              <a:t>metas. La motivación mejora el rendimiento laboral al cerrar la brecha entre la capacidad y la voluntad de trabajar. Un mejor rendimiento da como resultado una mayor productividad y, en consecuencia, un menor costo de producción. Especialmente durante las crisis, el Controlling juega un papel importante. Proporciona estructura y permite explicar la necesidad de las decisiones. El control ayuda a comunicarse durante la crisis y, por lo tanto, a motivar</a:t>
            </a:r>
          </a:p>
        </p:txBody>
      </p:sp>
      <p:sp>
        <p:nvSpPr>
          <p:cNvPr id="4" name="Rectangle 3">
            <a:extLst>
              <a:ext uri="{FF2B5EF4-FFF2-40B4-BE49-F238E27FC236}">
                <a16:creationId xmlns:a16="http://schemas.microsoft.com/office/drawing/2014/main" id="{CC45B7D4-2E3F-83EC-3AED-84EAFD560075}"/>
              </a:ext>
            </a:extLst>
          </p:cNvPr>
          <p:cNvSpPr/>
          <p:nvPr/>
        </p:nvSpPr>
        <p:spPr>
          <a:xfrm>
            <a:off x="688814" y="175125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cxnSp>
        <p:nvCxnSpPr>
          <p:cNvPr id="8" name="Straight Connector 7">
            <a:extLst>
              <a:ext uri="{FF2B5EF4-FFF2-40B4-BE49-F238E27FC236}">
                <a16:creationId xmlns:a16="http://schemas.microsoft.com/office/drawing/2014/main" id="{FECD1B48-9863-6C06-BC63-4EAC5377C182}"/>
              </a:ext>
            </a:extLst>
          </p:cNvPr>
          <p:cNvCxnSpPr>
            <a:cxnSpLocks/>
          </p:cNvCxnSpPr>
          <p:nvPr/>
        </p:nvCxnSpPr>
        <p:spPr>
          <a:xfrm>
            <a:off x="6032092" y="3016215"/>
            <a:ext cx="6159908"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505295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251394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4" name="Text Placeholder 2">
            <a:extLst>
              <a:ext uri="{FF2B5EF4-FFF2-40B4-BE49-F238E27FC236}">
                <a16:creationId xmlns:a16="http://schemas.microsoft.com/office/drawing/2014/main" id="{E14E7544-3E64-27D1-24B3-C598C4FF7AD7}"/>
              </a:ext>
            </a:extLst>
          </p:cNvPr>
          <p:cNvSpPr txBox="1">
            <a:spLocks/>
          </p:cNvSpPr>
          <p:nvPr/>
        </p:nvSpPr>
        <p:spPr>
          <a:xfrm>
            <a:off x="4062334" y="406400"/>
            <a:ext cx="7914807" cy="1799036"/>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r>
              <a:rPr lang="en-US" dirty="0">
                <a:solidFill>
                  <a:schemeClr val="bg1"/>
                </a:solidFill>
              </a:rPr>
              <a:t>El ser humano es un ser visual. El lenguaje y las imágenes no son congruentes: "dibujamos" diferentes imágenes en un solo término. Los problemas para hacer coincidir las imágenes están en la comunicación, es decir, tenemos que hacer coincidir nuestras imágenes (¡a través de la comunicación!) para obtener una imagen consistente. Imagen y valores están íntimamente relacionados y constituyen una base decisiva para la cultura corporativa.</a:t>
            </a: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530826" y="282511"/>
            <a:ext cx="3277483"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Motivación en crisis: el papel del control</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92840" y="1109646"/>
            <a:ext cx="1764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grpSp>
        <p:nvGrpSpPr>
          <p:cNvPr id="13" name="Group 12">
            <a:extLst>
              <a:ext uri="{FF2B5EF4-FFF2-40B4-BE49-F238E27FC236}">
                <a16:creationId xmlns:a16="http://schemas.microsoft.com/office/drawing/2014/main" id="{64239BF9-C25F-26EF-1DA0-C4D059319022}"/>
              </a:ext>
            </a:extLst>
          </p:cNvPr>
          <p:cNvGrpSpPr/>
          <p:nvPr/>
        </p:nvGrpSpPr>
        <p:grpSpPr>
          <a:xfrm>
            <a:off x="530826" y="2841641"/>
            <a:ext cx="10699049" cy="3426016"/>
            <a:chOff x="402598" y="2211834"/>
            <a:chExt cx="7446883" cy="4215762"/>
          </a:xfrm>
        </p:grpSpPr>
        <p:cxnSp>
          <p:nvCxnSpPr>
            <p:cNvPr id="14" name="Gerade Verbindung mit Pfeil 38">
              <a:extLst>
                <a:ext uri="{FF2B5EF4-FFF2-40B4-BE49-F238E27FC236}">
                  <a16:creationId xmlns:a16="http://schemas.microsoft.com/office/drawing/2014/main" id="{412636B6-8097-8729-FCC8-19FEDBFC9C58}"/>
                </a:ext>
              </a:extLst>
            </p:cNvPr>
            <p:cNvCxnSpPr>
              <a:cxnSpLocks/>
            </p:cNvCxnSpPr>
            <p:nvPr/>
          </p:nvCxnSpPr>
          <p:spPr>
            <a:xfrm flipV="1">
              <a:off x="669827" y="2298461"/>
              <a:ext cx="0" cy="3627002"/>
            </a:xfrm>
            <a:prstGeom prst="straightConnector1">
              <a:avLst/>
            </a:prstGeom>
            <a:ln w="34925">
              <a:solidFill>
                <a:srgbClr val="122E45"/>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39">
              <a:extLst>
                <a:ext uri="{FF2B5EF4-FFF2-40B4-BE49-F238E27FC236}">
                  <a16:creationId xmlns:a16="http://schemas.microsoft.com/office/drawing/2014/main" id="{972D3846-4ADA-83F2-2D23-C5D49107AA7A}"/>
                </a:ext>
              </a:extLst>
            </p:cNvPr>
            <p:cNvCxnSpPr>
              <a:cxnSpLocks/>
            </p:cNvCxnSpPr>
            <p:nvPr/>
          </p:nvCxnSpPr>
          <p:spPr>
            <a:xfrm>
              <a:off x="669827" y="5906213"/>
              <a:ext cx="7122695" cy="0"/>
            </a:xfrm>
            <a:prstGeom prst="straightConnector1">
              <a:avLst/>
            </a:prstGeom>
            <a:ln w="34925">
              <a:solidFill>
                <a:srgbClr val="122E45"/>
              </a:solidFill>
              <a:tailEnd type="triangle"/>
            </a:ln>
          </p:spPr>
          <p:style>
            <a:lnRef idx="1">
              <a:schemeClr val="accent1"/>
            </a:lnRef>
            <a:fillRef idx="0">
              <a:schemeClr val="accent1"/>
            </a:fillRef>
            <a:effectRef idx="0">
              <a:schemeClr val="accent1"/>
            </a:effectRef>
            <a:fontRef idx="minor">
              <a:schemeClr val="tx1"/>
            </a:fontRef>
          </p:style>
        </p:cxnSp>
        <p:sp>
          <p:nvSpPr>
            <p:cNvPr id="16" name="Subtitle 2">
              <a:extLst>
                <a:ext uri="{FF2B5EF4-FFF2-40B4-BE49-F238E27FC236}">
                  <a16:creationId xmlns:a16="http://schemas.microsoft.com/office/drawing/2014/main" id="{F5AA329A-1FE6-09FE-0D57-1A0CFDDC996D}"/>
                </a:ext>
              </a:extLst>
            </p:cNvPr>
            <p:cNvSpPr txBox="1">
              <a:spLocks/>
            </p:cNvSpPr>
            <p:nvPr/>
          </p:nvSpPr>
          <p:spPr>
            <a:xfrm>
              <a:off x="668274" y="6006256"/>
              <a:ext cx="7122692" cy="42134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ct val="100000"/>
                </a:lnSpc>
                <a:spcBef>
                  <a:spcPts val="600"/>
                </a:spcBef>
              </a:pPr>
              <a:r>
                <a:rPr lang="en-GB" sz="2000" b="1" dirty="0">
                  <a:solidFill>
                    <a:srgbClr val="122E45"/>
                  </a:solidFill>
                  <a:latin typeface="+mn-lt"/>
                  <a:ea typeface="Lato Light" panose="020F0502020204030203" pitchFamily="34" charset="0"/>
                  <a:cs typeface="Mukta ExtraLight" panose="020B0000000000000000" pitchFamily="34" charset="77"/>
                </a:rPr>
                <a:t>Tiempo</a:t>
              </a:r>
              <a:endParaRPr lang="en-GB" sz="1600" b="1" dirty="0">
                <a:solidFill>
                  <a:srgbClr val="122E45"/>
                </a:solidFill>
                <a:latin typeface="+mn-lt"/>
                <a:ea typeface="Lato Light" panose="020F0502020204030203" pitchFamily="34" charset="0"/>
                <a:cs typeface="Mukta ExtraLight" panose="020B0000000000000000" pitchFamily="34" charset="77"/>
              </a:endParaRPr>
            </a:p>
          </p:txBody>
        </p:sp>
        <p:sp>
          <p:nvSpPr>
            <p:cNvPr id="17" name="Subtitle 2">
              <a:extLst>
                <a:ext uri="{FF2B5EF4-FFF2-40B4-BE49-F238E27FC236}">
                  <a16:creationId xmlns:a16="http://schemas.microsoft.com/office/drawing/2014/main" id="{91C5FD87-F563-B959-B96A-A3A6C84F6F88}"/>
                </a:ext>
              </a:extLst>
            </p:cNvPr>
            <p:cNvSpPr txBox="1">
              <a:spLocks/>
            </p:cNvSpPr>
            <p:nvPr/>
          </p:nvSpPr>
          <p:spPr>
            <a:xfrm rot="16200000">
              <a:off x="-1155056" y="4116009"/>
              <a:ext cx="3361275" cy="24596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ct val="100000"/>
                </a:lnSpc>
                <a:spcBef>
                  <a:spcPts val="600"/>
                </a:spcBef>
              </a:pPr>
              <a:r>
                <a:rPr lang="en-GB" sz="2000" b="1" dirty="0">
                  <a:solidFill>
                    <a:srgbClr val="122E45"/>
                  </a:solidFill>
                  <a:latin typeface="+mn-lt"/>
                  <a:ea typeface="Lato Light" panose="020F0502020204030203" pitchFamily="34" charset="0"/>
                  <a:cs typeface="Mukta ExtraLight" panose="020B0000000000000000" pitchFamily="34" charset="77"/>
                </a:rPr>
                <a:t>Resultado</a:t>
              </a:r>
              <a:endParaRPr lang="en-GB" sz="1600" b="1" dirty="0">
                <a:solidFill>
                  <a:srgbClr val="122E45"/>
                </a:solidFill>
                <a:latin typeface="+mn-lt"/>
                <a:ea typeface="Lato Light" panose="020F0502020204030203" pitchFamily="34" charset="0"/>
                <a:cs typeface="Mukta ExtraLight" panose="020B0000000000000000" pitchFamily="34" charset="77"/>
              </a:endParaRPr>
            </a:p>
          </p:txBody>
        </p:sp>
        <p:cxnSp>
          <p:nvCxnSpPr>
            <p:cNvPr id="18" name="Gerader Verbinder 5">
              <a:extLst>
                <a:ext uri="{FF2B5EF4-FFF2-40B4-BE49-F238E27FC236}">
                  <a16:creationId xmlns:a16="http://schemas.microsoft.com/office/drawing/2014/main" id="{F7EE45BF-1500-3557-8E1D-0E02321D3A94}"/>
                </a:ext>
              </a:extLst>
            </p:cNvPr>
            <p:cNvCxnSpPr>
              <a:cxnSpLocks/>
            </p:cNvCxnSpPr>
            <p:nvPr/>
          </p:nvCxnSpPr>
          <p:spPr>
            <a:xfrm flipV="1">
              <a:off x="669827" y="2211834"/>
              <a:ext cx="6951272" cy="3685669"/>
            </a:xfrm>
            <a:prstGeom prst="line">
              <a:avLst/>
            </a:prstGeom>
            <a:ln w="28575">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19" name="Freihandform: Form 6">
              <a:extLst>
                <a:ext uri="{FF2B5EF4-FFF2-40B4-BE49-F238E27FC236}">
                  <a16:creationId xmlns:a16="http://schemas.microsoft.com/office/drawing/2014/main" id="{686B50C2-46B2-6F22-66C1-53BB52D22C1E}"/>
                </a:ext>
              </a:extLst>
            </p:cNvPr>
            <p:cNvSpPr/>
            <p:nvPr/>
          </p:nvSpPr>
          <p:spPr>
            <a:xfrm>
              <a:off x="650118" y="2211834"/>
              <a:ext cx="6235337" cy="3707797"/>
            </a:xfrm>
            <a:custGeom>
              <a:avLst/>
              <a:gdLst>
                <a:gd name="connsiteX0" fmla="*/ 0 w 6235337"/>
                <a:gd name="connsiteY0" fmla="*/ 3683725 h 3707797"/>
                <a:gd name="connsiteX1" fmla="*/ 5042263 w 6235337"/>
                <a:gd name="connsiteY1" fmla="*/ 3161211 h 3707797"/>
                <a:gd name="connsiteX2" fmla="*/ 6235337 w 6235337"/>
                <a:gd name="connsiteY2" fmla="*/ 0 h 3707797"/>
              </a:gdLst>
              <a:ahLst/>
              <a:cxnLst>
                <a:cxn ang="0">
                  <a:pos x="connsiteX0" y="connsiteY0"/>
                </a:cxn>
                <a:cxn ang="0">
                  <a:pos x="connsiteX1" y="connsiteY1"/>
                </a:cxn>
                <a:cxn ang="0">
                  <a:pos x="connsiteX2" y="connsiteY2"/>
                </a:cxn>
              </a:cxnLst>
              <a:rect l="l" t="t" r="r" b="b"/>
              <a:pathLst>
                <a:path w="6235337" h="3707797">
                  <a:moveTo>
                    <a:pt x="0" y="3683725"/>
                  </a:moveTo>
                  <a:cubicBezTo>
                    <a:pt x="2001520" y="3729445"/>
                    <a:pt x="4003040" y="3775165"/>
                    <a:pt x="5042263" y="3161211"/>
                  </a:cubicBezTo>
                  <a:cubicBezTo>
                    <a:pt x="6081486" y="2547257"/>
                    <a:pt x="6158411" y="1273628"/>
                    <a:pt x="6235337" y="0"/>
                  </a:cubicBezTo>
                </a:path>
              </a:pathLst>
            </a:custGeom>
            <a:noFill/>
            <a:ln w="28575">
              <a:solidFill>
                <a:srgbClr val="F1692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solidFill>
                  <a:srgbClr val="595959"/>
                </a:solidFill>
              </a:endParaRPr>
            </a:p>
          </p:txBody>
        </p:sp>
        <p:sp>
          <p:nvSpPr>
            <p:cNvPr id="20" name="Subtitle 2">
              <a:extLst>
                <a:ext uri="{FF2B5EF4-FFF2-40B4-BE49-F238E27FC236}">
                  <a16:creationId xmlns:a16="http://schemas.microsoft.com/office/drawing/2014/main" id="{09FB0BAE-0F4B-B64E-3067-5F26C1F5F1B4}"/>
                </a:ext>
              </a:extLst>
            </p:cNvPr>
            <p:cNvSpPr txBox="1">
              <a:spLocks/>
            </p:cNvSpPr>
            <p:nvPr/>
          </p:nvSpPr>
          <p:spPr>
            <a:xfrm>
              <a:off x="1818331" y="3978062"/>
              <a:ext cx="1807994" cy="362637"/>
            </a:xfrm>
            <a:prstGeom prst="rect">
              <a:avLst/>
            </a:prstGeom>
            <a:noFill/>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2000"/>
                </a:lnSpc>
                <a:spcBef>
                  <a:spcPts val="600"/>
                </a:spcBef>
              </a:pPr>
              <a:r>
                <a:rPr lang="en-GB" sz="2000" dirty="0">
                  <a:solidFill>
                    <a:srgbClr val="595959"/>
                  </a:solidFill>
                  <a:latin typeface="+mn-lt"/>
                  <a:ea typeface="Lato Light" panose="020F0502020204030203" pitchFamily="34" charset="0"/>
                  <a:cs typeface="Mukta ExtraLight" panose="020B0000000000000000" pitchFamily="34" charset="77"/>
                </a:rPr>
                <a:t>Progreso esperado</a:t>
              </a:r>
            </a:p>
          </p:txBody>
        </p:sp>
        <p:sp>
          <p:nvSpPr>
            <p:cNvPr id="23" name="Subtitle 2">
              <a:extLst>
                <a:ext uri="{FF2B5EF4-FFF2-40B4-BE49-F238E27FC236}">
                  <a16:creationId xmlns:a16="http://schemas.microsoft.com/office/drawing/2014/main" id="{04A4CDF3-8C09-55A6-36DF-F7ED0D62CB34}"/>
                </a:ext>
              </a:extLst>
            </p:cNvPr>
            <p:cNvSpPr txBox="1">
              <a:spLocks/>
            </p:cNvSpPr>
            <p:nvPr/>
          </p:nvSpPr>
          <p:spPr>
            <a:xfrm>
              <a:off x="6949213" y="3989560"/>
              <a:ext cx="900268" cy="678241"/>
            </a:xfrm>
            <a:prstGeom prst="rect">
              <a:avLst/>
            </a:prstGeom>
            <a:noFill/>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2000"/>
                </a:lnSpc>
                <a:spcBef>
                  <a:spcPts val="600"/>
                </a:spcBef>
              </a:pPr>
              <a:r>
                <a:rPr lang="en-GB" sz="2000" dirty="0">
                  <a:solidFill>
                    <a:srgbClr val="595959"/>
                  </a:solidFill>
                  <a:latin typeface="+mn-lt"/>
                  <a:ea typeface="Lato Light" panose="020F0502020204030203" pitchFamily="34" charset="0"/>
                  <a:cs typeface="Mukta ExtraLight" panose="020B0000000000000000" pitchFamily="34" charset="77"/>
                </a:rPr>
                <a:t>Progreso actual</a:t>
              </a:r>
            </a:p>
          </p:txBody>
        </p:sp>
        <p:sp>
          <p:nvSpPr>
            <p:cNvPr id="24" name="Subtitle 2">
              <a:extLst>
                <a:ext uri="{FF2B5EF4-FFF2-40B4-BE49-F238E27FC236}">
                  <a16:creationId xmlns:a16="http://schemas.microsoft.com/office/drawing/2014/main" id="{D0497B14-AAB3-55E9-8AD8-3770899D0E83}"/>
                </a:ext>
              </a:extLst>
            </p:cNvPr>
            <p:cNvSpPr txBox="1">
              <a:spLocks/>
            </p:cNvSpPr>
            <p:nvPr/>
          </p:nvSpPr>
          <p:spPr>
            <a:xfrm>
              <a:off x="4386755" y="3989560"/>
              <a:ext cx="1807971" cy="993843"/>
            </a:xfrm>
            <a:prstGeom prst="rect">
              <a:avLst/>
            </a:prstGeom>
            <a:noFill/>
            <a:ln>
              <a:solidFill>
                <a:schemeClr val="tx2"/>
              </a:solidFill>
            </a:ln>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2000"/>
                </a:lnSpc>
                <a:spcBef>
                  <a:spcPts val="600"/>
                </a:spcBef>
              </a:pPr>
              <a:r>
                <a:rPr lang="en-GB" sz="2000" dirty="0">
                  <a:solidFill>
                    <a:srgbClr val="595959"/>
                  </a:solidFill>
                  <a:latin typeface="+mn-lt"/>
                  <a:ea typeface="Lato Light" panose="020F0502020204030203" pitchFamily="34" charset="0"/>
                  <a:cs typeface="Mukta ExtraLight" panose="020B0000000000000000" pitchFamily="34" charset="77"/>
                </a:rPr>
                <a:t>El control es importante para alinear las expectativas con la realidad</a:t>
              </a:r>
            </a:p>
          </p:txBody>
        </p:sp>
      </p:grpSp>
    </p:spTree>
    <p:extLst>
      <p:ext uri="{BB962C8B-B14F-4D97-AF65-F5344CB8AC3E}">
        <p14:creationId xmlns:p14="http://schemas.microsoft.com/office/powerpoint/2010/main" val="213871258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046B1680-4210-0AD3-D76D-79A564F0B15B}"/>
              </a:ext>
            </a:extLst>
          </p:cNvPr>
          <p:cNvSpPr txBox="1">
            <a:spLocks/>
          </p:cNvSpPr>
          <p:nvPr/>
        </p:nvSpPr>
        <p:spPr>
          <a:xfrm>
            <a:off x="1556575" y="2281373"/>
            <a:ext cx="4514442" cy="5056533"/>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r>
              <a:rPr lang="en-US" dirty="0">
                <a:solidFill>
                  <a:schemeClr val="bg1"/>
                </a:solidFill>
              </a:rPr>
              <a:t>Imágenes compartidas a la cabeza: lo que realmente importa:</a:t>
            </a:r>
            <a:r>
              <a:rPr lang="en-US" b="1" dirty="0">
                <a:solidFill>
                  <a:schemeClr val="bg1"/>
                </a:solidFill>
              </a:rPr>
              <a:t>"La pirámide mágicamente trivial".</a:t>
            </a:r>
          </a:p>
          <a:p>
            <a:pPr marL="12700" indent="-12700" algn="l" rtl="0"/>
            <a:endParaRPr lang="en-US" b="1" dirty="0">
              <a:solidFill>
                <a:schemeClr val="bg1"/>
              </a:solidFill>
            </a:endParaRPr>
          </a:p>
          <a:p>
            <a:pPr marL="342900" indent="-342900" algn="l" rtl="0">
              <a:buClr>
                <a:srgbClr val="EDA13E"/>
              </a:buClr>
              <a:buFont typeface="Arial" panose="020B0604020202020204" pitchFamily="34" charset="0"/>
              <a:buChar char="•"/>
            </a:pPr>
            <a:r>
              <a:rPr lang="en-US" dirty="0">
                <a:solidFill>
                  <a:schemeClr val="bg1"/>
                </a:solidFill>
              </a:rPr>
              <a:t>Pensamiento y actuación empresarial en general.</a:t>
            </a:r>
          </a:p>
          <a:p>
            <a:pPr marL="342900" indent="-342900" algn="l" rtl="0">
              <a:buClr>
                <a:srgbClr val="EDA13E"/>
              </a:buClr>
              <a:buFont typeface="Arial" panose="020B0604020202020204" pitchFamily="34" charset="0"/>
              <a:buChar char="•"/>
            </a:pPr>
            <a:r>
              <a:rPr lang="en-US" dirty="0">
                <a:solidFill>
                  <a:schemeClr val="bg1"/>
                </a:solidFill>
              </a:rPr>
              <a:t>Cooperación</a:t>
            </a:r>
          </a:p>
          <a:p>
            <a:pPr marL="342900" indent="-342900" algn="l" rtl="0">
              <a:buClr>
                <a:srgbClr val="EDA13E"/>
              </a:buClr>
              <a:buFont typeface="Arial" panose="020B0604020202020204" pitchFamily="34" charset="0"/>
              <a:buChar char="•"/>
            </a:pPr>
            <a:r>
              <a:rPr lang="en-US" dirty="0">
                <a:solidFill>
                  <a:schemeClr val="bg1"/>
                </a:solidFill>
              </a:rPr>
              <a:t>Comunicación / información: horizontal - vertical - diagonal</a:t>
            </a:r>
          </a:p>
          <a:p>
            <a:pPr marL="342900" indent="-342900" algn="l" rtl="0">
              <a:buClr>
                <a:srgbClr val="EDA13E"/>
              </a:buClr>
              <a:buFont typeface="Arial" panose="020B0604020202020204" pitchFamily="34" charset="0"/>
              <a:buChar char="•"/>
            </a:pPr>
            <a:r>
              <a:rPr lang="en-US" dirty="0">
                <a:solidFill>
                  <a:schemeClr val="bg1"/>
                </a:solidFill>
              </a:rPr>
              <a:t>Desarrollo de empleado</a:t>
            </a:r>
          </a:p>
          <a:p>
            <a:pPr marL="342900" indent="-342900" algn="l" rtl="0">
              <a:buClr>
                <a:srgbClr val="EDA13E"/>
              </a:buClr>
              <a:buFont typeface="Arial" panose="020B0604020202020204" pitchFamily="34" charset="0"/>
              <a:buChar char="•"/>
            </a:pPr>
            <a:r>
              <a:rPr lang="en-US" dirty="0">
                <a:solidFill>
                  <a:schemeClr val="bg1"/>
                </a:solidFill>
              </a:rPr>
              <a:t>Delegación de responsabilidad y competencia</a:t>
            </a:r>
          </a:p>
          <a:p>
            <a:pPr marL="12700" indent="-12700" algn="l" rtl="0"/>
            <a:endParaRPr lang="en-US" dirty="0">
              <a:solidFill>
                <a:schemeClr val="bg1"/>
              </a:solidFill>
            </a:endParaRPr>
          </a:p>
        </p:txBody>
      </p:sp>
      <p:sp>
        <p:nvSpPr>
          <p:cNvPr id="4" name="Rectangle 3">
            <a:extLst>
              <a:ext uri="{FF2B5EF4-FFF2-40B4-BE49-F238E27FC236}">
                <a16:creationId xmlns:a16="http://schemas.microsoft.com/office/drawing/2014/main" id="{CC45B7D4-2E3F-83EC-3AED-84EAFD560075}"/>
              </a:ext>
            </a:extLst>
          </p:cNvPr>
          <p:cNvSpPr/>
          <p:nvPr/>
        </p:nvSpPr>
        <p:spPr>
          <a:xfrm>
            <a:off x="1552894" y="1901152"/>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pic>
        <p:nvPicPr>
          <p:cNvPr id="7" name="Picture Placeholder 9">
            <a:extLst>
              <a:ext uri="{FF2B5EF4-FFF2-40B4-BE49-F238E27FC236}">
                <a16:creationId xmlns:a16="http://schemas.microsoft.com/office/drawing/2014/main" id="{DD768C66-47B3-9F6A-6B05-5C483BEC7EB8}"/>
              </a:ext>
            </a:extLst>
          </p:cNvPr>
          <p:cNvPicPr>
            <a:picLocks noChangeAspect="1"/>
          </p:cNvPicPr>
          <p:nvPr/>
        </p:nvPicPr>
        <p:blipFill rotWithShape="1">
          <a:blip r:embed="rId2"/>
          <a:srcRect t="11701" b="11701"/>
          <a:stretch/>
        </p:blipFill>
        <p:spPr>
          <a:xfrm>
            <a:off x="6159792" y="328647"/>
            <a:ext cx="5648906" cy="6125694"/>
          </a:xfrm>
          <a:prstGeom prst="rect">
            <a:avLst/>
          </a:prstGeom>
          <a:solidFill>
            <a:schemeClr val="bg1"/>
          </a:solidFill>
        </p:spPr>
      </p:pic>
      <p:sp>
        <p:nvSpPr>
          <p:cNvPr id="10" name="Text Placeholder 9">
            <a:extLst>
              <a:ext uri="{FF2B5EF4-FFF2-40B4-BE49-F238E27FC236}">
                <a16:creationId xmlns:a16="http://schemas.microsoft.com/office/drawing/2014/main" id="{8FEC0BF8-5D00-8C6F-85CA-BC34F4E499C4}"/>
              </a:ext>
            </a:extLst>
          </p:cNvPr>
          <p:cNvSpPr>
            <a:spLocks noGrp="1"/>
          </p:cNvSpPr>
          <p:nvPr>
            <p:ph type="body" sz="quarter" idx="16"/>
          </p:nvPr>
        </p:nvSpPr>
        <p:spPr>
          <a:xfrm>
            <a:off x="1616686" y="530975"/>
            <a:ext cx="4878216" cy="1449359"/>
          </a:xfrm>
        </p:spPr>
        <p:txBody>
          <a:bodyPr>
            <a:normAutofit/>
          </a:bodyPr>
          <a:lstStyle/>
          <a:p>
            <a:pPr algn="l" rtl="0"/>
            <a:r>
              <a:rPr lang="en-US" dirty="0"/>
              <a:t>Motivación en Crisis: Imágenes compartidas</a:t>
            </a:r>
          </a:p>
          <a:p>
            <a:pPr algn="l" rtl="0"/>
            <a:endParaRPr lang="en-US" dirty="0"/>
          </a:p>
        </p:txBody>
      </p:sp>
    </p:spTree>
    <p:extLst>
      <p:ext uri="{BB962C8B-B14F-4D97-AF65-F5344CB8AC3E}">
        <p14:creationId xmlns:p14="http://schemas.microsoft.com/office/powerpoint/2010/main" val="66508157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1E04F49-6384-15AB-22BB-266E2249B24B}"/>
              </a:ext>
            </a:extLst>
          </p:cNvPr>
          <p:cNvSpPr/>
          <p:nvPr/>
        </p:nvSpPr>
        <p:spPr>
          <a:xfrm>
            <a:off x="0" y="119466"/>
            <a:ext cx="12192000" cy="91474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 name="Text Placeholder 3">
            <a:extLst>
              <a:ext uri="{FF2B5EF4-FFF2-40B4-BE49-F238E27FC236}">
                <a16:creationId xmlns:a16="http://schemas.microsoft.com/office/drawing/2014/main" id="{DCF0AFD1-78E0-6CC3-9E16-B88F885B95E2}"/>
              </a:ext>
            </a:extLst>
          </p:cNvPr>
          <p:cNvSpPr>
            <a:spLocks noGrp="1"/>
          </p:cNvSpPr>
          <p:nvPr>
            <p:ph type="body" sz="quarter" idx="16"/>
          </p:nvPr>
        </p:nvSpPr>
        <p:spPr>
          <a:xfrm>
            <a:off x="529759" y="328024"/>
            <a:ext cx="11073661" cy="582221"/>
          </a:xfrm>
        </p:spPr>
        <p:txBody>
          <a:bodyPr>
            <a:normAutofit lnSpcReduction="10000"/>
          </a:bodyPr>
          <a:lstStyle/>
          <a:p>
            <a:pPr algn="l" rtl="0"/>
            <a:r>
              <a:rPr lang="en-US" dirty="0">
                <a:solidFill>
                  <a:schemeClr val="bg1"/>
                </a:solidFill>
              </a:rPr>
              <a:t>Motivación en Crisis: Imágenes compartidas</a:t>
            </a:r>
          </a:p>
        </p:txBody>
      </p:sp>
      <p:grpSp>
        <p:nvGrpSpPr>
          <p:cNvPr id="2" name="Gruppieren 13">
            <a:extLst>
              <a:ext uri="{FF2B5EF4-FFF2-40B4-BE49-F238E27FC236}">
                <a16:creationId xmlns:a16="http://schemas.microsoft.com/office/drawing/2014/main" id="{08B63969-809F-5DA1-7205-7702A5AC325F}"/>
              </a:ext>
            </a:extLst>
          </p:cNvPr>
          <p:cNvGrpSpPr/>
          <p:nvPr/>
        </p:nvGrpSpPr>
        <p:grpSpPr>
          <a:xfrm>
            <a:off x="4954709" y="2397306"/>
            <a:ext cx="7074636" cy="3563909"/>
            <a:chOff x="5030350" y="2620935"/>
            <a:chExt cx="5413720" cy="2727208"/>
          </a:xfrm>
        </p:grpSpPr>
        <p:sp>
          <p:nvSpPr>
            <p:cNvPr id="3" name="Subtitle 2">
              <a:extLst>
                <a:ext uri="{FF2B5EF4-FFF2-40B4-BE49-F238E27FC236}">
                  <a16:creationId xmlns:a16="http://schemas.microsoft.com/office/drawing/2014/main" id="{855D99BD-FED0-9E4A-D241-961AA99329C5}"/>
                </a:ext>
              </a:extLst>
            </p:cNvPr>
            <p:cNvSpPr txBox="1">
              <a:spLocks/>
            </p:cNvSpPr>
            <p:nvPr/>
          </p:nvSpPr>
          <p:spPr>
            <a:xfrm>
              <a:off x="8609503" y="4367678"/>
              <a:ext cx="1834567" cy="26202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ct val="100000"/>
                </a:lnSpc>
                <a:spcBef>
                  <a:spcPts val="600"/>
                </a:spcBef>
              </a:pPr>
              <a:r>
                <a:rPr lang="en-GB" sz="2000" b="1" dirty="0">
                  <a:solidFill>
                    <a:srgbClr val="7F1C58"/>
                  </a:solidFill>
                  <a:latin typeface="+mn-lt"/>
                  <a:ea typeface="Lato Light" panose="020F0502020204030203" pitchFamily="34" charset="0"/>
                  <a:cs typeface="Mukta ExtraLight" panose="020B0000000000000000" pitchFamily="34" charset="77"/>
                </a:rPr>
                <a:t>Gerencia intermedia</a:t>
              </a:r>
            </a:p>
          </p:txBody>
        </p:sp>
        <p:sp>
          <p:nvSpPr>
            <p:cNvPr id="5" name="Subtitle 2">
              <a:extLst>
                <a:ext uri="{FF2B5EF4-FFF2-40B4-BE49-F238E27FC236}">
                  <a16:creationId xmlns:a16="http://schemas.microsoft.com/office/drawing/2014/main" id="{CE6264FF-436C-73B0-C4C0-5FEF011740A3}"/>
                </a:ext>
              </a:extLst>
            </p:cNvPr>
            <p:cNvSpPr txBox="1">
              <a:spLocks/>
            </p:cNvSpPr>
            <p:nvPr/>
          </p:nvSpPr>
          <p:spPr>
            <a:xfrm>
              <a:off x="9115107" y="5086121"/>
              <a:ext cx="1267097" cy="26202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ct val="100000"/>
                </a:lnSpc>
                <a:spcBef>
                  <a:spcPts val="600"/>
                </a:spcBef>
              </a:pPr>
              <a:r>
                <a:rPr lang="en-GB" sz="2000" b="1" dirty="0">
                  <a:solidFill>
                    <a:srgbClr val="122E45"/>
                  </a:solidFill>
                  <a:latin typeface="+mn-lt"/>
                  <a:ea typeface="Lato Light" panose="020F0502020204030203" pitchFamily="34" charset="0"/>
                  <a:cs typeface="Mukta ExtraLight" panose="020B0000000000000000" pitchFamily="34" charset="77"/>
                </a:rPr>
                <a:t>Empleados</a:t>
              </a:r>
            </a:p>
          </p:txBody>
        </p:sp>
        <p:grpSp>
          <p:nvGrpSpPr>
            <p:cNvPr id="10" name="Gruppieren 12">
              <a:extLst>
                <a:ext uri="{FF2B5EF4-FFF2-40B4-BE49-F238E27FC236}">
                  <a16:creationId xmlns:a16="http://schemas.microsoft.com/office/drawing/2014/main" id="{115E5A51-6DD6-D758-17E3-2C6C7405CD9C}"/>
                </a:ext>
              </a:extLst>
            </p:cNvPr>
            <p:cNvGrpSpPr/>
            <p:nvPr/>
          </p:nvGrpSpPr>
          <p:grpSpPr>
            <a:xfrm>
              <a:off x="5030350" y="2620935"/>
              <a:ext cx="5093095" cy="2700336"/>
              <a:chOff x="5030350" y="2620935"/>
              <a:chExt cx="5093095" cy="2700336"/>
            </a:xfrm>
          </p:grpSpPr>
          <p:sp>
            <p:nvSpPr>
              <p:cNvPr id="11" name="L-Form 3">
                <a:extLst>
                  <a:ext uri="{FF2B5EF4-FFF2-40B4-BE49-F238E27FC236}">
                    <a16:creationId xmlns:a16="http://schemas.microsoft.com/office/drawing/2014/main" id="{6008BFDE-7748-9931-4967-A6C0EA7468F2}"/>
                  </a:ext>
                </a:extLst>
              </p:cNvPr>
              <p:cNvSpPr/>
              <p:nvPr/>
            </p:nvSpPr>
            <p:spPr>
              <a:xfrm rot="8106606">
                <a:off x="6693786" y="2620935"/>
                <a:ext cx="705394" cy="697353"/>
              </a:xfrm>
              <a:prstGeom prst="corner">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50" name="Gleichschenkliges Dreieck 4">
                <a:extLst>
                  <a:ext uri="{FF2B5EF4-FFF2-40B4-BE49-F238E27FC236}">
                    <a16:creationId xmlns:a16="http://schemas.microsoft.com/office/drawing/2014/main" id="{A89EB561-935F-B724-5EC7-3403C4F39CAF}"/>
                  </a:ext>
                </a:extLst>
              </p:cNvPr>
              <p:cNvSpPr/>
              <p:nvPr/>
            </p:nvSpPr>
            <p:spPr>
              <a:xfrm>
                <a:off x="5151441" y="3071271"/>
                <a:ext cx="3790083" cy="2160000"/>
              </a:xfrm>
              <a:prstGeom prst="triangle">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51" name="Gleichschenkliges Dreieck 23">
                <a:extLst>
                  <a:ext uri="{FF2B5EF4-FFF2-40B4-BE49-F238E27FC236}">
                    <a16:creationId xmlns:a16="http://schemas.microsoft.com/office/drawing/2014/main" id="{47A6BBA5-76A7-382D-C21A-4885F24D5404}"/>
                  </a:ext>
                </a:extLst>
              </p:cNvPr>
              <p:cNvSpPr/>
              <p:nvPr/>
            </p:nvSpPr>
            <p:spPr>
              <a:xfrm>
                <a:off x="6418538" y="3071271"/>
                <a:ext cx="1267097" cy="720000"/>
              </a:xfrm>
              <a:prstGeom prst="triangl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52" name="Gleichschenkliges Dreieck 24">
                <a:extLst>
                  <a:ext uri="{FF2B5EF4-FFF2-40B4-BE49-F238E27FC236}">
                    <a16:creationId xmlns:a16="http://schemas.microsoft.com/office/drawing/2014/main" id="{8CAF03F2-6C5D-2AE1-81B0-612E31363172}"/>
                  </a:ext>
                </a:extLst>
              </p:cNvPr>
              <p:cNvSpPr/>
              <p:nvPr/>
            </p:nvSpPr>
            <p:spPr>
              <a:xfrm>
                <a:off x="7046483" y="3791271"/>
                <a:ext cx="1267097" cy="720000"/>
              </a:xfrm>
              <a:prstGeom prst="triangl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53" name="Gleichschenkliges Dreieck 25">
                <a:extLst>
                  <a:ext uri="{FF2B5EF4-FFF2-40B4-BE49-F238E27FC236}">
                    <a16:creationId xmlns:a16="http://schemas.microsoft.com/office/drawing/2014/main" id="{EBC71513-5BFB-BD98-C0CC-D37E92924E49}"/>
                  </a:ext>
                </a:extLst>
              </p:cNvPr>
              <p:cNvSpPr/>
              <p:nvPr/>
            </p:nvSpPr>
            <p:spPr>
              <a:xfrm>
                <a:off x="7674427" y="4511271"/>
                <a:ext cx="1267097" cy="720000"/>
              </a:xfrm>
              <a:prstGeom prst="triangl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54" name="Gleichschenkliges Dreieck 26">
                <a:extLst>
                  <a:ext uri="{FF2B5EF4-FFF2-40B4-BE49-F238E27FC236}">
                    <a16:creationId xmlns:a16="http://schemas.microsoft.com/office/drawing/2014/main" id="{E4AA3256-681C-8234-E14D-211A6CB9DE69}"/>
                  </a:ext>
                </a:extLst>
              </p:cNvPr>
              <p:cNvSpPr/>
              <p:nvPr/>
            </p:nvSpPr>
            <p:spPr>
              <a:xfrm>
                <a:off x="5151441" y="4511271"/>
                <a:ext cx="1267097" cy="720000"/>
              </a:xfrm>
              <a:prstGeom prst="triangl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55" name="Gleichschenkliges Dreieck 27">
                <a:extLst>
                  <a:ext uri="{FF2B5EF4-FFF2-40B4-BE49-F238E27FC236}">
                    <a16:creationId xmlns:a16="http://schemas.microsoft.com/office/drawing/2014/main" id="{BAEC4BAC-E9F8-7E43-CB1B-21DDC16062D5}"/>
                  </a:ext>
                </a:extLst>
              </p:cNvPr>
              <p:cNvSpPr/>
              <p:nvPr/>
            </p:nvSpPr>
            <p:spPr>
              <a:xfrm>
                <a:off x="5784989" y="3791271"/>
                <a:ext cx="1267097" cy="720000"/>
              </a:xfrm>
              <a:prstGeom prst="triangl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56" name="Subtitle 2">
                <a:extLst>
                  <a:ext uri="{FF2B5EF4-FFF2-40B4-BE49-F238E27FC236}">
                    <a16:creationId xmlns:a16="http://schemas.microsoft.com/office/drawing/2014/main" id="{0BD824E7-C73C-E462-7765-C17F8FEC79D9}"/>
                  </a:ext>
                </a:extLst>
              </p:cNvPr>
              <p:cNvSpPr txBox="1">
                <a:spLocks/>
              </p:cNvSpPr>
              <p:nvPr/>
            </p:nvSpPr>
            <p:spPr>
              <a:xfrm>
                <a:off x="7930742" y="3650844"/>
                <a:ext cx="2192703" cy="26202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ct val="100000"/>
                  </a:lnSpc>
                  <a:spcBef>
                    <a:spcPts val="600"/>
                  </a:spcBef>
                </a:pPr>
                <a:r>
                  <a:rPr lang="en-GB" sz="2000" b="1" dirty="0">
                    <a:solidFill>
                      <a:srgbClr val="B41F7A"/>
                    </a:solidFill>
                    <a:latin typeface="+mn-lt"/>
                    <a:ea typeface="Lato Light" panose="020F0502020204030203" pitchFamily="34" charset="0"/>
                    <a:cs typeface="Mukta ExtraLight" panose="020B0000000000000000" pitchFamily="34" charset="77"/>
                  </a:rPr>
                  <a:t>Alta gerencia</a:t>
                </a:r>
              </a:p>
            </p:txBody>
          </p:sp>
          <p:sp>
            <p:nvSpPr>
              <p:cNvPr id="57" name="Subtitle 2">
                <a:extLst>
                  <a:ext uri="{FF2B5EF4-FFF2-40B4-BE49-F238E27FC236}">
                    <a16:creationId xmlns:a16="http://schemas.microsoft.com/office/drawing/2014/main" id="{C2944B2B-EBAC-A09D-F775-EDD5B53F7995}"/>
                  </a:ext>
                </a:extLst>
              </p:cNvPr>
              <p:cNvSpPr txBox="1">
                <a:spLocks/>
              </p:cNvSpPr>
              <p:nvPr/>
            </p:nvSpPr>
            <p:spPr>
              <a:xfrm>
                <a:off x="7674427" y="2632044"/>
                <a:ext cx="2273703" cy="26202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ct val="100000"/>
                  </a:lnSpc>
                  <a:spcBef>
                    <a:spcPts val="600"/>
                  </a:spcBef>
                </a:pPr>
                <a:r>
                  <a:rPr lang="en-GB" sz="2000" b="1" dirty="0">
                    <a:solidFill>
                      <a:srgbClr val="F16924"/>
                    </a:solidFill>
                    <a:latin typeface="+mn-lt"/>
                    <a:ea typeface="Lato Light" panose="020F0502020204030203" pitchFamily="34" charset="0"/>
                    <a:cs typeface="Mukta ExtraLight" panose="020B0000000000000000" pitchFamily="34" charset="77"/>
                  </a:rPr>
                  <a:t>Director General / Propietario</a:t>
                </a:r>
              </a:p>
            </p:txBody>
          </p:sp>
          <p:sp>
            <p:nvSpPr>
              <p:cNvPr id="58" name="Ellipse 10">
                <a:extLst>
                  <a:ext uri="{FF2B5EF4-FFF2-40B4-BE49-F238E27FC236}">
                    <a16:creationId xmlns:a16="http://schemas.microsoft.com/office/drawing/2014/main" id="{A53E2E12-D62D-D902-491F-8752FDA5D29F}"/>
                  </a:ext>
                </a:extLst>
              </p:cNvPr>
              <p:cNvSpPr/>
              <p:nvPr/>
            </p:nvSpPr>
            <p:spPr>
              <a:xfrm>
                <a:off x="6244955" y="3611271"/>
                <a:ext cx="360632" cy="360000"/>
              </a:xfrm>
              <a:prstGeom prst="ellipse">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GB"/>
                  <a:t>A</a:t>
                </a:r>
                <a:endParaRPr lang="en-GB" dirty="0"/>
              </a:p>
            </p:txBody>
          </p:sp>
          <p:sp>
            <p:nvSpPr>
              <p:cNvPr id="59" name="Ellipse 33">
                <a:extLst>
                  <a:ext uri="{FF2B5EF4-FFF2-40B4-BE49-F238E27FC236}">
                    <a16:creationId xmlns:a16="http://schemas.microsoft.com/office/drawing/2014/main" id="{23B40869-0659-4FB2-E970-427930F284FD}"/>
                  </a:ext>
                </a:extLst>
              </p:cNvPr>
              <p:cNvSpPr/>
              <p:nvPr/>
            </p:nvSpPr>
            <p:spPr>
              <a:xfrm>
                <a:off x="7494111" y="3615447"/>
                <a:ext cx="360632" cy="360000"/>
              </a:xfrm>
              <a:prstGeom prst="ellipse">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GB" dirty="0"/>
                  <a:t>C</a:t>
                </a:r>
              </a:p>
            </p:txBody>
          </p:sp>
          <p:sp>
            <p:nvSpPr>
              <p:cNvPr id="60" name="Ellipse 34">
                <a:extLst>
                  <a:ext uri="{FF2B5EF4-FFF2-40B4-BE49-F238E27FC236}">
                    <a16:creationId xmlns:a16="http://schemas.microsoft.com/office/drawing/2014/main" id="{0358813E-3F8C-63EF-439C-A12A43080C9E}"/>
                  </a:ext>
                </a:extLst>
              </p:cNvPr>
              <p:cNvSpPr/>
              <p:nvPr/>
            </p:nvSpPr>
            <p:spPr>
              <a:xfrm>
                <a:off x="6864649" y="3611271"/>
                <a:ext cx="360632" cy="360000"/>
              </a:xfrm>
              <a:prstGeom prst="ellipse">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en-GB"/>
                  <a:t>B</a:t>
                </a:r>
                <a:endParaRPr lang="en-GB" dirty="0"/>
              </a:p>
            </p:txBody>
          </p:sp>
          <p:sp>
            <p:nvSpPr>
              <p:cNvPr id="61" name="Ellipse 35">
                <a:extLst>
                  <a:ext uri="{FF2B5EF4-FFF2-40B4-BE49-F238E27FC236}">
                    <a16:creationId xmlns:a16="http://schemas.microsoft.com/office/drawing/2014/main" id="{B5EA6DFE-CA57-14FB-E684-FADD97C6FB53}"/>
                  </a:ext>
                </a:extLst>
              </p:cNvPr>
              <p:cNvSpPr/>
              <p:nvPr/>
            </p:nvSpPr>
            <p:spPr>
              <a:xfrm>
                <a:off x="5658989" y="4396131"/>
                <a:ext cx="252000" cy="252000"/>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62" name="Ellipse 36">
                <a:extLst>
                  <a:ext uri="{FF2B5EF4-FFF2-40B4-BE49-F238E27FC236}">
                    <a16:creationId xmlns:a16="http://schemas.microsoft.com/office/drawing/2014/main" id="{3771D5DE-1D13-1D5F-C12C-09707753A840}"/>
                  </a:ext>
                </a:extLst>
              </p:cNvPr>
              <p:cNvSpPr/>
              <p:nvPr/>
            </p:nvSpPr>
            <p:spPr>
              <a:xfrm>
                <a:off x="6926086" y="4388871"/>
                <a:ext cx="252000" cy="252000"/>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63" name="Ellipse 37">
                <a:extLst>
                  <a:ext uri="{FF2B5EF4-FFF2-40B4-BE49-F238E27FC236}">
                    <a16:creationId xmlns:a16="http://schemas.microsoft.com/office/drawing/2014/main" id="{AD081855-764B-412C-37FE-88D0D6533DBE}"/>
                  </a:ext>
                </a:extLst>
              </p:cNvPr>
              <p:cNvSpPr/>
              <p:nvPr/>
            </p:nvSpPr>
            <p:spPr>
              <a:xfrm>
                <a:off x="8161817" y="4401744"/>
                <a:ext cx="252000" cy="252000"/>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64" name="Ellipse 42">
                <a:extLst>
                  <a:ext uri="{FF2B5EF4-FFF2-40B4-BE49-F238E27FC236}">
                    <a16:creationId xmlns:a16="http://schemas.microsoft.com/office/drawing/2014/main" id="{865D239F-D518-D0E3-04DA-2261DC9F0508}"/>
                  </a:ext>
                </a:extLst>
              </p:cNvPr>
              <p:cNvSpPr/>
              <p:nvPr/>
            </p:nvSpPr>
            <p:spPr>
              <a:xfrm>
                <a:off x="7548427" y="4396131"/>
                <a:ext cx="252000" cy="252000"/>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65" name="Ellipse 43">
                <a:extLst>
                  <a:ext uri="{FF2B5EF4-FFF2-40B4-BE49-F238E27FC236}">
                    <a16:creationId xmlns:a16="http://schemas.microsoft.com/office/drawing/2014/main" id="{89FBF1E2-E869-558B-C208-FFF8A6E166A8}"/>
                  </a:ext>
                </a:extLst>
              </p:cNvPr>
              <p:cNvSpPr/>
              <p:nvPr/>
            </p:nvSpPr>
            <p:spPr>
              <a:xfrm>
                <a:off x="6281330" y="4401744"/>
                <a:ext cx="252000" cy="252000"/>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66" name="Ellipse 44">
                <a:extLst>
                  <a:ext uri="{FF2B5EF4-FFF2-40B4-BE49-F238E27FC236}">
                    <a16:creationId xmlns:a16="http://schemas.microsoft.com/office/drawing/2014/main" id="{E30ADBE0-98BC-AE21-3417-A8E5C2C290AC}"/>
                  </a:ext>
                </a:extLst>
              </p:cNvPr>
              <p:cNvSpPr/>
              <p:nvPr/>
            </p:nvSpPr>
            <p:spPr>
              <a:xfrm>
                <a:off x="5030350" y="5141271"/>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67" name="Ellipse 48">
                <a:extLst>
                  <a:ext uri="{FF2B5EF4-FFF2-40B4-BE49-F238E27FC236}">
                    <a16:creationId xmlns:a16="http://schemas.microsoft.com/office/drawing/2014/main" id="{93FBAC20-08C4-784D-108F-CFCE75F773A8}"/>
                  </a:ext>
                </a:extLst>
              </p:cNvPr>
              <p:cNvSpPr/>
              <p:nvPr/>
            </p:nvSpPr>
            <p:spPr>
              <a:xfrm>
                <a:off x="6303703" y="5136548"/>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68" name="Ellipse 49">
                <a:extLst>
                  <a:ext uri="{FF2B5EF4-FFF2-40B4-BE49-F238E27FC236}">
                    <a16:creationId xmlns:a16="http://schemas.microsoft.com/office/drawing/2014/main" id="{75F0FAD8-097D-2FE3-9401-34790598C7C6}"/>
                  </a:ext>
                </a:extLst>
              </p:cNvPr>
              <p:cNvSpPr/>
              <p:nvPr/>
            </p:nvSpPr>
            <p:spPr>
              <a:xfrm>
                <a:off x="5694989" y="5141271"/>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69" name="Ellipse 50">
                <a:extLst>
                  <a:ext uri="{FF2B5EF4-FFF2-40B4-BE49-F238E27FC236}">
                    <a16:creationId xmlns:a16="http://schemas.microsoft.com/office/drawing/2014/main" id="{893FDBC2-A113-013D-9CEE-AAF1E50FE12C}"/>
                  </a:ext>
                </a:extLst>
              </p:cNvPr>
              <p:cNvSpPr/>
              <p:nvPr/>
            </p:nvSpPr>
            <p:spPr>
              <a:xfrm>
                <a:off x="5361989" y="5136548"/>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70" name="Ellipse 51">
                <a:extLst>
                  <a:ext uri="{FF2B5EF4-FFF2-40B4-BE49-F238E27FC236}">
                    <a16:creationId xmlns:a16="http://schemas.microsoft.com/office/drawing/2014/main" id="{0DD32ACF-1FE5-6481-4559-A5F45992A23B}"/>
                  </a:ext>
                </a:extLst>
              </p:cNvPr>
              <p:cNvSpPr/>
              <p:nvPr/>
            </p:nvSpPr>
            <p:spPr>
              <a:xfrm>
                <a:off x="6002853" y="5141271"/>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71" name="Ellipse 52">
                <a:extLst>
                  <a:ext uri="{FF2B5EF4-FFF2-40B4-BE49-F238E27FC236}">
                    <a16:creationId xmlns:a16="http://schemas.microsoft.com/office/drawing/2014/main" id="{B094FEBD-6FA9-9F9C-5DAE-8089EF82936C}"/>
                  </a:ext>
                </a:extLst>
              </p:cNvPr>
              <p:cNvSpPr/>
              <p:nvPr/>
            </p:nvSpPr>
            <p:spPr>
              <a:xfrm>
                <a:off x="7547000" y="5136548"/>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72" name="Ellipse 53">
                <a:extLst>
                  <a:ext uri="{FF2B5EF4-FFF2-40B4-BE49-F238E27FC236}">
                    <a16:creationId xmlns:a16="http://schemas.microsoft.com/office/drawing/2014/main" id="{6FD835B0-E426-4FBB-BB7E-E38EDCFF81F4}"/>
                  </a:ext>
                </a:extLst>
              </p:cNvPr>
              <p:cNvSpPr/>
              <p:nvPr/>
            </p:nvSpPr>
            <p:spPr>
              <a:xfrm>
                <a:off x="8820353" y="5131825"/>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73" name="Ellipse 54">
                <a:extLst>
                  <a:ext uri="{FF2B5EF4-FFF2-40B4-BE49-F238E27FC236}">
                    <a16:creationId xmlns:a16="http://schemas.microsoft.com/office/drawing/2014/main" id="{4085D896-23C4-01CC-A3D0-638C6638F8F1}"/>
                  </a:ext>
                </a:extLst>
              </p:cNvPr>
              <p:cNvSpPr/>
              <p:nvPr/>
            </p:nvSpPr>
            <p:spPr>
              <a:xfrm>
                <a:off x="8211639" y="5136548"/>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74" name="Ellipse 55">
                <a:extLst>
                  <a:ext uri="{FF2B5EF4-FFF2-40B4-BE49-F238E27FC236}">
                    <a16:creationId xmlns:a16="http://schemas.microsoft.com/office/drawing/2014/main" id="{29F5ED42-7411-D3BB-8765-1373D436F742}"/>
                  </a:ext>
                </a:extLst>
              </p:cNvPr>
              <p:cNvSpPr/>
              <p:nvPr/>
            </p:nvSpPr>
            <p:spPr>
              <a:xfrm>
                <a:off x="7878639" y="5131825"/>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75" name="Ellipse 56">
                <a:extLst>
                  <a:ext uri="{FF2B5EF4-FFF2-40B4-BE49-F238E27FC236}">
                    <a16:creationId xmlns:a16="http://schemas.microsoft.com/office/drawing/2014/main" id="{06EDF42D-1DE6-C667-3060-2392AA25B561}"/>
                  </a:ext>
                </a:extLst>
              </p:cNvPr>
              <p:cNvSpPr/>
              <p:nvPr/>
            </p:nvSpPr>
            <p:spPr>
              <a:xfrm>
                <a:off x="8519503" y="5136548"/>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grpSp>
      </p:grpSp>
      <p:sp>
        <p:nvSpPr>
          <p:cNvPr id="76" name="Rechteck 11">
            <a:extLst>
              <a:ext uri="{FF2B5EF4-FFF2-40B4-BE49-F238E27FC236}">
                <a16:creationId xmlns:a16="http://schemas.microsoft.com/office/drawing/2014/main" id="{11A4C1FA-E75E-978E-BBF3-68AB36C387AE}"/>
              </a:ext>
            </a:extLst>
          </p:cNvPr>
          <p:cNvSpPr/>
          <p:nvPr/>
        </p:nvSpPr>
        <p:spPr>
          <a:xfrm>
            <a:off x="632232" y="1450564"/>
            <a:ext cx="5059421" cy="3160545"/>
          </a:xfrm>
          <a:prstGeom prst="rect">
            <a:avLst/>
          </a:prstGeom>
        </p:spPr>
        <p:txBody>
          <a:bodyPr wrap="square">
            <a:spAutoFit/>
          </a:bodyPr>
          <a:lstStyle/>
          <a:p>
            <a:pPr marL="177800" indent="-177800" algn="l" rtl="0">
              <a:lnSpc>
                <a:spcPts val="2260"/>
              </a:lnSpc>
              <a:spcBef>
                <a:spcPts val="600"/>
              </a:spcBef>
              <a:buClr>
                <a:srgbClr val="F16924"/>
              </a:buClr>
              <a:buFont typeface="Arial" panose="020B0604020202020204" pitchFamily="34" charset="0"/>
              <a:buChar char="•"/>
            </a:pPr>
            <a:r>
              <a:rPr lang="en-GB" altLang="de-DE" sz="2200" dirty="0">
                <a:solidFill>
                  <a:srgbClr val="595959"/>
                </a:solidFill>
              </a:rPr>
              <a:t>Lo colectivo antes que lo individual</a:t>
            </a:r>
          </a:p>
          <a:p>
            <a:pPr marL="177800" indent="-177800" algn="l" rtl="0">
              <a:spcBef>
                <a:spcPts val="600"/>
              </a:spcBef>
              <a:buClr>
                <a:srgbClr val="F16924"/>
              </a:buClr>
              <a:buFont typeface="Arial" panose="020B0604020202020204" pitchFamily="34" charset="0"/>
              <a:buChar char="•"/>
            </a:pPr>
            <a:endParaRPr lang="en-GB" altLang="de-DE" sz="800" dirty="0">
              <a:solidFill>
                <a:srgbClr val="595959"/>
              </a:solidFill>
            </a:endParaRPr>
          </a:p>
          <a:p>
            <a:pPr marL="177800" indent="-177800" algn="l" rtl="0">
              <a:lnSpc>
                <a:spcPts val="2260"/>
              </a:lnSpc>
              <a:spcBef>
                <a:spcPts val="600"/>
              </a:spcBef>
              <a:buClr>
                <a:srgbClr val="F16924"/>
              </a:buClr>
              <a:buFont typeface="Arial" panose="020B0604020202020204" pitchFamily="34" charset="0"/>
              <a:buChar char="•"/>
            </a:pPr>
            <a:r>
              <a:rPr lang="en-GB" altLang="de-DE" sz="2200" dirty="0">
                <a:solidFill>
                  <a:srgbClr val="595959"/>
                </a:solidFill>
              </a:rPr>
              <a:t>Cascada de comunicación e imágenes sobre los niveles de gestión</a:t>
            </a:r>
          </a:p>
          <a:p>
            <a:pPr marL="177800" indent="-177800" algn="l" rtl="0">
              <a:spcBef>
                <a:spcPts val="600"/>
              </a:spcBef>
              <a:buClr>
                <a:srgbClr val="F16924"/>
              </a:buClr>
              <a:buFont typeface="Arial" panose="020B0604020202020204" pitchFamily="34" charset="0"/>
              <a:buChar char="•"/>
            </a:pPr>
            <a:endParaRPr lang="en-GB" altLang="de-DE" sz="800" dirty="0">
              <a:solidFill>
                <a:srgbClr val="595959"/>
              </a:solidFill>
            </a:endParaRPr>
          </a:p>
          <a:p>
            <a:pPr marL="177800" indent="-177800" algn="l" rtl="0">
              <a:lnSpc>
                <a:spcPts val="2260"/>
              </a:lnSpc>
              <a:spcBef>
                <a:spcPts val="600"/>
              </a:spcBef>
              <a:buClr>
                <a:srgbClr val="F16924"/>
              </a:buClr>
              <a:buFont typeface="Arial" panose="020B0604020202020204" pitchFamily="34" charset="0"/>
              <a:buChar char="•"/>
            </a:pPr>
            <a:r>
              <a:rPr lang="en-GB" altLang="de-DE" sz="2200" dirty="0">
                <a:solidFill>
                  <a:srgbClr val="595959"/>
                </a:solidFill>
              </a:rPr>
              <a:t>Cada gerente juega un papel importante en la transmisión de imágenes consistentes</a:t>
            </a:r>
            <a:br>
              <a:rPr lang="en-GB" altLang="de-DE" sz="2200" dirty="0">
                <a:solidFill>
                  <a:srgbClr val="595959"/>
                </a:solidFill>
              </a:rPr>
            </a:br>
            <a:r>
              <a:rPr lang="en-GB" altLang="de-DE" sz="2200" dirty="0">
                <a:solidFill>
                  <a:srgbClr val="F16924"/>
                </a:solidFill>
              </a:rPr>
              <a:t>-</a:t>
            </a:r>
            <a:r>
              <a:rPr lang="en-GB" altLang="de-DE" sz="2200" dirty="0">
                <a:solidFill>
                  <a:srgbClr val="595959"/>
                </a:solidFill>
              </a:rPr>
              <a:t>Propósito, metas, objetivos, caminos, valores</a:t>
            </a:r>
          </a:p>
          <a:p>
            <a:pPr marL="177800" indent="-177800" algn="l" rtl="0">
              <a:lnSpc>
                <a:spcPts val="2260"/>
              </a:lnSpc>
              <a:spcBef>
                <a:spcPts val="600"/>
              </a:spcBef>
              <a:buClr>
                <a:srgbClr val="F16924"/>
              </a:buClr>
            </a:pPr>
            <a:r>
              <a:rPr lang="en-GB" altLang="de-DE" sz="2200" dirty="0">
                <a:solidFill>
                  <a:srgbClr val="F16924"/>
                </a:solidFill>
              </a:rPr>
              <a:t>-</a:t>
            </a:r>
            <a:r>
              <a:rPr lang="en-GB" altLang="de-DE" sz="2200" dirty="0">
                <a:solidFill>
                  <a:srgbClr val="595959"/>
                </a:solidFill>
              </a:rPr>
              <a:t>Rol y contribuciones de los gerentes</a:t>
            </a:r>
          </a:p>
          <a:p>
            <a:pPr marL="177800" indent="-177800" algn="l" rtl="0">
              <a:lnSpc>
                <a:spcPts val="2260"/>
              </a:lnSpc>
              <a:spcBef>
                <a:spcPts val="600"/>
              </a:spcBef>
              <a:buClr>
                <a:srgbClr val="F16924"/>
              </a:buClr>
            </a:pPr>
            <a:r>
              <a:rPr lang="en-GB" altLang="de-DE" sz="2200" dirty="0">
                <a:solidFill>
                  <a:srgbClr val="F16924"/>
                </a:solidFill>
              </a:rPr>
              <a:t>-</a:t>
            </a:r>
            <a:r>
              <a:rPr lang="en-GB" altLang="de-DE" sz="2200" dirty="0">
                <a:solidFill>
                  <a:srgbClr val="595959"/>
                </a:solidFill>
              </a:rPr>
              <a:t>Proceso de desarrollo de la empresa.</a:t>
            </a:r>
          </a:p>
        </p:txBody>
      </p:sp>
    </p:spTree>
    <p:extLst>
      <p:ext uri="{BB962C8B-B14F-4D97-AF65-F5344CB8AC3E}">
        <p14:creationId xmlns:p14="http://schemas.microsoft.com/office/powerpoint/2010/main" val="148429589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Freeform 33">
            <a:extLst>
              <a:ext uri="{FF2B5EF4-FFF2-40B4-BE49-F238E27FC236}">
                <a16:creationId xmlns:a16="http://schemas.microsoft.com/office/drawing/2014/main" id="{BAE7D363-F4C4-37A2-8C66-8AC26CA755A5}"/>
              </a:ext>
            </a:extLst>
          </p:cNvPr>
          <p:cNvSpPr/>
          <p:nvPr/>
        </p:nvSpPr>
        <p:spPr>
          <a:xfrm>
            <a:off x="3522969" y="4535177"/>
            <a:ext cx="1530922" cy="815465"/>
          </a:xfrm>
          <a:custGeom>
            <a:avLst/>
            <a:gdLst>
              <a:gd name="connsiteX0" fmla="*/ 0 w 1530922"/>
              <a:gd name="connsiteY0" fmla="*/ 740505 h 815465"/>
              <a:gd name="connsiteX1" fmla="*/ 74989 w 1530922"/>
              <a:gd name="connsiteY1" fmla="*/ 665545 h 815465"/>
              <a:gd name="connsiteX2" fmla="*/ 74989 w 1530922"/>
              <a:gd name="connsiteY2" fmla="*/ 665545 h 815465"/>
              <a:gd name="connsiteX3" fmla="*/ 1397247 w 1530922"/>
              <a:gd name="connsiteY3" fmla="*/ 28172 h 815465"/>
              <a:gd name="connsiteX4" fmla="*/ 1397247 w 1530922"/>
              <a:gd name="connsiteY4" fmla="*/ 28172 h 815465"/>
              <a:gd name="connsiteX5" fmla="*/ 1502740 w 1530922"/>
              <a:gd name="connsiteY5" fmla="*/ 16314 h 815465"/>
              <a:gd name="connsiteX6" fmla="*/ 1502740 w 1530922"/>
              <a:gd name="connsiteY6" fmla="*/ 16314 h 815465"/>
              <a:gd name="connsiteX7" fmla="*/ 1514603 w 1530922"/>
              <a:gd name="connsiteY7" fmla="*/ 121766 h 815465"/>
              <a:gd name="connsiteX8" fmla="*/ 1514603 w 1530922"/>
              <a:gd name="connsiteY8" fmla="*/ 121766 h 815465"/>
              <a:gd name="connsiteX9" fmla="*/ 74989 w 1530922"/>
              <a:gd name="connsiteY9" fmla="*/ 815465 h 815465"/>
              <a:gd name="connsiteX10" fmla="*/ 74989 w 1530922"/>
              <a:gd name="connsiteY10" fmla="*/ 815465 h 815465"/>
              <a:gd name="connsiteX11" fmla="*/ 0 w 1530922"/>
              <a:gd name="connsiteY11" fmla="*/ 740505 h 815465"/>
              <a:gd name="connsiteX12" fmla="*/ 0 w 1530922"/>
              <a:gd name="connsiteY12" fmla="*/ 740505 h 8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0922" h="815465">
                <a:moveTo>
                  <a:pt x="0" y="740505"/>
                </a:moveTo>
                <a:cubicBezTo>
                  <a:pt x="0" y="699002"/>
                  <a:pt x="33470" y="665545"/>
                  <a:pt x="74989" y="665545"/>
                </a:cubicBezTo>
                <a:lnTo>
                  <a:pt x="74989" y="665545"/>
                </a:lnTo>
                <a:cubicBezTo>
                  <a:pt x="610502" y="665545"/>
                  <a:pt x="1087548" y="416948"/>
                  <a:pt x="1397247" y="28172"/>
                </a:cubicBezTo>
                <a:lnTo>
                  <a:pt x="1397247" y="28172"/>
                </a:lnTo>
                <a:cubicBezTo>
                  <a:pt x="1423091" y="-4014"/>
                  <a:pt x="1470118" y="-9520"/>
                  <a:pt x="1502740" y="16314"/>
                </a:cubicBezTo>
                <a:lnTo>
                  <a:pt x="1502740" y="16314"/>
                </a:lnTo>
                <a:cubicBezTo>
                  <a:pt x="1534939" y="42148"/>
                  <a:pt x="1540446" y="89156"/>
                  <a:pt x="1514603" y="121766"/>
                </a:cubicBezTo>
                <a:lnTo>
                  <a:pt x="1514603" y="121766"/>
                </a:lnTo>
                <a:cubicBezTo>
                  <a:pt x="1177789" y="544423"/>
                  <a:pt x="657528" y="815465"/>
                  <a:pt x="74989" y="815465"/>
                </a:cubicBezTo>
                <a:lnTo>
                  <a:pt x="74989" y="815465"/>
                </a:lnTo>
                <a:cubicBezTo>
                  <a:pt x="33470" y="815465"/>
                  <a:pt x="0" y="781585"/>
                  <a:pt x="0" y="740505"/>
                </a:cubicBezTo>
                <a:lnTo>
                  <a:pt x="0" y="740505"/>
                </a:lnTo>
                <a:close/>
              </a:path>
            </a:pathLst>
          </a:custGeom>
          <a:solidFill>
            <a:srgbClr val="B41F7A"/>
          </a:solidFill>
          <a:ln w="4233" cap="flat">
            <a:noFill/>
            <a:prstDash val="solid"/>
            <a:miter/>
          </a:ln>
        </p:spPr>
        <p:txBody>
          <a:bodyPr rtlCol="0" anchor="ctr"/>
          <a:lstStyle/>
          <a:p>
            <a:pPr algn="l" rtl="0"/>
            <a:endParaRPr lang="en-US"/>
          </a:p>
        </p:txBody>
      </p:sp>
      <p:sp>
        <p:nvSpPr>
          <p:cNvPr id="35" name="Freeform 34">
            <a:extLst>
              <a:ext uri="{FF2B5EF4-FFF2-40B4-BE49-F238E27FC236}">
                <a16:creationId xmlns:a16="http://schemas.microsoft.com/office/drawing/2014/main" id="{5E2A9343-463C-D8FF-A890-DF344544AA0E}"/>
              </a:ext>
            </a:extLst>
          </p:cNvPr>
          <p:cNvSpPr/>
          <p:nvPr/>
        </p:nvSpPr>
        <p:spPr>
          <a:xfrm>
            <a:off x="4903897" y="2337616"/>
            <a:ext cx="534038" cy="2347701"/>
          </a:xfrm>
          <a:custGeom>
            <a:avLst/>
            <a:gdLst>
              <a:gd name="connsiteX0" fmla="*/ 534039 w 534038"/>
              <a:gd name="connsiteY0" fmla="*/ 1173749 h 2347701"/>
              <a:gd name="connsiteX1" fmla="*/ 534039 w 534038"/>
              <a:gd name="connsiteY1" fmla="*/ 1173749 h 2347701"/>
              <a:gd name="connsiteX2" fmla="*/ 133675 w 534038"/>
              <a:gd name="connsiteY2" fmla="*/ 28172 h 2347701"/>
              <a:gd name="connsiteX3" fmla="*/ 28183 w 534038"/>
              <a:gd name="connsiteY3" fmla="*/ 16314 h 2347701"/>
              <a:gd name="connsiteX4" fmla="*/ 16320 w 534038"/>
              <a:gd name="connsiteY4" fmla="*/ 121766 h 2347701"/>
              <a:gd name="connsiteX5" fmla="*/ 384061 w 534038"/>
              <a:gd name="connsiteY5" fmla="*/ 1173749 h 2347701"/>
              <a:gd name="connsiteX6" fmla="*/ 384061 w 534038"/>
              <a:gd name="connsiteY6" fmla="*/ 1174173 h 2347701"/>
              <a:gd name="connsiteX7" fmla="*/ 16320 w 534038"/>
              <a:gd name="connsiteY7" fmla="*/ 2225732 h 2347701"/>
              <a:gd name="connsiteX8" fmla="*/ 28183 w 534038"/>
              <a:gd name="connsiteY8" fmla="*/ 2331185 h 2347701"/>
              <a:gd name="connsiteX9" fmla="*/ 74786 w 534038"/>
              <a:gd name="connsiteY9" fmla="*/ 2347702 h 2347701"/>
              <a:gd name="connsiteX10" fmla="*/ 133675 w 534038"/>
              <a:gd name="connsiteY10" fmla="*/ 2319327 h 2347701"/>
              <a:gd name="connsiteX11" fmla="*/ 133675 w 534038"/>
              <a:gd name="connsiteY11" fmla="*/ 2319327 h 2347701"/>
              <a:gd name="connsiteX12" fmla="*/ 534039 w 534038"/>
              <a:gd name="connsiteY12" fmla="*/ 1173749 h 23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038" h="2347701">
                <a:moveTo>
                  <a:pt x="534039" y="1173749"/>
                </a:moveTo>
                <a:cubicBezTo>
                  <a:pt x="534039" y="1173749"/>
                  <a:pt x="534039" y="1173326"/>
                  <a:pt x="534039" y="1173749"/>
                </a:cubicBezTo>
                <a:cubicBezTo>
                  <a:pt x="534039" y="740505"/>
                  <a:pt x="384061" y="342411"/>
                  <a:pt x="133675" y="28172"/>
                </a:cubicBezTo>
                <a:cubicBezTo>
                  <a:pt x="107832" y="-4014"/>
                  <a:pt x="60805" y="-9520"/>
                  <a:pt x="28183" y="16314"/>
                </a:cubicBezTo>
                <a:cubicBezTo>
                  <a:pt x="-4016" y="42148"/>
                  <a:pt x="-9524" y="89156"/>
                  <a:pt x="16320" y="121766"/>
                </a:cubicBezTo>
                <a:cubicBezTo>
                  <a:pt x="246370" y="410596"/>
                  <a:pt x="384061" y="775656"/>
                  <a:pt x="384061" y="1173749"/>
                </a:cubicBezTo>
                <a:cubicBezTo>
                  <a:pt x="384061" y="1173749"/>
                  <a:pt x="384061" y="1174173"/>
                  <a:pt x="384061" y="1174173"/>
                </a:cubicBezTo>
                <a:cubicBezTo>
                  <a:pt x="384061" y="1572266"/>
                  <a:pt x="246370" y="1936903"/>
                  <a:pt x="16320" y="2225732"/>
                </a:cubicBezTo>
                <a:cubicBezTo>
                  <a:pt x="-9524" y="2257919"/>
                  <a:pt x="-4016" y="2305351"/>
                  <a:pt x="28183" y="2331185"/>
                </a:cubicBezTo>
                <a:cubicBezTo>
                  <a:pt x="42164" y="2342196"/>
                  <a:pt x="58686" y="2347702"/>
                  <a:pt x="74786" y="2347702"/>
                </a:cubicBezTo>
                <a:cubicBezTo>
                  <a:pt x="96816" y="2347702"/>
                  <a:pt x="118847" y="2337961"/>
                  <a:pt x="133675" y="2319327"/>
                </a:cubicBezTo>
                <a:lnTo>
                  <a:pt x="133675" y="2319327"/>
                </a:lnTo>
                <a:cubicBezTo>
                  <a:pt x="384061" y="2005087"/>
                  <a:pt x="534039" y="1606570"/>
                  <a:pt x="534039" y="1173749"/>
                </a:cubicBezTo>
                <a:close/>
              </a:path>
            </a:pathLst>
          </a:custGeom>
          <a:solidFill>
            <a:srgbClr val="F16924"/>
          </a:solidFill>
          <a:ln w="4233" cap="flat">
            <a:noFill/>
            <a:prstDash val="solid"/>
            <a:miter/>
          </a:ln>
        </p:spPr>
        <p:txBody>
          <a:bodyPr rtlCol="0" anchor="ctr"/>
          <a:lstStyle/>
          <a:p>
            <a:pPr algn="l" rtl="0"/>
            <a:endParaRPr lang="en-US"/>
          </a:p>
        </p:txBody>
      </p:sp>
      <p:sp>
        <p:nvSpPr>
          <p:cNvPr id="36" name="Freeform 35">
            <a:extLst>
              <a:ext uri="{FF2B5EF4-FFF2-40B4-BE49-F238E27FC236}">
                <a16:creationId xmlns:a16="http://schemas.microsoft.com/office/drawing/2014/main" id="{AC12AB2A-3AA2-F7F1-76BC-0FA416FAAD7F}"/>
              </a:ext>
            </a:extLst>
          </p:cNvPr>
          <p:cNvSpPr/>
          <p:nvPr/>
        </p:nvSpPr>
        <p:spPr>
          <a:xfrm>
            <a:off x="3522969" y="1672089"/>
            <a:ext cx="1530922" cy="815668"/>
          </a:xfrm>
          <a:custGeom>
            <a:avLst/>
            <a:gdLst>
              <a:gd name="connsiteX0" fmla="*/ 1397247 w 1530922"/>
              <a:gd name="connsiteY0" fmla="*/ 787293 h 815668"/>
              <a:gd name="connsiteX1" fmla="*/ 74989 w 1530922"/>
              <a:gd name="connsiteY1" fmla="*/ 149920 h 815668"/>
              <a:gd name="connsiteX2" fmla="*/ 74989 w 1530922"/>
              <a:gd name="connsiteY2" fmla="*/ 149920 h 815668"/>
              <a:gd name="connsiteX3" fmla="*/ 0 w 1530922"/>
              <a:gd name="connsiteY3" fmla="*/ 74960 h 815668"/>
              <a:gd name="connsiteX4" fmla="*/ 0 w 1530922"/>
              <a:gd name="connsiteY4" fmla="*/ 74960 h 815668"/>
              <a:gd name="connsiteX5" fmla="*/ 74989 w 1530922"/>
              <a:gd name="connsiteY5" fmla="*/ 0 h 815668"/>
              <a:gd name="connsiteX6" fmla="*/ 74989 w 1530922"/>
              <a:gd name="connsiteY6" fmla="*/ 0 h 815668"/>
              <a:gd name="connsiteX7" fmla="*/ 1514603 w 1530922"/>
              <a:gd name="connsiteY7" fmla="*/ 693699 h 815668"/>
              <a:gd name="connsiteX8" fmla="*/ 1514603 w 1530922"/>
              <a:gd name="connsiteY8" fmla="*/ 693699 h 815668"/>
              <a:gd name="connsiteX9" fmla="*/ 1502740 w 1530922"/>
              <a:gd name="connsiteY9" fmla="*/ 799151 h 815668"/>
              <a:gd name="connsiteX10" fmla="*/ 1502740 w 1530922"/>
              <a:gd name="connsiteY10" fmla="*/ 799151 h 815668"/>
              <a:gd name="connsiteX11" fmla="*/ 1456137 w 1530922"/>
              <a:gd name="connsiteY11" fmla="*/ 815668 h 815668"/>
              <a:gd name="connsiteX12" fmla="*/ 1456137 w 1530922"/>
              <a:gd name="connsiteY12" fmla="*/ 815668 h 815668"/>
              <a:gd name="connsiteX13" fmla="*/ 1397247 w 1530922"/>
              <a:gd name="connsiteY13" fmla="*/ 787293 h 815668"/>
              <a:gd name="connsiteX14" fmla="*/ 1397247 w 1530922"/>
              <a:gd name="connsiteY14" fmla="*/ 787293 h 8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922" h="815668">
                <a:moveTo>
                  <a:pt x="1397247" y="787293"/>
                </a:moveTo>
                <a:cubicBezTo>
                  <a:pt x="1087125" y="398517"/>
                  <a:pt x="610502" y="149920"/>
                  <a:pt x="74989" y="149920"/>
                </a:cubicBezTo>
                <a:lnTo>
                  <a:pt x="74989" y="149920"/>
                </a:lnTo>
                <a:cubicBezTo>
                  <a:pt x="33470" y="149920"/>
                  <a:pt x="0" y="116464"/>
                  <a:pt x="0" y="74960"/>
                </a:cubicBezTo>
                <a:lnTo>
                  <a:pt x="0" y="74960"/>
                </a:lnTo>
                <a:cubicBezTo>
                  <a:pt x="0" y="33457"/>
                  <a:pt x="33470" y="0"/>
                  <a:pt x="74989" y="0"/>
                </a:cubicBezTo>
                <a:lnTo>
                  <a:pt x="74989" y="0"/>
                </a:lnTo>
                <a:cubicBezTo>
                  <a:pt x="657528" y="0"/>
                  <a:pt x="1177789" y="271042"/>
                  <a:pt x="1514603" y="693699"/>
                </a:cubicBezTo>
                <a:lnTo>
                  <a:pt x="1514603" y="693699"/>
                </a:lnTo>
                <a:cubicBezTo>
                  <a:pt x="1540446" y="725885"/>
                  <a:pt x="1534939" y="773318"/>
                  <a:pt x="1502740" y="799151"/>
                </a:cubicBezTo>
                <a:lnTo>
                  <a:pt x="1502740" y="799151"/>
                </a:lnTo>
                <a:cubicBezTo>
                  <a:pt x="1488759" y="810162"/>
                  <a:pt x="1472236" y="815668"/>
                  <a:pt x="1456137" y="815668"/>
                </a:cubicBezTo>
                <a:lnTo>
                  <a:pt x="1456137" y="815668"/>
                </a:lnTo>
                <a:cubicBezTo>
                  <a:pt x="1433683" y="815245"/>
                  <a:pt x="1412076" y="805504"/>
                  <a:pt x="1397247" y="787293"/>
                </a:cubicBezTo>
                <a:lnTo>
                  <a:pt x="1397247" y="787293"/>
                </a:lnTo>
                <a:close/>
              </a:path>
            </a:pathLst>
          </a:custGeom>
          <a:solidFill>
            <a:srgbClr val="7F1C58"/>
          </a:solidFill>
          <a:ln w="4233" cap="flat">
            <a:noFill/>
            <a:prstDash val="solid"/>
            <a:miter/>
          </a:ln>
        </p:spPr>
        <p:txBody>
          <a:bodyPr rtlCol="0" anchor="ctr"/>
          <a:lstStyle/>
          <a:p>
            <a:pPr algn="l" rtl="0"/>
            <a:endParaRPr lang="en-US"/>
          </a:p>
        </p:txBody>
      </p:sp>
      <p:grpSp>
        <p:nvGrpSpPr>
          <p:cNvPr id="254" name="Graphic 8">
            <a:extLst>
              <a:ext uri="{FF2B5EF4-FFF2-40B4-BE49-F238E27FC236}">
                <a16:creationId xmlns:a16="http://schemas.microsoft.com/office/drawing/2014/main" id="{15A5C673-CC86-BF23-26C5-EFD07711BD2D}"/>
              </a:ext>
            </a:extLst>
          </p:cNvPr>
          <p:cNvGrpSpPr/>
          <p:nvPr/>
        </p:nvGrpSpPr>
        <p:grpSpPr>
          <a:xfrm>
            <a:off x="5080199" y="4931062"/>
            <a:ext cx="1446392" cy="1445841"/>
            <a:chOff x="4817897" y="694433"/>
            <a:chExt cx="1446392" cy="1445841"/>
          </a:xfrm>
        </p:grpSpPr>
        <p:sp>
          <p:nvSpPr>
            <p:cNvPr id="255" name="Freeform 254">
              <a:extLst>
                <a:ext uri="{FF2B5EF4-FFF2-40B4-BE49-F238E27FC236}">
                  <a16:creationId xmlns:a16="http://schemas.microsoft.com/office/drawing/2014/main" id="{EDE01515-A71E-91F7-2E9C-CE2C377F3CD4}"/>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B41F7A"/>
            </a:solidFill>
            <a:ln w="4233" cap="flat">
              <a:noFill/>
              <a:prstDash val="solid"/>
              <a:miter/>
            </a:ln>
          </p:spPr>
          <p:txBody>
            <a:bodyPr rtlCol="0" anchor="ctr"/>
            <a:lstStyle/>
            <a:p>
              <a:pPr algn="l" rtl="0"/>
              <a:endParaRPr lang="en-US" dirty="0"/>
            </a:p>
          </p:txBody>
        </p:sp>
        <p:sp>
          <p:nvSpPr>
            <p:cNvPr id="256" name="Freeform 255">
              <a:extLst>
                <a:ext uri="{FF2B5EF4-FFF2-40B4-BE49-F238E27FC236}">
                  <a16:creationId xmlns:a16="http://schemas.microsoft.com/office/drawing/2014/main" id="{3E7722AC-53AD-B2CE-CA51-C9E93822559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sp>
        <p:nvSpPr>
          <p:cNvPr id="259" name="Text Placeholder 2">
            <a:extLst>
              <a:ext uri="{FF2B5EF4-FFF2-40B4-BE49-F238E27FC236}">
                <a16:creationId xmlns:a16="http://schemas.microsoft.com/office/drawing/2014/main" id="{3C88786D-B5E6-9C48-4E9F-89AD1DCF6F50}"/>
              </a:ext>
            </a:extLst>
          </p:cNvPr>
          <p:cNvSpPr txBox="1">
            <a:spLocks/>
          </p:cNvSpPr>
          <p:nvPr/>
        </p:nvSpPr>
        <p:spPr>
          <a:xfrm>
            <a:off x="6544824" y="684576"/>
            <a:ext cx="5325446" cy="58222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80"/>
              </a:lnSpc>
              <a:spcBef>
                <a:spcPts val="0"/>
              </a:spcBef>
            </a:pPr>
            <a:r>
              <a:rPr lang="en-US" sz="2200" b="1" dirty="0">
                <a:solidFill>
                  <a:srgbClr val="7F1C58"/>
                </a:solidFill>
              </a:rPr>
              <a:t>Preparación</a:t>
            </a:r>
          </a:p>
          <a:p>
            <a:pPr algn="l" rtl="0">
              <a:lnSpc>
                <a:spcPts val="1980"/>
              </a:lnSpc>
              <a:spcBef>
                <a:spcPts val="0"/>
              </a:spcBef>
            </a:pPr>
            <a:r>
              <a:rPr lang="en-US" sz="1900" dirty="0">
                <a:solidFill>
                  <a:srgbClr val="616161"/>
                </a:solidFill>
              </a:rPr>
              <a:t>Preparar planes de crisis, enviar mensajes, etc. es la forma principal de asegurarse de estar listo para reaccionar ante una crisis mientras otros todavía están parados en las puertas.</a:t>
            </a:r>
          </a:p>
        </p:txBody>
      </p:sp>
      <p:sp>
        <p:nvSpPr>
          <p:cNvPr id="260" name="Text Placeholder 2">
            <a:extLst>
              <a:ext uri="{FF2B5EF4-FFF2-40B4-BE49-F238E27FC236}">
                <a16:creationId xmlns:a16="http://schemas.microsoft.com/office/drawing/2014/main" id="{0E20A38A-941B-7209-A315-1A990444A6D1}"/>
              </a:ext>
            </a:extLst>
          </p:cNvPr>
          <p:cNvSpPr>
            <a:spLocks noGrp="1"/>
          </p:cNvSpPr>
          <p:nvPr>
            <p:ph type="body" sz="quarter" idx="16"/>
          </p:nvPr>
        </p:nvSpPr>
        <p:spPr>
          <a:xfrm>
            <a:off x="7766823" y="2237770"/>
            <a:ext cx="3984914" cy="1157102"/>
          </a:xfrm>
        </p:spPr>
        <p:txBody>
          <a:bodyPr>
            <a:noAutofit/>
          </a:bodyPr>
          <a:lstStyle/>
          <a:p>
            <a:pPr algn="l" rtl="0">
              <a:lnSpc>
                <a:spcPts val="2280"/>
              </a:lnSpc>
              <a:spcBef>
                <a:spcPts val="0"/>
              </a:spcBef>
            </a:pPr>
            <a:r>
              <a:rPr lang="en-US" sz="2200" b="1" dirty="0">
                <a:solidFill>
                  <a:srgbClr val="F16924"/>
                </a:solidFill>
              </a:rPr>
              <a:t>Comunicación:</a:t>
            </a:r>
          </a:p>
          <a:p>
            <a:pPr algn="l" rtl="0">
              <a:lnSpc>
                <a:spcPts val="1980"/>
              </a:lnSpc>
              <a:spcBef>
                <a:spcPts val="0"/>
              </a:spcBef>
            </a:pPr>
            <a:r>
              <a:rPr lang="en-US" sz="1900" dirty="0"/>
              <a:t>Tenga una sala de redacción en línea en un lugar muy visible. Llénalo con la información más reciente sobre tu</a:t>
            </a:r>
            <a:r>
              <a:rPr lang="en-US" sz="1900" dirty="0" err="1"/>
              <a:t>organización</a:t>
            </a:r>
            <a:r>
              <a:rPr lang="en-US" sz="1900" dirty="0"/>
              <a:t>y la crisis actual, para que los medios o las partes interesadas que buscan la información más reciente directamente de la fuente puedan encontrarla. Además, esté disponible para las partes interesadas y los medios de comunicación por igual.</a:t>
            </a:r>
          </a:p>
        </p:txBody>
      </p:sp>
      <p:sp>
        <p:nvSpPr>
          <p:cNvPr id="261" name="Text Placeholder 2">
            <a:extLst>
              <a:ext uri="{FF2B5EF4-FFF2-40B4-BE49-F238E27FC236}">
                <a16:creationId xmlns:a16="http://schemas.microsoft.com/office/drawing/2014/main" id="{39F7FFF2-3249-5EA0-933F-5934F974780D}"/>
              </a:ext>
            </a:extLst>
          </p:cNvPr>
          <p:cNvSpPr txBox="1">
            <a:spLocks/>
          </p:cNvSpPr>
          <p:nvPr/>
        </p:nvSpPr>
        <p:spPr>
          <a:xfrm>
            <a:off x="6683609" y="5046142"/>
            <a:ext cx="5325446" cy="989804"/>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80"/>
              </a:lnSpc>
              <a:spcBef>
                <a:spcPts val="0"/>
              </a:spcBef>
            </a:pPr>
            <a:r>
              <a:rPr lang="en-US" sz="2200" b="1" dirty="0">
                <a:solidFill>
                  <a:srgbClr val="B41F7A"/>
                </a:solidFill>
              </a:rPr>
              <a:t>Relaciones:</a:t>
            </a:r>
          </a:p>
          <a:p>
            <a:pPr algn="l" rtl="0">
              <a:lnSpc>
                <a:spcPts val="1980"/>
              </a:lnSpc>
              <a:spcBef>
                <a:spcPts val="0"/>
              </a:spcBef>
            </a:pPr>
            <a:r>
              <a:rPr lang="en-US" sz="1900" dirty="0">
                <a:solidFill>
                  <a:srgbClr val="616161"/>
                </a:solidFill>
              </a:rPr>
              <a:t>El auge de los informes electrónicos a través de las redes sociales ha hecho que sea aún más importante construir relaciones sólidas con las personas que cubren su industria, ya sea un reportero acreditado o simplemente un bloguero.</a:t>
            </a:r>
          </a:p>
        </p:txBody>
      </p:sp>
      <p:cxnSp>
        <p:nvCxnSpPr>
          <p:cNvPr id="335" name="Straight Connector 334">
            <a:extLst>
              <a:ext uri="{FF2B5EF4-FFF2-40B4-BE49-F238E27FC236}">
                <a16:creationId xmlns:a16="http://schemas.microsoft.com/office/drawing/2014/main" id="{14E612F2-A778-E5F3-FFC9-2F95B5D8B4CC}"/>
              </a:ext>
            </a:extLst>
          </p:cNvPr>
          <p:cNvCxnSpPr>
            <a:cxnSpLocks/>
          </p:cNvCxnSpPr>
          <p:nvPr/>
        </p:nvCxnSpPr>
        <p:spPr>
          <a:xfrm>
            <a:off x="4652649" y="4927601"/>
            <a:ext cx="524937" cy="423041"/>
          </a:xfrm>
          <a:prstGeom prst="line">
            <a:avLst/>
          </a:prstGeom>
          <a:ln w="3810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656E9FF6-AEC7-3AFB-A299-C2A8E7C89D3F}"/>
              </a:ext>
            </a:extLst>
          </p:cNvPr>
          <p:cNvCxnSpPr>
            <a:cxnSpLocks/>
          </p:cNvCxnSpPr>
          <p:nvPr/>
        </p:nvCxnSpPr>
        <p:spPr>
          <a:xfrm flipV="1">
            <a:off x="4452694" y="1470253"/>
            <a:ext cx="524937" cy="423041"/>
          </a:xfrm>
          <a:prstGeom prst="line">
            <a:avLst/>
          </a:prstGeom>
          <a:ln w="3810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CAD7B213-842D-81D5-4F18-438705378ED2}"/>
              </a:ext>
            </a:extLst>
          </p:cNvPr>
          <p:cNvCxnSpPr>
            <a:cxnSpLocks/>
          </p:cNvCxnSpPr>
          <p:nvPr/>
        </p:nvCxnSpPr>
        <p:spPr>
          <a:xfrm>
            <a:off x="5439727" y="3504803"/>
            <a:ext cx="817902" cy="6663"/>
          </a:xfrm>
          <a:prstGeom prst="line">
            <a:avLst/>
          </a:prstGeom>
          <a:ln w="38100">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aphic 8">
            <a:extLst>
              <a:ext uri="{FF2B5EF4-FFF2-40B4-BE49-F238E27FC236}">
                <a16:creationId xmlns:a16="http://schemas.microsoft.com/office/drawing/2014/main" id="{B1DB0B7C-5E3E-41EE-9E2C-C798739EE1F5}"/>
              </a:ext>
            </a:extLst>
          </p:cNvPr>
          <p:cNvGrpSpPr/>
          <p:nvPr/>
        </p:nvGrpSpPr>
        <p:grpSpPr>
          <a:xfrm>
            <a:off x="4941333" y="617090"/>
            <a:ext cx="1446392" cy="1445841"/>
            <a:chOff x="4817897" y="694433"/>
            <a:chExt cx="1446392" cy="1445841"/>
          </a:xfrm>
        </p:grpSpPr>
        <p:sp>
          <p:nvSpPr>
            <p:cNvPr id="29" name="Freeform 28">
              <a:extLst>
                <a:ext uri="{FF2B5EF4-FFF2-40B4-BE49-F238E27FC236}">
                  <a16:creationId xmlns:a16="http://schemas.microsoft.com/office/drawing/2014/main" id="{6FD45C50-AA3B-2AE0-0939-79F447E1C2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7F1C58"/>
            </a:solidFill>
            <a:ln w="4233" cap="flat">
              <a:noFill/>
              <a:prstDash val="solid"/>
              <a:miter/>
            </a:ln>
          </p:spPr>
          <p:txBody>
            <a:bodyPr rtlCol="0" anchor="ctr"/>
            <a:lstStyle/>
            <a:p>
              <a:pPr algn="l" rtl="0"/>
              <a:endParaRPr lang="en-US" dirty="0"/>
            </a:p>
          </p:txBody>
        </p:sp>
        <p:sp>
          <p:nvSpPr>
            <p:cNvPr id="31" name="Freeform 30">
              <a:extLst>
                <a:ext uri="{FF2B5EF4-FFF2-40B4-BE49-F238E27FC236}">
                  <a16:creationId xmlns:a16="http://schemas.microsoft.com/office/drawing/2014/main" id="{617AAFC6-56B6-4B98-E312-889FB5D38EF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grpSp>
        <p:nvGrpSpPr>
          <p:cNvPr id="44" name="Graphic 8">
            <a:extLst>
              <a:ext uri="{FF2B5EF4-FFF2-40B4-BE49-F238E27FC236}">
                <a16:creationId xmlns:a16="http://schemas.microsoft.com/office/drawing/2014/main" id="{954290D9-C016-AB69-8CEA-1CC7DEC411BA}"/>
              </a:ext>
            </a:extLst>
          </p:cNvPr>
          <p:cNvGrpSpPr/>
          <p:nvPr/>
        </p:nvGrpSpPr>
        <p:grpSpPr>
          <a:xfrm>
            <a:off x="6133471" y="2786512"/>
            <a:ext cx="1446392" cy="1445841"/>
            <a:chOff x="4817897" y="694433"/>
            <a:chExt cx="1446392" cy="1445841"/>
          </a:xfrm>
        </p:grpSpPr>
        <p:sp>
          <p:nvSpPr>
            <p:cNvPr id="45" name="Freeform 44">
              <a:extLst>
                <a:ext uri="{FF2B5EF4-FFF2-40B4-BE49-F238E27FC236}">
                  <a16:creationId xmlns:a16="http://schemas.microsoft.com/office/drawing/2014/main" id="{AD477DA9-46AE-4101-5058-889F232163C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46" name="Freeform 45">
              <a:extLst>
                <a:ext uri="{FF2B5EF4-FFF2-40B4-BE49-F238E27FC236}">
                  <a16:creationId xmlns:a16="http://schemas.microsoft.com/office/drawing/2014/main" id="{22A0AC7A-6A24-ADC9-FEFF-3F1DB7A7C82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grpSp>
        <p:nvGrpSpPr>
          <p:cNvPr id="9" name="Graphic 3">
            <a:extLst>
              <a:ext uri="{FF2B5EF4-FFF2-40B4-BE49-F238E27FC236}">
                <a16:creationId xmlns:a16="http://schemas.microsoft.com/office/drawing/2014/main" id="{D91E1096-AA58-C1AF-1957-FA058CEC1383}"/>
              </a:ext>
            </a:extLst>
          </p:cNvPr>
          <p:cNvGrpSpPr/>
          <p:nvPr/>
        </p:nvGrpSpPr>
        <p:grpSpPr>
          <a:xfrm>
            <a:off x="5344334" y="927411"/>
            <a:ext cx="707330" cy="798180"/>
            <a:chOff x="4643578" y="432838"/>
            <a:chExt cx="1028134" cy="1160188"/>
          </a:xfrm>
          <a:solidFill>
            <a:srgbClr val="616161"/>
          </a:solidFill>
        </p:grpSpPr>
        <p:sp>
          <p:nvSpPr>
            <p:cNvPr id="10" name="Freeform 9">
              <a:extLst>
                <a:ext uri="{FF2B5EF4-FFF2-40B4-BE49-F238E27FC236}">
                  <a16:creationId xmlns:a16="http://schemas.microsoft.com/office/drawing/2014/main" id="{473F6C7C-2F6F-1F3A-5196-5583CD95FE7D}"/>
                </a:ext>
              </a:extLst>
            </p:cNvPr>
            <p:cNvSpPr/>
            <p:nvPr/>
          </p:nvSpPr>
          <p:spPr>
            <a:xfrm>
              <a:off x="5046765" y="465751"/>
              <a:ext cx="419643" cy="433356"/>
            </a:xfrm>
            <a:custGeom>
              <a:avLst/>
              <a:gdLst>
                <a:gd name="connsiteX0" fmla="*/ 416901 w 419643"/>
                <a:gd name="connsiteY0" fmla="*/ 257819 h 433356"/>
                <a:gd name="connsiteX1" fmla="*/ 416901 w 419643"/>
                <a:gd name="connsiteY1" fmla="*/ 433356 h 433356"/>
                <a:gd name="connsiteX2" fmla="*/ 35656 w 419643"/>
                <a:gd name="connsiteY2" fmla="*/ 433356 h 433356"/>
                <a:gd name="connsiteX3" fmla="*/ 35656 w 419643"/>
                <a:gd name="connsiteY3" fmla="*/ 301704 h 433356"/>
                <a:gd name="connsiteX4" fmla="*/ 0 w 419643"/>
                <a:gd name="connsiteY4" fmla="*/ 164566 h 433356"/>
                <a:gd name="connsiteX5" fmla="*/ 0 w 419643"/>
                <a:gd name="connsiteY5" fmla="*/ 24685 h 433356"/>
                <a:gd name="connsiteX6" fmla="*/ 24686 w 419643"/>
                <a:gd name="connsiteY6" fmla="*/ 0 h 433356"/>
                <a:gd name="connsiteX7" fmla="*/ 287991 w 419643"/>
                <a:gd name="connsiteY7" fmla="*/ 0 h 433356"/>
                <a:gd name="connsiteX8" fmla="*/ 287991 w 419643"/>
                <a:gd name="connsiteY8" fmla="*/ 71312 h 433356"/>
                <a:gd name="connsiteX9" fmla="*/ 345588 w 419643"/>
                <a:gd name="connsiteY9" fmla="*/ 128910 h 433356"/>
                <a:gd name="connsiteX10" fmla="*/ 416901 w 419643"/>
                <a:gd name="connsiteY10" fmla="*/ 128910 h 433356"/>
                <a:gd name="connsiteX11" fmla="*/ 416901 w 419643"/>
                <a:gd name="connsiteY11" fmla="*/ 178280 h 433356"/>
                <a:gd name="connsiteX12" fmla="*/ 419643 w 419643"/>
                <a:gd name="connsiteY12" fmla="*/ 189250 h 43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643" h="433356">
                  <a:moveTo>
                    <a:pt x="416901" y="257819"/>
                  </a:moveTo>
                  <a:lnTo>
                    <a:pt x="416901" y="433356"/>
                  </a:lnTo>
                  <a:cubicBezTo>
                    <a:pt x="381245" y="433356"/>
                    <a:pt x="74055" y="433356"/>
                    <a:pt x="35656" y="433356"/>
                  </a:cubicBezTo>
                  <a:lnTo>
                    <a:pt x="35656" y="301704"/>
                  </a:lnTo>
                  <a:cubicBezTo>
                    <a:pt x="35656" y="227649"/>
                    <a:pt x="5486" y="181022"/>
                    <a:pt x="0" y="164566"/>
                  </a:cubicBezTo>
                  <a:lnTo>
                    <a:pt x="0" y="24685"/>
                  </a:lnTo>
                  <a:cubicBezTo>
                    <a:pt x="0" y="10971"/>
                    <a:pt x="10972" y="0"/>
                    <a:pt x="24686" y="0"/>
                  </a:cubicBezTo>
                  <a:lnTo>
                    <a:pt x="287991" y="0"/>
                  </a:lnTo>
                  <a:lnTo>
                    <a:pt x="287991" y="71312"/>
                  </a:lnTo>
                  <a:cubicBezTo>
                    <a:pt x="287991" y="104225"/>
                    <a:pt x="315418" y="128910"/>
                    <a:pt x="345588" y="128910"/>
                  </a:cubicBezTo>
                  <a:lnTo>
                    <a:pt x="416901" y="128910"/>
                  </a:lnTo>
                  <a:lnTo>
                    <a:pt x="416901" y="178280"/>
                  </a:lnTo>
                  <a:cubicBezTo>
                    <a:pt x="416901" y="181022"/>
                    <a:pt x="416901" y="186508"/>
                    <a:pt x="419643" y="189250"/>
                  </a:cubicBezTo>
                </a:path>
              </a:pathLst>
            </a:custGeom>
            <a:solidFill>
              <a:srgbClr val="7F1C58"/>
            </a:solidFill>
            <a:ln w="27426" cap="flat">
              <a:noFill/>
              <a:prstDash val="solid"/>
              <a:miter/>
            </a:ln>
          </p:spPr>
          <p:txBody>
            <a:bodyPr rtlCol="0" anchor="ctr"/>
            <a:lstStyle/>
            <a:p>
              <a:pPr algn="l" rtl="0"/>
              <a:endParaRPr lang="en-US" dirty="0"/>
            </a:p>
          </p:txBody>
        </p:sp>
        <p:grpSp>
          <p:nvGrpSpPr>
            <p:cNvPr id="11" name="Graphic 3">
              <a:extLst>
                <a:ext uri="{FF2B5EF4-FFF2-40B4-BE49-F238E27FC236}">
                  <a16:creationId xmlns:a16="http://schemas.microsoft.com/office/drawing/2014/main" id="{32E2E769-314A-7B21-9AF7-36AE2EE65BD2}"/>
                </a:ext>
              </a:extLst>
            </p:cNvPr>
            <p:cNvGrpSpPr/>
            <p:nvPr/>
          </p:nvGrpSpPr>
          <p:grpSpPr>
            <a:xfrm>
              <a:off x="4643578" y="432838"/>
              <a:ext cx="1028134" cy="1160188"/>
              <a:chOff x="4643578" y="432838"/>
              <a:chExt cx="1028134" cy="1160188"/>
            </a:xfrm>
            <a:grpFill/>
          </p:grpSpPr>
          <p:sp>
            <p:nvSpPr>
              <p:cNvPr id="12" name="Freeform 11">
                <a:extLst>
                  <a:ext uri="{FF2B5EF4-FFF2-40B4-BE49-F238E27FC236}">
                    <a16:creationId xmlns:a16="http://schemas.microsoft.com/office/drawing/2014/main" id="{205FACEB-E397-E2D8-00FC-B37E3FDB77DE}"/>
                  </a:ext>
                </a:extLst>
              </p:cNvPr>
              <p:cNvSpPr/>
              <p:nvPr/>
            </p:nvSpPr>
            <p:spPr>
              <a:xfrm>
                <a:off x="5115334" y="53157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pPr algn="l" rtl="0"/>
                <a:endParaRPr lang="en-US"/>
              </a:p>
            </p:txBody>
          </p:sp>
          <p:grpSp>
            <p:nvGrpSpPr>
              <p:cNvPr id="13" name="Graphic 3">
                <a:extLst>
                  <a:ext uri="{FF2B5EF4-FFF2-40B4-BE49-F238E27FC236}">
                    <a16:creationId xmlns:a16="http://schemas.microsoft.com/office/drawing/2014/main" id="{35DB5946-F7B2-89FD-C860-B5902B82DF76}"/>
                  </a:ext>
                </a:extLst>
              </p:cNvPr>
              <p:cNvGrpSpPr/>
              <p:nvPr/>
            </p:nvGrpSpPr>
            <p:grpSpPr>
              <a:xfrm>
                <a:off x="4643578" y="432838"/>
                <a:ext cx="1028134" cy="1160188"/>
                <a:chOff x="4643578" y="432838"/>
                <a:chExt cx="1028134" cy="1160188"/>
              </a:xfrm>
              <a:grpFill/>
            </p:grpSpPr>
            <p:sp>
              <p:nvSpPr>
                <p:cNvPr id="14" name="Freeform 13">
                  <a:extLst>
                    <a:ext uri="{FF2B5EF4-FFF2-40B4-BE49-F238E27FC236}">
                      <a16:creationId xmlns:a16="http://schemas.microsoft.com/office/drawing/2014/main" id="{FA2E7CC8-D43C-C43C-40EA-FF32D92C4A35}"/>
                    </a:ext>
                  </a:extLst>
                </p:cNvPr>
                <p:cNvSpPr/>
                <p:nvPr/>
              </p:nvSpPr>
              <p:spPr>
                <a:xfrm>
                  <a:off x="5115334" y="61111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pPr algn="l" rtl="0"/>
                  <a:endParaRPr lang="en-US"/>
                </a:p>
              </p:txBody>
            </p:sp>
            <p:sp>
              <p:nvSpPr>
                <p:cNvPr id="15" name="Freeform 14">
                  <a:extLst>
                    <a:ext uri="{FF2B5EF4-FFF2-40B4-BE49-F238E27FC236}">
                      <a16:creationId xmlns:a16="http://schemas.microsoft.com/office/drawing/2014/main" id="{9543D6FD-9F37-8A3D-174E-E98069FE3077}"/>
                    </a:ext>
                  </a:extLst>
                </p:cNvPr>
                <p:cNvSpPr/>
                <p:nvPr/>
              </p:nvSpPr>
              <p:spPr>
                <a:xfrm>
                  <a:off x="4643578" y="432838"/>
                  <a:ext cx="1028134" cy="1160188"/>
                </a:xfrm>
                <a:custGeom>
                  <a:avLst/>
                  <a:gdLst>
                    <a:gd name="connsiteX0" fmla="*/ 1017568 w 1028134"/>
                    <a:gd name="connsiteY0" fmla="*/ 661006 h 1160188"/>
                    <a:gd name="connsiteX1" fmla="*/ 935285 w 1028134"/>
                    <a:gd name="connsiteY1" fmla="*/ 515639 h 1160188"/>
                    <a:gd name="connsiteX2" fmla="*/ 935285 w 1028134"/>
                    <a:gd name="connsiteY2" fmla="*/ 515639 h 1160188"/>
                    <a:gd name="connsiteX3" fmla="*/ 880429 w 1028134"/>
                    <a:gd name="connsiteY3" fmla="*/ 469012 h 1160188"/>
                    <a:gd name="connsiteX4" fmla="*/ 855744 w 1028134"/>
                    <a:gd name="connsiteY4" fmla="*/ 469012 h 1160188"/>
                    <a:gd name="connsiteX5" fmla="*/ 855744 w 1028134"/>
                    <a:gd name="connsiteY5" fmla="*/ 293476 h 1160188"/>
                    <a:gd name="connsiteX6" fmla="*/ 839288 w 1028134"/>
                    <a:gd name="connsiteY6" fmla="*/ 277019 h 1160188"/>
                    <a:gd name="connsiteX7" fmla="*/ 822830 w 1028134"/>
                    <a:gd name="connsiteY7" fmla="*/ 293476 h 1160188"/>
                    <a:gd name="connsiteX8" fmla="*/ 822830 w 1028134"/>
                    <a:gd name="connsiteY8" fmla="*/ 469012 h 1160188"/>
                    <a:gd name="connsiteX9" fmla="*/ 441587 w 1028134"/>
                    <a:gd name="connsiteY9" fmla="*/ 469012 h 1160188"/>
                    <a:gd name="connsiteX10" fmla="*/ 441587 w 1028134"/>
                    <a:gd name="connsiteY10" fmla="*/ 337360 h 1160188"/>
                    <a:gd name="connsiteX11" fmla="*/ 405929 w 1028134"/>
                    <a:gd name="connsiteY11" fmla="*/ 200222 h 1160188"/>
                    <a:gd name="connsiteX12" fmla="*/ 405929 w 1028134"/>
                    <a:gd name="connsiteY12" fmla="*/ 60341 h 1160188"/>
                    <a:gd name="connsiteX13" fmla="*/ 430615 w 1028134"/>
                    <a:gd name="connsiteY13" fmla="*/ 35656 h 1160188"/>
                    <a:gd name="connsiteX14" fmla="*/ 693920 w 1028134"/>
                    <a:gd name="connsiteY14" fmla="*/ 35656 h 1160188"/>
                    <a:gd name="connsiteX15" fmla="*/ 693920 w 1028134"/>
                    <a:gd name="connsiteY15" fmla="*/ 106968 h 1160188"/>
                    <a:gd name="connsiteX16" fmla="*/ 751519 w 1028134"/>
                    <a:gd name="connsiteY16" fmla="*/ 164566 h 1160188"/>
                    <a:gd name="connsiteX17" fmla="*/ 822830 w 1028134"/>
                    <a:gd name="connsiteY17" fmla="*/ 164566 h 1160188"/>
                    <a:gd name="connsiteX18" fmla="*/ 822830 w 1028134"/>
                    <a:gd name="connsiteY18" fmla="*/ 213936 h 1160188"/>
                    <a:gd name="connsiteX19" fmla="*/ 839288 w 1028134"/>
                    <a:gd name="connsiteY19" fmla="*/ 230392 h 1160188"/>
                    <a:gd name="connsiteX20" fmla="*/ 855744 w 1028134"/>
                    <a:gd name="connsiteY20" fmla="*/ 213936 h 1160188"/>
                    <a:gd name="connsiteX21" fmla="*/ 855744 w 1028134"/>
                    <a:gd name="connsiteY21" fmla="*/ 159080 h 1160188"/>
                    <a:gd name="connsiteX22" fmla="*/ 842030 w 1028134"/>
                    <a:gd name="connsiteY22" fmla="*/ 128910 h 1160188"/>
                    <a:gd name="connsiteX23" fmla="*/ 726833 w 1028134"/>
                    <a:gd name="connsiteY23" fmla="*/ 13714 h 1160188"/>
                    <a:gd name="connsiteX24" fmla="*/ 696664 w 1028134"/>
                    <a:gd name="connsiteY24" fmla="*/ 0 h 1160188"/>
                    <a:gd name="connsiteX25" fmla="*/ 430615 w 1028134"/>
                    <a:gd name="connsiteY25" fmla="*/ 0 h 1160188"/>
                    <a:gd name="connsiteX26" fmla="*/ 373017 w 1028134"/>
                    <a:gd name="connsiteY26" fmla="*/ 57598 h 1160188"/>
                    <a:gd name="connsiteX27" fmla="*/ 373017 w 1028134"/>
                    <a:gd name="connsiteY27" fmla="*/ 120682 h 1160188"/>
                    <a:gd name="connsiteX28" fmla="*/ 329132 w 1028134"/>
                    <a:gd name="connsiteY28" fmla="*/ 24685 h 1160188"/>
                    <a:gd name="connsiteX29" fmla="*/ 255077 w 1028134"/>
                    <a:gd name="connsiteY29" fmla="*/ 24685 h 1160188"/>
                    <a:gd name="connsiteX30" fmla="*/ 200222 w 1028134"/>
                    <a:gd name="connsiteY30" fmla="*/ 145366 h 1160188"/>
                    <a:gd name="connsiteX31" fmla="*/ 200222 w 1028134"/>
                    <a:gd name="connsiteY31" fmla="*/ 145366 h 1160188"/>
                    <a:gd name="connsiteX32" fmla="*/ 142624 w 1028134"/>
                    <a:gd name="connsiteY32" fmla="*/ 334617 h 1160188"/>
                    <a:gd name="connsiteX33" fmla="*/ 142624 w 1028134"/>
                    <a:gd name="connsiteY33" fmla="*/ 466270 h 1160188"/>
                    <a:gd name="connsiteX34" fmla="*/ 57599 w 1028134"/>
                    <a:gd name="connsiteY34" fmla="*/ 466270 h 1160188"/>
                    <a:gd name="connsiteX35" fmla="*/ 2744 w 1028134"/>
                    <a:gd name="connsiteY35" fmla="*/ 512897 h 1160188"/>
                    <a:gd name="connsiteX36" fmla="*/ 0 w 1028134"/>
                    <a:gd name="connsiteY36" fmla="*/ 554038 h 1160188"/>
                    <a:gd name="connsiteX37" fmla="*/ 85027 w 1028134"/>
                    <a:gd name="connsiteY37" fmla="*/ 877684 h 1160188"/>
                    <a:gd name="connsiteX38" fmla="*/ 85027 w 1028134"/>
                    <a:gd name="connsiteY38" fmla="*/ 1044992 h 1160188"/>
                    <a:gd name="connsiteX39" fmla="*/ 41142 w 1028134"/>
                    <a:gd name="connsiteY39" fmla="*/ 1102591 h 1160188"/>
                    <a:gd name="connsiteX40" fmla="*/ 98741 w 1028134"/>
                    <a:gd name="connsiteY40" fmla="*/ 1160189 h 1160188"/>
                    <a:gd name="connsiteX41" fmla="*/ 693920 w 1028134"/>
                    <a:gd name="connsiteY41" fmla="*/ 1160189 h 1160188"/>
                    <a:gd name="connsiteX42" fmla="*/ 751519 w 1028134"/>
                    <a:gd name="connsiteY42" fmla="*/ 1102591 h 1160188"/>
                    <a:gd name="connsiteX43" fmla="*/ 707634 w 1028134"/>
                    <a:gd name="connsiteY43" fmla="*/ 1044992 h 1160188"/>
                    <a:gd name="connsiteX44" fmla="*/ 707634 w 1028134"/>
                    <a:gd name="connsiteY44" fmla="*/ 998366 h 1160188"/>
                    <a:gd name="connsiteX45" fmla="*/ 729577 w 1028134"/>
                    <a:gd name="connsiteY45" fmla="*/ 979166 h 1160188"/>
                    <a:gd name="connsiteX46" fmla="*/ 844772 w 1028134"/>
                    <a:gd name="connsiteY46" fmla="*/ 987394 h 1160188"/>
                    <a:gd name="connsiteX47" fmla="*/ 935285 w 1028134"/>
                    <a:gd name="connsiteY47" fmla="*/ 905112 h 1160188"/>
                    <a:gd name="connsiteX48" fmla="*/ 935285 w 1028134"/>
                    <a:gd name="connsiteY48" fmla="*/ 789916 h 1160188"/>
                    <a:gd name="connsiteX49" fmla="*/ 951741 w 1028134"/>
                    <a:gd name="connsiteY49" fmla="*/ 765231 h 1160188"/>
                    <a:gd name="connsiteX50" fmla="*/ 990140 w 1028134"/>
                    <a:gd name="connsiteY50" fmla="*/ 751517 h 1160188"/>
                    <a:gd name="connsiteX51" fmla="*/ 1017568 w 1028134"/>
                    <a:gd name="connsiteY51" fmla="*/ 661006 h 1160188"/>
                    <a:gd name="connsiteX52" fmla="*/ 1017568 w 1028134"/>
                    <a:gd name="connsiteY52" fmla="*/ 661006 h 1160188"/>
                    <a:gd name="connsiteX53" fmla="*/ 798146 w 1028134"/>
                    <a:gd name="connsiteY53" fmla="*/ 131653 h 1160188"/>
                    <a:gd name="connsiteX54" fmla="*/ 748775 w 1028134"/>
                    <a:gd name="connsiteY54" fmla="*/ 131653 h 1160188"/>
                    <a:gd name="connsiteX55" fmla="*/ 724091 w 1028134"/>
                    <a:gd name="connsiteY55" fmla="*/ 106968 h 1160188"/>
                    <a:gd name="connsiteX56" fmla="*/ 724091 w 1028134"/>
                    <a:gd name="connsiteY56" fmla="*/ 57598 h 1160188"/>
                    <a:gd name="connsiteX57" fmla="*/ 798146 w 1028134"/>
                    <a:gd name="connsiteY57" fmla="*/ 131653 h 1160188"/>
                    <a:gd name="connsiteX58" fmla="*/ 285248 w 1028134"/>
                    <a:gd name="connsiteY58" fmla="*/ 38399 h 1160188"/>
                    <a:gd name="connsiteX59" fmla="*/ 298962 w 1028134"/>
                    <a:gd name="connsiteY59" fmla="*/ 38399 h 1160188"/>
                    <a:gd name="connsiteX60" fmla="*/ 342846 w 1028134"/>
                    <a:gd name="connsiteY60" fmla="*/ 137138 h 1160188"/>
                    <a:gd name="connsiteX61" fmla="*/ 244107 w 1028134"/>
                    <a:gd name="connsiteY61" fmla="*/ 137138 h 1160188"/>
                    <a:gd name="connsiteX62" fmla="*/ 285248 w 1028134"/>
                    <a:gd name="connsiteY62" fmla="*/ 38399 h 1160188"/>
                    <a:gd name="connsiteX63" fmla="*/ 224907 w 1028134"/>
                    <a:gd name="connsiteY63" fmla="*/ 170051 h 1160188"/>
                    <a:gd name="connsiteX64" fmla="*/ 353818 w 1028134"/>
                    <a:gd name="connsiteY64" fmla="*/ 170051 h 1160188"/>
                    <a:gd name="connsiteX65" fmla="*/ 400445 w 1028134"/>
                    <a:gd name="connsiteY65" fmla="*/ 287990 h 1160188"/>
                    <a:gd name="connsiteX66" fmla="*/ 178280 w 1028134"/>
                    <a:gd name="connsiteY66" fmla="*/ 287990 h 1160188"/>
                    <a:gd name="connsiteX67" fmla="*/ 224907 w 1028134"/>
                    <a:gd name="connsiteY67" fmla="*/ 170051 h 1160188"/>
                    <a:gd name="connsiteX68" fmla="*/ 224907 w 1028134"/>
                    <a:gd name="connsiteY68" fmla="*/ 170051 h 1160188"/>
                    <a:gd name="connsiteX69" fmla="*/ 175538 w 1028134"/>
                    <a:gd name="connsiteY69" fmla="*/ 337360 h 1160188"/>
                    <a:gd name="connsiteX70" fmla="*/ 175538 w 1028134"/>
                    <a:gd name="connsiteY70" fmla="*/ 323646 h 1160188"/>
                    <a:gd name="connsiteX71" fmla="*/ 405929 w 1028134"/>
                    <a:gd name="connsiteY71" fmla="*/ 323646 h 1160188"/>
                    <a:gd name="connsiteX72" fmla="*/ 405929 w 1028134"/>
                    <a:gd name="connsiteY72" fmla="*/ 337360 h 1160188"/>
                    <a:gd name="connsiteX73" fmla="*/ 405929 w 1028134"/>
                    <a:gd name="connsiteY73" fmla="*/ 469012 h 1160188"/>
                    <a:gd name="connsiteX74" fmla="*/ 172794 w 1028134"/>
                    <a:gd name="connsiteY74" fmla="*/ 469012 h 1160188"/>
                    <a:gd name="connsiteX75" fmla="*/ 172794 w 1028134"/>
                    <a:gd name="connsiteY75" fmla="*/ 337360 h 1160188"/>
                    <a:gd name="connsiteX76" fmla="*/ 74055 w 1028134"/>
                    <a:gd name="connsiteY76" fmla="*/ 1105333 h 1160188"/>
                    <a:gd name="connsiteX77" fmla="*/ 98741 w 1028134"/>
                    <a:gd name="connsiteY77" fmla="*/ 1080648 h 1160188"/>
                    <a:gd name="connsiteX78" fmla="*/ 145366 w 1028134"/>
                    <a:gd name="connsiteY78" fmla="*/ 1080648 h 1160188"/>
                    <a:gd name="connsiteX79" fmla="*/ 161824 w 1028134"/>
                    <a:gd name="connsiteY79" fmla="*/ 1064192 h 1160188"/>
                    <a:gd name="connsiteX80" fmla="*/ 145366 w 1028134"/>
                    <a:gd name="connsiteY80" fmla="*/ 1047735 h 1160188"/>
                    <a:gd name="connsiteX81" fmla="*/ 117939 w 1028134"/>
                    <a:gd name="connsiteY81" fmla="*/ 1047735 h 1160188"/>
                    <a:gd name="connsiteX82" fmla="*/ 117939 w 1028134"/>
                    <a:gd name="connsiteY82" fmla="*/ 883170 h 1160188"/>
                    <a:gd name="connsiteX83" fmla="*/ 32914 w 1028134"/>
                    <a:gd name="connsiteY83" fmla="*/ 559524 h 1160188"/>
                    <a:gd name="connsiteX84" fmla="*/ 35656 w 1028134"/>
                    <a:gd name="connsiteY84" fmla="*/ 523868 h 1160188"/>
                    <a:gd name="connsiteX85" fmla="*/ 54855 w 1028134"/>
                    <a:gd name="connsiteY85" fmla="*/ 507411 h 1160188"/>
                    <a:gd name="connsiteX86" fmla="*/ 611637 w 1028134"/>
                    <a:gd name="connsiteY86" fmla="*/ 507411 h 1160188"/>
                    <a:gd name="connsiteX87" fmla="*/ 614381 w 1028134"/>
                    <a:gd name="connsiteY87" fmla="*/ 526610 h 1160188"/>
                    <a:gd name="connsiteX88" fmla="*/ 704892 w 1028134"/>
                    <a:gd name="connsiteY88" fmla="*/ 688433 h 1160188"/>
                    <a:gd name="connsiteX89" fmla="*/ 693920 w 1028134"/>
                    <a:gd name="connsiteY89" fmla="*/ 726832 h 1160188"/>
                    <a:gd name="connsiteX90" fmla="*/ 655522 w 1028134"/>
                    <a:gd name="connsiteY90" fmla="*/ 740546 h 1160188"/>
                    <a:gd name="connsiteX91" fmla="*/ 617123 w 1028134"/>
                    <a:gd name="connsiteY91" fmla="*/ 795401 h 1160188"/>
                    <a:gd name="connsiteX92" fmla="*/ 617123 w 1028134"/>
                    <a:gd name="connsiteY92" fmla="*/ 910597 h 1160188"/>
                    <a:gd name="connsiteX93" fmla="*/ 562267 w 1028134"/>
                    <a:gd name="connsiteY93" fmla="*/ 959967 h 1160188"/>
                    <a:gd name="connsiteX94" fmla="*/ 447071 w 1028134"/>
                    <a:gd name="connsiteY94" fmla="*/ 951739 h 1160188"/>
                    <a:gd name="connsiteX95" fmla="*/ 389473 w 1028134"/>
                    <a:gd name="connsiteY95" fmla="*/ 1006594 h 1160188"/>
                    <a:gd name="connsiteX96" fmla="*/ 389473 w 1028134"/>
                    <a:gd name="connsiteY96" fmla="*/ 1050478 h 1160188"/>
                    <a:gd name="connsiteX97" fmla="*/ 224907 w 1028134"/>
                    <a:gd name="connsiteY97" fmla="*/ 1050478 h 1160188"/>
                    <a:gd name="connsiteX98" fmla="*/ 208451 w 1028134"/>
                    <a:gd name="connsiteY98" fmla="*/ 1066935 h 1160188"/>
                    <a:gd name="connsiteX99" fmla="*/ 224907 w 1028134"/>
                    <a:gd name="connsiteY99" fmla="*/ 1083391 h 1160188"/>
                    <a:gd name="connsiteX100" fmla="*/ 408673 w 1028134"/>
                    <a:gd name="connsiteY100" fmla="*/ 1083391 h 1160188"/>
                    <a:gd name="connsiteX101" fmla="*/ 433357 w 1028134"/>
                    <a:gd name="connsiteY101" fmla="*/ 1108076 h 1160188"/>
                    <a:gd name="connsiteX102" fmla="*/ 408673 w 1028134"/>
                    <a:gd name="connsiteY102" fmla="*/ 1132761 h 1160188"/>
                    <a:gd name="connsiteX103" fmla="*/ 98741 w 1028134"/>
                    <a:gd name="connsiteY103" fmla="*/ 1132761 h 1160188"/>
                    <a:gd name="connsiteX104" fmla="*/ 74055 w 1028134"/>
                    <a:gd name="connsiteY104" fmla="*/ 1105333 h 1160188"/>
                    <a:gd name="connsiteX105" fmla="*/ 74055 w 1028134"/>
                    <a:gd name="connsiteY105" fmla="*/ 1105333 h 1160188"/>
                    <a:gd name="connsiteX106" fmla="*/ 718605 w 1028134"/>
                    <a:gd name="connsiteY106" fmla="*/ 1105333 h 1160188"/>
                    <a:gd name="connsiteX107" fmla="*/ 693920 w 1028134"/>
                    <a:gd name="connsiteY107" fmla="*/ 1130018 h 1160188"/>
                    <a:gd name="connsiteX108" fmla="*/ 460785 w 1028134"/>
                    <a:gd name="connsiteY108" fmla="*/ 1130018 h 1160188"/>
                    <a:gd name="connsiteX109" fmla="*/ 466270 w 1028134"/>
                    <a:gd name="connsiteY109" fmla="*/ 1105333 h 1160188"/>
                    <a:gd name="connsiteX110" fmla="*/ 460785 w 1028134"/>
                    <a:gd name="connsiteY110" fmla="*/ 1080648 h 1160188"/>
                    <a:gd name="connsiteX111" fmla="*/ 693920 w 1028134"/>
                    <a:gd name="connsiteY111" fmla="*/ 1080648 h 1160188"/>
                    <a:gd name="connsiteX112" fmla="*/ 718605 w 1028134"/>
                    <a:gd name="connsiteY112" fmla="*/ 1105333 h 1160188"/>
                    <a:gd name="connsiteX113" fmla="*/ 718605 w 1028134"/>
                    <a:gd name="connsiteY113" fmla="*/ 1105333 h 1160188"/>
                    <a:gd name="connsiteX114" fmla="*/ 976426 w 1028134"/>
                    <a:gd name="connsiteY114" fmla="*/ 721347 h 1160188"/>
                    <a:gd name="connsiteX115" fmla="*/ 938027 w 1028134"/>
                    <a:gd name="connsiteY115" fmla="*/ 735060 h 1160188"/>
                    <a:gd name="connsiteX116" fmla="*/ 899627 w 1028134"/>
                    <a:gd name="connsiteY116" fmla="*/ 789916 h 1160188"/>
                    <a:gd name="connsiteX117" fmla="*/ 899627 w 1028134"/>
                    <a:gd name="connsiteY117" fmla="*/ 905112 h 1160188"/>
                    <a:gd name="connsiteX118" fmla="*/ 844772 w 1028134"/>
                    <a:gd name="connsiteY118" fmla="*/ 954481 h 1160188"/>
                    <a:gd name="connsiteX119" fmla="*/ 729577 w 1028134"/>
                    <a:gd name="connsiteY119" fmla="*/ 946253 h 1160188"/>
                    <a:gd name="connsiteX120" fmla="*/ 671978 w 1028134"/>
                    <a:gd name="connsiteY120" fmla="*/ 1001108 h 1160188"/>
                    <a:gd name="connsiteX121" fmla="*/ 671978 w 1028134"/>
                    <a:gd name="connsiteY121" fmla="*/ 1044992 h 1160188"/>
                    <a:gd name="connsiteX122" fmla="*/ 419643 w 1028134"/>
                    <a:gd name="connsiteY122" fmla="*/ 1044992 h 1160188"/>
                    <a:gd name="connsiteX123" fmla="*/ 419643 w 1028134"/>
                    <a:gd name="connsiteY123" fmla="*/ 1001108 h 1160188"/>
                    <a:gd name="connsiteX124" fmla="*/ 441587 w 1028134"/>
                    <a:gd name="connsiteY124" fmla="*/ 981909 h 1160188"/>
                    <a:gd name="connsiteX125" fmla="*/ 556781 w 1028134"/>
                    <a:gd name="connsiteY125" fmla="*/ 990137 h 1160188"/>
                    <a:gd name="connsiteX126" fmla="*/ 647294 w 1028134"/>
                    <a:gd name="connsiteY126" fmla="*/ 907854 h 1160188"/>
                    <a:gd name="connsiteX127" fmla="*/ 647294 w 1028134"/>
                    <a:gd name="connsiteY127" fmla="*/ 792658 h 1160188"/>
                    <a:gd name="connsiteX128" fmla="*/ 663750 w 1028134"/>
                    <a:gd name="connsiteY128" fmla="*/ 767973 h 1160188"/>
                    <a:gd name="connsiteX129" fmla="*/ 702149 w 1028134"/>
                    <a:gd name="connsiteY129" fmla="*/ 754260 h 1160188"/>
                    <a:gd name="connsiteX130" fmla="*/ 729577 w 1028134"/>
                    <a:gd name="connsiteY130" fmla="*/ 663749 h 1160188"/>
                    <a:gd name="connsiteX131" fmla="*/ 647294 w 1028134"/>
                    <a:gd name="connsiteY131" fmla="*/ 518382 h 1160188"/>
                    <a:gd name="connsiteX132" fmla="*/ 644550 w 1028134"/>
                    <a:gd name="connsiteY132" fmla="*/ 504668 h 1160188"/>
                    <a:gd name="connsiteX133" fmla="*/ 877686 w 1028134"/>
                    <a:gd name="connsiteY133" fmla="*/ 504668 h 1160188"/>
                    <a:gd name="connsiteX134" fmla="*/ 896885 w 1028134"/>
                    <a:gd name="connsiteY134" fmla="*/ 521125 h 1160188"/>
                    <a:gd name="connsiteX135" fmla="*/ 896885 w 1028134"/>
                    <a:gd name="connsiteY135" fmla="*/ 521125 h 1160188"/>
                    <a:gd name="connsiteX136" fmla="*/ 987396 w 1028134"/>
                    <a:gd name="connsiteY136" fmla="*/ 682948 h 1160188"/>
                    <a:gd name="connsiteX137" fmla="*/ 976426 w 1028134"/>
                    <a:gd name="connsiteY137" fmla="*/ 721347 h 1160188"/>
                    <a:gd name="connsiteX138" fmla="*/ 976426 w 1028134"/>
                    <a:gd name="connsiteY138" fmla="*/ 721347 h 116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028134" h="1160188">
                      <a:moveTo>
                        <a:pt x="1017568" y="661006"/>
                      </a:moveTo>
                      <a:cubicBezTo>
                        <a:pt x="973682" y="592437"/>
                        <a:pt x="940769" y="567752"/>
                        <a:pt x="935285" y="515639"/>
                      </a:cubicBezTo>
                      <a:lnTo>
                        <a:pt x="935285" y="515639"/>
                      </a:lnTo>
                      <a:cubicBezTo>
                        <a:pt x="932541" y="488212"/>
                        <a:pt x="907857" y="469012"/>
                        <a:pt x="880429" y="469012"/>
                      </a:cubicBezTo>
                      <a:lnTo>
                        <a:pt x="855744" y="469012"/>
                      </a:lnTo>
                      <a:lnTo>
                        <a:pt x="855744" y="293476"/>
                      </a:lnTo>
                      <a:cubicBezTo>
                        <a:pt x="855744" y="285247"/>
                        <a:pt x="847516" y="277019"/>
                        <a:pt x="839288" y="277019"/>
                      </a:cubicBezTo>
                      <a:cubicBezTo>
                        <a:pt x="831058" y="277019"/>
                        <a:pt x="822830" y="285247"/>
                        <a:pt x="822830" y="293476"/>
                      </a:cubicBezTo>
                      <a:lnTo>
                        <a:pt x="822830" y="469012"/>
                      </a:lnTo>
                      <a:cubicBezTo>
                        <a:pt x="787175" y="469012"/>
                        <a:pt x="479984" y="469012"/>
                        <a:pt x="441587" y="469012"/>
                      </a:cubicBezTo>
                      <a:lnTo>
                        <a:pt x="441587" y="337360"/>
                      </a:lnTo>
                      <a:cubicBezTo>
                        <a:pt x="441587" y="263305"/>
                        <a:pt x="411415" y="216678"/>
                        <a:pt x="405929" y="200222"/>
                      </a:cubicBezTo>
                      <a:lnTo>
                        <a:pt x="405929" y="60341"/>
                      </a:lnTo>
                      <a:cubicBezTo>
                        <a:pt x="405929" y="46627"/>
                        <a:pt x="416901" y="35656"/>
                        <a:pt x="430615" y="35656"/>
                      </a:cubicBezTo>
                      <a:lnTo>
                        <a:pt x="693920" y="35656"/>
                      </a:lnTo>
                      <a:lnTo>
                        <a:pt x="693920" y="106968"/>
                      </a:lnTo>
                      <a:cubicBezTo>
                        <a:pt x="693920" y="139881"/>
                        <a:pt x="721348" y="164566"/>
                        <a:pt x="751519" y="164566"/>
                      </a:cubicBezTo>
                      <a:lnTo>
                        <a:pt x="822830" y="164566"/>
                      </a:lnTo>
                      <a:lnTo>
                        <a:pt x="822830" y="213936"/>
                      </a:lnTo>
                      <a:cubicBezTo>
                        <a:pt x="822830" y="222164"/>
                        <a:pt x="831058" y="230392"/>
                        <a:pt x="839288" y="230392"/>
                      </a:cubicBezTo>
                      <a:cubicBezTo>
                        <a:pt x="847516" y="230392"/>
                        <a:pt x="855744" y="222164"/>
                        <a:pt x="855744" y="213936"/>
                      </a:cubicBezTo>
                      <a:lnTo>
                        <a:pt x="855744" y="159080"/>
                      </a:lnTo>
                      <a:cubicBezTo>
                        <a:pt x="855744" y="148109"/>
                        <a:pt x="850258" y="137138"/>
                        <a:pt x="842030" y="128910"/>
                      </a:cubicBezTo>
                      <a:lnTo>
                        <a:pt x="726833" y="13714"/>
                      </a:lnTo>
                      <a:cubicBezTo>
                        <a:pt x="718605" y="5486"/>
                        <a:pt x="707634" y="0"/>
                        <a:pt x="696664" y="0"/>
                      </a:cubicBezTo>
                      <a:lnTo>
                        <a:pt x="430615" y="0"/>
                      </a:lnTo>
                      <a:cubicBezTo>
                        <a:pt x="397701" y="0"/>
                        <a:pt x="373017" y="27428"/>
                        <a:pt x="373017" y="57598"/>
                      </a:cubicBezTo>
                      <a:lnTo>
                        <a:pt x="373017" y="120682"/>
                      </a:lnTo>
                      <a:lnTo>
                        <a:pt x="329132" y="24685"/>
                      </a:lnTo>
                      <a:cubicBezTo>
                        <a:pt x="315418" y="-8228"/>
                        <a:pt x="268791" y="-8228"/>
                        <a:pt x="255077" y="24685"/>
                      </a:cubicBezTo>
                      <a:lnTo>
                        <a:pt x="200222" y="145366"/>
                      </a:lnTo>
                      <a:cubicBezTo>
                        <a:pt x="200222" y="145366"/>
                        <a:pt x="200222" y="145366"/>
                        <a:pt x="200222" y="145366"/>
                      </a:cubicBezTo>
                      <a:cubicBezTo>
                        <a:pt x="175538" y="205707"/>
                        <a:pt x="142624" y="252334"/>
                        <a:pt x="142624" y="334617"/>
                      </a:cubicBezTo>
                      <a:lnTo>
                        <a:pt x="142624" y="466270"/>
                      </a:lnTo>
                      <a:lnTo>
                        <a:pt x="57599" y="466270"/>
                      </a:lnTo>
                      <a:cubicBezTo>
                        <a:pt x="30171" y="466270"/>
                        <a:pt x="8228" y="485469"/>
                        <a:pt x="2744" y="512897"/>
                      </a:cubicBezTo>
                      <a:cubicBezTo>
                        <a:pt x="0" y="526610"/>
                        <a:pt x="0" y="540324"/>
                        <a:pt x="0" y="554038"/>
                      </a:cubicBezTo>
                      <a:cubicBezTo>
                        <a:pt x="2744" y="702147"/>
                        <a:pt x="85027" y="724089"/>
                        <a:pt x="85027" y="877684"/>
                      </a:cubicBezTo>
                      <a:lnTo>
                        <a:pt x="85027" y="1044992"/>
                      </a:lnTo>
                      <a:cubicBezTo>
                        <a:pt x="60341" y="1050478"/>
                        <a:pt x="41142" y="1075163"/>
                        <a:pt x="41142" y="1102591"/>
                      </a:cubicBezTo>
                      <a:cubicBezTo>
                        <a:pt x="41142" y="1135504"/>
                        <a:pt x="68569" y="1160189"/>
                        <a:pt x="98741" y="1160189"/>
                      </a:cubicBezTo>
                      <a:lnTo>
                        <a:pt x="693920" y="1160189"/>
                      </a:lnTo>
                      <a:cubicBezTo>
                        <a:pt x="726833" y="1160189"/>
                        <a:pt x="751519" y="1132761"/>
                        <a:pt x="751519" y="1102591"/>
                      </a:cubicBezTo>
                      <a:cubicBezTo>
                        <a:pt x="751519" y="1075163"/>
                        <a:pt x="732319" y="1053221"/>
                        <a:pt x="707634" y="1044992"/>
                      </a:cubicBezTo>
                      <a:lnTo>
                        <a:pt x="707634" y="998366"/>
                      </a:lnTo>
                      <a:cubicBezTo>
                        <a:pt x="707634" y="987394"/>
                        <a:pt x="718605" y="976423"/>
                        <a:pt x="729577" y="979166"/>
                      </a:cubicBezTo>
                      <a:lnTo>
                        <a:pt x="844772" y="987394"/>
                      </a:lnTo>
                      <a:cubicBezTo>
                        <a:pt x="894143" y="990137"/>
                        <a:pt x="935285" y="951739"/>
                        <a:pt x="935285" y="905112"/>
                      </a:cubicBezTo>
                      <a:lnTo>
                        <a:pt x="935285" y="789916"/>
                      </a:lnTo>
                      <a:cubicBezTo>
                        <a:pt x="935285" y="778945"/>
                        <a:pt x="940769" y="770716"/>
                        <a:pt x="951741" y="765231"/>
                      </a:cubicBezTo>
                      <a:lnTo>
                        <a:pt x="990140" y="751517"/>
                      </a:lnTo>
                      <a:cubicBezTo>
                        <a:pt x="1025796" y="737803"/>
                        <a:pt x="1039510" y="693919"/>
                        <a:pt x="1017568" y="661006"/>
                      </a:cubicBezTo>
                      <a:lnTo>
                        <a:pt x="1017568" y="661006"/>
                      </a:lnTo>
                      <a:close/>
                      <a:moveTo>
                        <a:pt x="798146" y="131653"/>
                      </a:moveTo>
                      <a:lnTo>
                        <a:pt x="748775" y="131653"/>
                      </a:lnTo>
                      <a:cubicBezTo>
                        <a:pt x="735061" y="131653"/>
                        <a:pt x="724091" y="120682"/>
                        <a:pt x="724091" y="106968"/>
                      </a:cubicBezTo>
                      <a:lnTo>
                        <a:pt x="724091" y="57598"/>
                      </a:lnTo>
                      <a:lnTo>
                        <a:pt x="798146" y="131653"/>
                      </a:lnTo>
                      <a:close/>
                      <a:moveTo>
                        <a:pt x="285248" y="38399"/>
                      </a:moveTo>
                      <a:cubicBezTo>
                        <a:pt x="287991" y="32913"/>
                        <a:pt x="296219" y="32913"/>
                        <a:pt x="298962" y="38399"/>
                      </a:cubicBezTo>
                      <a:lnTo>
                        <a:pt x="342846" y="137138"/>
                      </a:lnTo>
                      <a:lnTo>
                        <a:pt x="244107" y="137138"/>
                      </a:lnTo>
                      <a:lnTo>
                        <a:pt x="285248" y="38399"/>
                      </a:lnTo>
                      <a:close/>
                      <a:moveTo>
                        <a:pt x="224907" y="170051"/>
                      </a:moveTo>
                      <a:lnTo>
                        <a:pt x="353818" y="170051"/>
                      </a:lnTo>
                      <a:cubicBezTo>
                        <a:pt x="383987" y="238620"/>
                        <a:pt x="392215" y="255077"/>
                        <a:pt x="400445" y="287990"/>
                      </a:cubicBezTo>
                      <a:lnTo>
                        <a:pt x="178280" y="287990"/>
                      </a:lnTo>
                      <a:cubicBezTo>
                        <a:pt x="189252" y="246849"/>
                        <a:pt x="200222" y="227649"/>
                        <a:pt x="224907" y="170051"/>
                      </a:cubicBezTo>
                      <a:lnTo>
                        <a:pt x="224907" y="170051"/>
                      </a:lnTo>
                      <a:close/>
                      <a:moveTo>
                        <a:pt x="175538" y="337360"/>
                      </a:moveTo>
                      <a:cubicBezTo>
                        <a:pt x="175538" y="331874"/>
                        <a:pt x="175538" y="326389"/>
                        <a:pt x="175538" y="323646"/>
                      </a:cubicBezTo>
                      <a:lnTo>
                        <a:pt x="405929" y="323646"/>
                      </a:lnTo>
                      <a:cubicBezTo>
                        <a:pt x="405929" y="329131"/>
                        <a:pt x="405929" y="334617"/>
                        <a:pt x="405929" y="337360"/>
                      </a:cubicBezTo>
                      <a:lnTo>
                        <a:pt x="405929" y="469012"/>
                      </a:lnTo>
                      <a:lnTo>
                        <a:pt x="172794" y="469012"/>
                      </a:lnTo>
                      <a:lnTo>
                        <a:pt x="172794" y="337360"/>
                      </a:lnTo>
                      <a:close/>
                      <a:moveTo>
                        <a:pt x="74055" y="1105333"/>
                      </a:moveTo>
                      <a:cubicBezTo>
                        <a:pt x="74055" y="1091619"/>
                        <a:pt x="85027" y="1080648"/>
                        <a:pt x="98741" y="1080648"/>
                      </a:cubicBezTo>
                      <a:lnTo>
                        <a:pt x="145366" y="1080648"/>
                      </a:lnTo>
                      <a:cubicBezTo>
                        <a:pt x="153596" y="1080648"/>
                        <a:pt x="161824" y="1072420"/>
                        <a:pt x="161824" y="1064192"/>
                      </a:cubicBezTo>
                      <a:cubicBezTo>
                        <a:pt x="161824" y="1055964"/>
                        <a:pt x="153596" y="1047735"/>
                        <a:pt x="145366" y="1047735"/>
                      </a:cubicBezTo>
                      <a:lnTo>
                        <a:pt x="117939" y="1047735"/>
                      </a:lnTo>
                      <a:lnTo>
                        <a:pt x="117939" y="883170"/>
                      </a:lnTo>
                      <a:cubicBezTo>
                        <a:pt x="117939" y="718604"/>
                        <a:pt x="32914" y="696662"/>
                        <a:pt x="32914" y="559524"/>
                      </a:cubicBezTo>
                      <a:cubicBezTo>
                        <a:pt x="32914" y="545810"/>
                        <a:pt x="32914" y="534839"/>
                        <a:pt x="35656" y="523868"/>
                      </a:cubicBezTo>
                      <a:cubicBezTo>
                        <a:pt x="35656" y="512897"/>
                        <a:pt x="46627" y="507411"/>
                        <a:pt x="54855" y="507411"/>
                      </a:cubicBezTo>
                      <a:lnTo>
                        <a:pt x="611637" y="507411"/>
                      </a:lnTo>
                      <a:cubicBezTo>
                        <a:pt x="611637" y="512897"/>
                        <a:pt x="614381" y="518382"/>
                        <a:pt x="614381" y="526610"/>
                      </a:cubicBezTo>
                      <a:cubicBezTo>
                        <a:pt x="622609" y="592437"/>
                        <a:pt x="661008" y="622607"/>
                        <a:pt x="704892" y="688433"/>
                      </a:cubicBezTo>
                      <a:cubicBezTo>
                        <a:pt x="715863" y="702147"/>
                        <a:pt x="707634" y="721347"/>
                        <a:pt x="693920" y="726832"/>
                      </a:cubicBezTo>
                      <a:lnTo>
                        <a:pt x="655522" y="740546"/>
                      </a:lnTo>
                      <a:cubicBezTo>
                        <a:pt x="633580" y="748774"/>
                        <a:pt x="617123" y="770716"/>
                        <a:pt x="617123" y="795401"/>
                      </a:cubicBezTo>
                      <a:lnTo>
                        <a:pt x="617123" y="910597"/>
                      </a:lnTo>
                      <a:cubicBezTo>
                        <a:pt x="617123" y="940768"/>
                        <a:pt x="592439" y="962710"/>
                        <a:pt x="562267" y="959967"/>
                      </a:cubicBezTo>
                      <a:lnTo>
                        <a:pt x="447071" y="951739"/>
                      </a:lnTo>
                      <a:cubicBezTo>
                        <a:pt x="414159" y="948996"/>
                        <a:pt x="389473" y="973681"/>
                        <a:pt x="389473" y="1006594"/>
                      </a:cubicBezTo>
                      <a:lnTo>
                        <a:pt x="389473" y="1050478"/>
                      </a:lnTo>
                      <a:lnTo>
                        <a:pt x="224907" y="1050478"/>
                      </a:lnTo>
                      <a:cubicBezTo>
                        <a:pt x="216679" y="1050478"/>
                        <a:pt x="208451" y="1058706"/>
                        <a:pt x="208451" y="1066935"/>
                      </a:cubicBezTo>
                      <a:cubicBezTo>
                        <a:pt x="208451" y="1075163"/>
                        <a:pt x="216679" y="1083391"/>
                        <a:pt x="224907" y="1083391"/>
                      </a:cubicBezTo>
                      <a:lnTo>
                        <a:pt x="408673" y="1083391"/>
                      </a:lnTo>
                      <a:cubicBezTo>
                        <a:pt x="422387" y="1083391"/>
                        <a:pt x="433357" y="1094362"/>
                        <a:pt x="433357" y="1108076"/>
                      </a:cubicBezTo>
                      <a:cubicBezTo>
                        <a:pt x="433357" y="1121790"/>
                        <a:pt x="422387" y="1132761"/>
                        <a:pt x="408673" y="1132761"/>
                      </a:cubicBezTo>
                      <a:lnTo>
                        <a:pt x="98741" y="1132761"/>
                      </a:lnTo>
                      <a:cubicBezTo>
                        <a:pt x="85027" y="1130018"/>
                        <a:pt x="74055" y="1119047"/>
                        <a:pt x="74055" y="1105333"/>
                      </a:cubicBezTo>
                      <a:lnTo>
                        <a:pt x="74055" y="1105333"/>
                      </a:lnTo>
                      <a:close/>
                      <a:moveTo>
                        <a:pt x="718605" y="1105333"/>
                      </a:moveTo>
                      <a:cubicBezTo>
                        <a:pt x="718605" y="1119047"/>
                        <a:pt x="707634" y="1130018"/>
                        <a:pt x="693920" y="1130018"/>
                      </a:cubicBezTo>
                      <a:lnTo>
                        <a:pt x="460785" y="1130018"/>
                      </a:lnTo>
                      <a:cubicBezTo>
                        <a:pt x="463528" y="1121790"/>
                        <a:pt x="466270" y="1113561"/>
                        <a:pt x="466270" y="1105333"/>
                      </a:cubicBezTo>
                      <a:cubicBezTo>
                        <a:pt x="466270" y="1097105"/>
                        <a:pt x="463528" y="1088877"/>
                        <a:pt x="460785" y="1080648"/>
                      </a:cubicBezTo>
                      <a:lnTo>
                        <a:pt x="693920" y="1080648"/>
                      </a:lnTo>
                      <a:cubicBezTo>
                        <a:pt x="707634" y="1077906"/>
                        <a:pt x="718605" y="1091619"/>
                        <a:pt x="718605" y="1105333"/>
                      </a:cubicBezTo>
                      <a:lnTo>
                        <a:pt x="718605" y="1105333"/>
                      </a:lnTo>
                      <a:close/>
                      <a:moveTo>
                        <a:pt x="976426" y="721347"/>
                      </a:moveTo>
                      <a:lnTo>
                        <a:pt x="938027" y="735060"/>
                      </a:lnTo>
                      <a:cubicBezTo>
                        <a:pt x="916085" y="743289"/>
                        <a:pt x="899627" y="765231"/>
                        <a:pt x="899627" y="789916"/>
                      </a:cubicBezTo>
                      <a:lnTo>
                        <a:pt x="899627" y="905112"/>
                      </a:lnTo>
                      <a:cubicBezTo>
                        <a:pt x="899627" y="935282"/>
                        <a:pt x="874943" y="957224"/>
                        <a:pt x="844772" y="954481"/>
                      </a:cubicBezTo>
                      <a:lnTo>
                        <a:pt x="729577" y="946253"/>
                      </a:lnTo>
                      <a:cubicBezTo>
                        <a:pt x="696664" y="943510"/>
                        <a:pt x="671978" y="968195"/>
                        <a:pt x="671978" y="1001108"/>
                      </a:cubicBezTo>
                      <a:lnTo>
                        <a:pt x="671978" y="1044992"/>
                      </a:lnTo>
                      <a:lnTo>
                        <a:pt x="419643" y="1044992"/>
                      </a:lnTo>
                      <a:lnTo>
                        <a:pt x="419643" y="1001108"/>
                      </a:lnTo>
                      <a:cubicBezTo>
                        <a:pt x="419643" y="990137"/>
                        <a:pt x="430615" y="979166"/>
                        <a:pt x="441587" y="981909"/>
                      </a:cubicBezTo>
                      <a:lnTo>
                        <a:pt x="556781" y="990137"/>
                      </a:lnTo>
                      <a:cubicBezTo>
                        <a:pt x="606153" y="992880"/>
                        <a:pt x="647294" y="954481"/>
                        <a:pt x="647294" y="907854"/>
                      </a:cubicBezTo>
                      <a:lnTo>
                        <a:pt x="647294" y="792658"/>
                      </a:lnTo>
                      <a:cubicBezTo>
                        <a:pt x="647294" y="781687"/>
                        <a:pt x="652778" y="773459"/>
                        <a:pt x="663750" y="767973"/>
                      </a:cubicBezTo>
                      <a:lnTo>
                        <a:pt x="702149" y="754260"/>
                      </a:lnTo>
                      <a:cubicBezTo>
                        <a:pt x="737805" y="740546"/>
                        <a:pt x="751519" y="696662"/>
                        <a:pt x="729577" y="663749"/>
                      </a:cubicBezTo>
                      <a:cubicBezTo>
                        <a:pt x="685692" y="595180"/>
                        <a:pt x="652778" y="570495"/>
                        <a:pt x="647294" y="518382"/>
                      </a:cubicBezTo>
                      <a:cubicBezTo>
                        <a:pt x="647294" y="512897"/>
                        <a:pt x="647294" y="510154"/>
                        <a:pt x="644550" y="504668"/>
                      </a:cubicBezTo>
                      <a:lnTo>
                        <a:pt x="877686" y="504668"/>
                      </a:lnTo>
                      <a:cubicBezTo>
                        <a:pt x="888657" y="504668"/>
                        <a:pt x="896885" y="512897"/>
                        <a:pt x="896885" y="521125"/>
                      </a:cubicBezTo>
                      <a:lnTo>
                        <a:pt x="896885" y="521125"/>
                      </a:lnTo>
                      <a:cubicBezTo>
                        <a:pt x="905113" y="586951"/>
                        <a:pt x="943513" y="617122"/>
                        <a:pt x="987396" y="682948"/>
                      </a:cubicBezTo>
                      <a:cubicBezTo>
                        <a:pt x="998368" y="693919"/>
                        <a:pt x="992882" y="713118"/>
                        <a:pt x="976426" y="721347"/>
                      </a:cubicBezTo>
                      <a:lnTo>
                        <a:pt x="976426" y="721347"/>
                      </a:lnTo>
                      <a:close/>
                    </a:path>
                  </a:pathLst>
                </a:custGeom>
                <a:grpFill/>
                <a:ln w="27426" cap="flat">
                  <a:noFill/>
                  <a:prstDash val="solid"/>
                  <a:miter/>
                </a:ln>
              </p:spPr>
              <p:txBody>
                <a:bodyPr rtlCol="0" anchor="ctr"/>
                <a:lstStyle/>
                <a:p>
                  <a:pPr algn="l" rtl="0"/>
                  <a:endParaRPr lang="en-US"/>
                </a:p>
              </p:txBody>
            </p:sp>
          </p:grpSp>
        </p:grpSp>
      </p:grpSp>
      <p:grpSp>
        <p:nvGrpSpPr>
          <p:cNvPr id="16" name="Graphic 3">
            <a:extLst>
              <a:ext uri="{FF2B5EF4-FFF2-40B4-BE49-F238E27FC236}">
                <a16:creationId xmlns:a16="http://schemas.microsoft.com/office/drawing/2014/main" id="{D37078E2-2DDA-D218-87C2-79BDB0F44009}"/>
              </a:ext>
            </a:extLst>
          </p:cNvPr>
          <p:cNvGrpSpPr/>
          <p:nvPr/>
        </p:nvGrpSpPr>
        <p:grpSpPr>
          <a:xfrm>
            <a:off x="6529011" y="3096611"/>
            <a:ext cx="690566" cy="763372"/>
            <a:chOff x="2811409" y="3683011"/>
            <a:chExt cx="858485" cy="948995"/>
          </a:xfrm>
          <a:solidFill>
            <a:srgbClr val="616161"/>
          </a:solidFill>
        </p:grpSpPr>
        <p:sp>
          <p:nvSpPr>
            <p:cNvPr id="17" name="Freeform 16">
              <a:extLst>
                <a:ext uri="{FF2B5EF4-FFF2-40B4-BE49-F238E27FC236}">
                  <a16:creationId xmlns:a16="http://schemas.microsoft.com/office/drawing/2014/main" id="{57F18CE4-30E3-C825-AE5A-7189EBE2A4C3}"/>
                </a:ext>
              </a:extLst>
            </p:cNvPr>
            <p:cNvSpPr/>
            <p:nvPr/>
          </p:nvSpPr>
          <p:spPr>
            <a:xfrm>
              <a:off x="3071972" y="3702210"/>
              <a:ext cx="340103" cy="441584"/>
            </a:xfrm>
            <a:custGeom>
              <a:avLst/>
              <a:gdLst>
                <a:gd name="connsiteX0" fmla="*/ 0 w 340103"/>
                <a:gd name="connsiteY0" fmla="*/ 153594 h 441584"/>
                <a:gd name="connsiteX1" fmla="*/ 54855 w 340103"/>
                <a:gd name="connsiteY1" fmla="*/ 43884 h 441584"/>
                <a:gd name="connsiteX2" fmla="*/ 170052 w 340103"/>
                <a:gd name="connsiteY2" fmla="*/ 0 h 441584"/>
                <a:gd name="connsiteX3" fmla="*/ 340104 w 340103"/>
                <a:gd name="connsiteY3" fmla="*/ 170051 h 441584"/>
                <a:gd name="connsiteX4" fmla="*/ 309932 w 340103"/>
                <a:gd name="connsiteY4" fmla="*/ 268791 h 441584"/>
                <a:gd name="connsiteX5" fmla="*/ 309932 w 340103"/>
                <a:gd name="connsiteY5" fmla="*/ 268791 h 441584"/>
                <a:gd name="connsiteX6" fmla="*/ 222163 w 340103"/>
                <a:gd name="connsiteY6" fmla="*/ 408671 h 441584"/>
                <a:gd name="connsiteX7" fmla="*/ 219421 w 340103"/>
                <a:gd name="connsiteY7" fmla="*/ 416900 h 441584"/>
                <a:gd name="connsiteX8" fmla="*/ 219421 w 340103"/>
                <a:gd name="connsiteY8" fmla="*/ 436099 h 441584"/>
                <a:gd name="connsiteX9" fmla="*/ 213936 w 340103"/>
                <a:gd name="connsiteY9" fmla="*/ 441584 h 441584"/>
                <a:gd name="connsiteX10" fmla="*/ 213936 w 340103"/>
                <a:gd name="connsiteY10" fmla="*/ 441584 h 441584"/>
                <a:gd name="connsiteX11" fmla="*/ 222163 w 340103"/>
                <a:gd name="connsiteY11" fmla="*/ 290733 h 441584"/>
                <a:gd name="connsiteX12" fmla="*/ 238621 w 340103"/>
                <a:gd name="connsiteY12" fmla="*/ 290733 h 441584"/>
                <a:gd name="connsiteX13" fmla="*/ 279763 w 340103"/>
                <a:gd name="connsiteY13" fmla="*/ 249591 h 441584"/>
                <a:gd name="connsiteX14" fmla="*/ 279763 w 340103"/>
                <a:gd name="connsiteY14" fmla="*/ 246849 h 441584"/>
                <a:gd name="connsiteX15" fmla="*/ 238621 w 340103"/>
                <a:gd name="connsiteY15" fmla="*/ 205707 h 441584"/>
                <a:gd name="connsiteX16" fmla="*/ 197480 w 340103"/>
                <a:gd name="connsiteY16" fmla="*/ 244106 h 441584"/>
                <a:gd name="connsiteX17" fmla="*/ 197480 w 340103"/>
                <a:gd name="connsiteY17" fmla="*/ 260562 h 441584"/>
                <a:gd name="connsiteX18" fmla="*/ 148110 w 340103"/>
                <a:gd name="connsiteY18" fmla="*/ 260562 h 441584"/>
                <a:gd name="connsiteX19" fmla="*/ 148110 w 340103"/>
                <a:gd name="connsiteY19" fmla="*/ 244106 h 441584"/>
                <a:gd name="connsiteX20" fmla="*/ 106969 w 340103"/>
                <a:gd name="connsiteY20" fmla="*/ 205707 h 441584"/>
                <a:gd name="connsiteX21" fmla="*/ 65827 w 340103"/>
                <a:gd name="connsiteY21" fmla="*/ 246849 h 441584"/>
                <a:gd name="connsiteX22" fmla="*/ 65827 w 340103"/>
                <a:gd name="connsiteY22" fmla="*/ 249591 h 441584"/>
                <a:gd name="connsiteX23" fmla="*/ 106969 w 340103"/>
                <a:gd name="connsiteY23" fmla="*/ 290733 h 441584"/>
                <a:gd name="connsiteX24" fmla="*/ 123425 w 340103"/>
                <a:gd name="connsiteY24" fmla="*/ 290733 h 441584"/>
                <a:gd name="connsiteX25" fmla="*/ 131653 w 340103"/>
                <a:gd name="connsiteY25" fmla="*/ 441584 h 441584"/>
                <a:gd name="connsiteX26" fmla="*/ 126167 w 340103"/>
                <a:gd name="connsiteY26" fmla="*/ 436099 h 441584"/>
                <a:gd name="connsiteX27" fmla="*/ 126167 w 340103"/>
                <a:gd name="connsiteY27" fmla="*/ 416900 h 441584"/>
                <a:gd name="connsiteX28" fmla="*/ 123425 w 340103"/>
                <a:gd name="connsiteY28" fmla="*/ 408671 h 441584"/>
                <a:gd name="connsiteX29" fmla="*/ 35656 w 340103"/>
                <a:gd name="connsiteY29" fmla="*/ 268791 h 441584"/>
                <a:gd name="connsiteX30" fmla="*/ 35656 w 340103"/>
                <a:gd name="connsiteY30" fmla="*/ 268791 h 441584"/>
                <a:gd name="connsiteX31" fmla="*/ 8228 w 340103"/>
                <a:gd name="connsiteY31" fmla="*/ 208450 h 4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0103" h="441584">
                  <a:moveTo>
                    <a:pt x="0" y="153594"/>
                  </a:moveTo>
                  <a:cubicBezTo>
                    <a:pt x="2742" y="112453"/>
                    <a:pt x="24686" y="71312"/>
                    <a:pt x="54855" y="43884"/>
                  </a:cubicBezTo>
                  <a:cubicBezTo>
                    <a:pt x="87769" y="13714"/>
                    <a:pt x="126167" y="0"/>
                    <a:pt x="170052" y="0"/>
                  </a:cubicBezTo>
                  <a:cubicBezTo>
                    <a:pt x="263305" y="0"/>
                    <a:pt x="340104" y="76797"/>
                    <a:pt x="340104" y="170051"/>
                  </a:cubicBezTo>
                  <a:cubicBezTo>
                    <a:pt x="340104" y="205707"/>
                    <a:pt x="329132" y="238620"/>
                    <a:pt x="309932" y="268791"/>
                  </a:cubicBezTo>
                  <a:cubicBezTo>
                    <a:pt x="309932" y="268791"/>
                    <a:pt x="309932" y="268791"/>
                    <a:pt x="309932" y="268791"/>
                  </a:cubicBezTo>
                  <a:lnTo>
                    <a:pt x="222163" y="408671"/>
                  </a:lnTo>
                  <a:cubicBezTo>
                    <a:pt x="219421" y="411414"/>
                    <a:pt x="219421" y="414157"/>
                    <a:pt x="219421" y="416900"/>
                  </a:cubicBezTo>
                  <a:lnTo>
                    <a:pt x="219421" y="436099"/>
                  </a:lnTo>
                  <a:cubicBezTo>
                    <a:pt x="219421" y="438842"/>
                    <a:pt x="216679" y="441584"/>
                    <a:pt x="213936" y="441584"/>
                  </a:cubicBezTo>
                  <a:lnTo>
                    <a:pt x="213936" y="441584"/>
                  </a:lnTo>
                  <a:lnTo>
                    <a:pt x="222163" y="290733"/>
                  </a:lnTo>
                  <a:lnTo>
                    <a:pt x="238621" y="290733"/>
                  </a:lnTo>
                  <a:cubicBezTo>
                    <a:pt x="260563" y="290733"/>
                    <a:pt x="279763" y="271533"/>
                    <a:pt x="279763" y="249591"/>
                  </a:cubicBezTo>
                  <a:lnTo>
                    <a:pt x="279763" y="246849"/>
                  </a:lnTo>
                  <a:cubicBezTo>
                    <a:pt x="279763" y="224906"/>
                    <a:pt x="260563" y="205707"/>
                    <a:pt x="238621" y="205707"/>
                  </a:cubicBezTo>
                  <a:cubicBezTo>
                    <a:pt x="216679" y="205707"/>
                    <a:pt x="197480" y="222163"/>
                    <a:pt x="197480" y="244106"/>
                  </a:cubicBezTo>
                  <a:lnTo>
                    <a:pt x="197480" y="260562"/>
                  </a:lnTo>
                  <a:lnTo>
                    <a:pt x="148110" y="260562"/>
                  </a:lnTo>
                  <a:lnTo>
                    <a:pt x="148110" y="244106"/>
                  </a:lnTo>
                  <a:cubicBezTo>
                    <a:pt x="148110" y="222163"/>
                    <a:pt x="128910" y="205707"/>
                    <a:pt x="106969" y="205707"/>
                  </a:cubicBezTo>
                  <a:cubicBezTo>
                    <a:pt x="85025" y="205707"/>
                    <a:pt x="65827" y="224906"/>
                    <a:pt x="65827" y="246849"/>
                  </a:cubicBezTo>
                  <a:lnTo>
                    <a:pt x="65827" y="249591"/>
                  </a:lnTo>
                  <a:cubicBezTo>
                    <a:pt x="65827" y="271533"/>
                    <a:pt x="85025" y="290733"/>
                    <a:pt x="106969" y="290733"/>
                  </a:cubicBezTo>
                  <a:lnTo>
                    <a:pt x="123425" y="290733"/>
                  </a:lnTo>
                  <a:lnTo>
                    <a:pt x="131653" y="441584"/>
                  </a:lnTo>
                  <a:cubicBezTo>
                    <a:pt x="128910" y="441584"/>
                    <a:pt x="126167" y="438842"/>
                    <a:pt x="126167" y="436099"/>
                  </a:cubicBezTo>
                  <a:lnTo>
                    <a:pt x="126167" y="416900"/>
                  </a:lnTo>
                  <a:cubicBezTo>
                    <a:pt x="126167" y="414157"/>
                    <a:pt x="126167" y="411414"/>
                    <a:pt x="123425" y="408671"/>
                  </a:cubicBezTo>
                  <a:lnTo>
                    <a:pt x="35656" y="268791"/>
                  </a:lnTo>
                  <a:cubicBezTo>
                    <a:pt x="35656" y="268791"/>
                    <a:pt x="35656" y="268791"/>
                    <a:pt x="35656" y="268791"/>
                  </a:cubicBezTo>
                  <a:cubicBezTo>
                    <a:pt x="21942" y="249591"/>
                    <a:pt x="13714" y="230392"/>
                    <a:pt x="8228" y="208450"/>
                  </a:cubicBezTo>
                </a:path>
              </a:pathLst>
            </a:custGeom>
            <a:solidFill>
              <a:srgbClr val="F16924"/>
            </a:solidFill>
            <a:ln w="27426" cap="flat">
              <a:noFill/>
              <a:prstDash val="solid"/>
              <a:miter/>
            </a:ln>
          </p:spPr>
          <p:txBody>
            <a:bodyPr rtlCol="0" anchor="ctr"/>
            <a:lstStyle/>
            <a:p>
              <a:pPr algn="l" rtl="0"/>
              <a:endParaRPr lang="en-US"/>
            </a:p>
          </p:txBody>
        </p:sp>
        <p:grpSp>
          <p:nvGrpSpPr>
            <p:cNvPr id="18" name="Graphic 3">
              <a:extLst>
                <a:ext uri="{FF2B5EF4-FFF2-40B4-BE49-F238E27FC236}">
                  <a16:creationId xmlns:a16="http://schemas.microsoft.com/office/drawing/2014/main" id="{F68FDB0B-A3B7-36B0-1BB3-4AB99244C5E8}"/>
                </a:ext>
              </a:extLst>
            </p:cNvPr>
            <p:cNvGrpSpPr/>
            <p:nvPr/>
          </p:nvGrpSpPr>
          <p:grpSpPr>
            <a:xfrm>
              <a:off x="2811409" y="3683011"/>
              <a:ext cx="858485" cy="948995"/>
              <a:chOff x="2811409" y="3683011"/>
              <a:chExt cx="858485" cy="948995"/>
            </a:xfrm>
            <a:grpFill/>
          </p:grpSpPr>
          <p:sp>
            <p:nvSpPr>
              <p:cNvPr id="19" name="Freeform 18">
                <a:extLst>
                  <a:ext uri="{FF2B5EF4-FFF2-40B4-BE49-F238E27FC236}">
                    <a16:creationId xmlns:a16="http://schemas.microsoft.com/office/drawing/2014/main" id="{E38649C4-46C4-8FAF-FA8E-1A3BDE7E6FA4}"/>
                  </a:ext>
                </a:extLst>
              </p:cNvPr>
              <p:cNvSpPr/>
              <p:nvPr/>
            </p:nvSpPr>
            <p:spPr>
              <a:xfrm>
                <a:off x="2811409" y="3998429"/>
                <a:ext cx="858485" cy="633577"/>
              </a:xfrm>
              <a:custGeom>
                <a:avLst/>
                <a:gdLst>
                  <a:gd name="connsiteX0" fmla="*/ 828316 w 858485"/>
                  <a:gd name="connsiteY0" fmla="*/ 35656 h 633577"/>
                  <a:gd name="connsiteX1" fmla="*/ 770717 w 858485"/>
                  <a:gd name="connsiteY1" fmla="*/ 35656 h 633577"/>
                  <a:gd name="connsiteX2" fmla="*/ 770717 w 858485"/>
                  <a:gd name="connsiteY2" fmla="*/ 30170 h 633577"/>
                  <a:gd name="connsiteX3" fmla="*/ 743289 w 858485"/>
                  <a:gd name="connsiteY3" fmla="*/ 2743 h 633577"/>
                  <a:gd name="connsiteX4" fmla="*/ 630837 w 858485"/>
                  <a:gd name="connsiteY4" fmla="*/ 2743 h 633577"/>
                  <a:gd name="connsiteX5" fmla="*/ 617123 w 858485"/>
                  <a:gd name="connsiteY5" fmla="*/ 16456 h 633577"/>
                  <a:gd name="connsiteX6" fmla="*/ 630837 w 858485"/>
                  <a:gd name="connsiteY6" fmla="*/ 30170 h 633577"/>
                  <a:gd name="connsiteX7" fmla="*/ 743289 w 858485"/>
                  <a:gd name="connsiteY7" fmla="*/ 30170 h 633577"/>
                  <a:gd name="connsiteX8" fmla="*/ 743289 w 858485"/>
                  <a:gd name="connsiteY8" fmla="*/ 30170 h 633577"/>
                  <a:gd name="connsiteX9" fmla="*/ 743289 w 858485"/>
                  <a:gd name="connsiteY9" fmla="*/ 200221 h 633577"/>
                  <a:gd name="connsiteX10" fmla="*/ 757003 w 858485"/>
                  <a:gd name="connsiteY10" fmla="*/ 213935 h 633577"/>
                  <a:gd name="connsiteX11" fmla="*/ 770717 w 858485"/>
                  <a:gd name="connsiteY11" fmla="*/ 200221 h 633577"/>
                  <a:gd name="connsiteX12" fmla="*/ 770717 w 858485"/>
                  <a:gd name="connsiteY12" fmla="*/ 65826 h 633577"/>
                  <a:gd name="connsiteX13" fmla="*/ 828316 w 858485"/>
                  <a:gd name="connsiteY13" fmla="*/ 65826 h 633577"/>
                  <a:gd name="connsiteX14" fmla="*/ 831058 w 858485"/>
                  <a:gd name="connsiteY14" fmla="*/ 68569 h 633577"/>
                  <a:gd name="connsiteX15" fmla="*/ 831058 w 858485"/>
                  <a:gd name="connsiteY15" fmla="*/ 554038 h 633577"/>
                  <a:gd name="connsiteX16" fmla="*/ 773461 w 858485"/>
                  <a:gd name="connsiteY16" fmla="*/ 611636 h 633577"/>
                  <a:gd name="connsiteX17" fmla="*/ 85025 w 858485"/>
                  <a:gd name="connsiteY17" fmla="*/ 611636 h 633577"/>
                  <a:gd name="connsiteX18" fmla="*/ 27428 w 858485"/>
                  <a:gd name="connsiteY18" fmla="*/ 554038 h 633577"/>
                  <a:gd name="connsiteX19" fmla="*/ 27428 w 858485"/>
                  <a:gd name="connsiteY19" fmla="*/ 65826 h 633577"/>
                  <a:gd name="connsiteX20" fmla="*/ 30170 w 858485"/>
                  <a:gd name="connsiteY20" fmla="*/ 63083 h 633577"/>
                  <a:gd name="connsiteX21" fmla="*/ 87769 w 858485"/>
                  <a:gd name="connsiteY21" fmla="*/ 63083 h 633577"/>
                  <a:gd name="connsiteX22" fmla="*/ 87769 w 858485"/>
                  <a:gd name="connsiteY22" fmla="*/ 540324 h 633577"/>
                  <a:gd name="connsiteX23" fmla="*/ 123425 w 858485"/>
                  <a:gd name="connsiteY23" fmla="*/ 575980 h 633577"/>
                  <a:gd name="connsiteX24" fmla="*/ 735061 w 858485"/>
                  <a:gd name="connsiteY24" fmla="*/ 575980 h 633577"/>
                  <a:gd name="connsiteX25" fmla="*/ 770717 w 858485"/>
                  <a:gd name="connsiteY25" fmla="*/ 540324 h 633577"/>
                  <a:gd name="connsiteX26" fmla="*/ 770717 w 858485"/>
                  <a:gd name="connsiteY26" fmla="*/ 257819 h 633577"/>
                  <a:gd name="connsiteX27" fmla="*/ 757003 w 858485"/>
                  <a:gd name="connsiteY27" fmla="*/ 244106 h 633577"/>
                  <a:gd name="connsiteX28" fmla="*/ 743289 w 858485"/>
                  <a:gd name="connsiteY28" fmla="*/ 257819 h 633577"/>
                  <a:gd name="connsiteX29" fmla="*/ 743289 w 858485"/>
                  <a:gd name="connsiteY29" fmla="*/ 458041 h 633577"/>
                  <a:gd name="connsiteX30" fmla="*/ 518384 w 858485"/>
                  <a:gd name="connsiteY30" fmla="*/ 458041 h 633577"/>
                  <a:gd name="connsiteX31" fmla="*/ 444329 w 858485"/>
                  <a:gd name="connsiteY31" fmla="*/ 490954 h 633577"/>
                  <a:gd name="connsiteX32" fmla="*/ 444329 w 858485"/>
                  <a:gd name="connsiteY32" fmla="*/ 309932 h 633577"/>
                  <a:gd name="connsiteX33" fmla="*/ 430615 w 858485"/>
                  <a:gd name="connsiteY33" fmla="*/ 296218 h 633577"/>
                  <a:gd name="connsiteX34" fmla="*/ 416901 w 858485"/>
                  <a:gd name="connsiteY34" fmla="*/ 309932 h 633577"/>
                  <a:gd name="connsiteX35" fmla="*/ 416901 w 858485"/>
                  <a:gd name="connsiteY35" fmla="*/ 490954 h 633577"/>
                  <a:gd name="connsiteX36" fmla="*/ 342846 w 858485"/>
                  <a:gd name="connsiteY36" fmla="*/ 458041 h 633577"/>
                  <a:gd name="connsiteX37" fmla="*/ 279763 w 858485"/>
                  <a:gd name="connsiteY37" fmla="*/ 458041 h 633577"/>
                  <a:gd name="connsiteX38" fmla="*/ 266049 w 858485"/>
                  <a:gd name="connsiteY38" fmla="*/ 471755 h 633577"/>
                  <a:gd name="connsiteX39" fmla="*/ 279763 w 858485"/>
                  <a:gd name="connsiteY39" fmla="*/ 485469 h 633577"/>
                  <a:gd name="connsiteX40" fmla="*/ 342846 w 858485"/>
                  <a:gd name="connsiteY40" fmla="*/ 485469 h 633577"/>
                  <a:gd name="connsiteX41" fmla="*/ 416901 w 858485"/>
                  <a:gd name="connsiteY41" fmla="*/ 545810 h 633577"/>
                  <a:gd name="connsiteX42" fmla="*/ 123425 w 858485"/>
                  <a:gd name="connsiteY42" fmla="*/ 545810 h 633577"/>
                  <a:gd name="connsiteX43" fmla="*/ 115197 w 858485"/>
                  <a:gd name="connsiteY43" fmla="*/ 537581 h 633577"/>
                  <a:gd name="connsiteX44" fmla="*/ 115197 w 858485"/>
                  <a:gd name="connsiteY44" fmla="*/ 485469 h 633577"/>
                  <a:gd name="connsiteX45" fmla="*/ 216679 w 858485"/>
                  <a:gd name="connsiteY45" fmla="*/ 485469 h 633577"/>
                  <a:gd name="connsiteX46" fmla="*/ 230393 w 858485"/>
                  <a:gd name="connsiteY46" fmla="*/ 471755 h 633577"/>
                  <a:gd name="connsiteX47" fmla="*/ 216679 w 858485"/>
                  <a:gd name="connsiteY47" fmla="*/ 458041 h 633577"/>
                  <a:gd name="connsiteX48" fmla="*/ 115197 w 858485"/>
                  <a:gd name="connsiteY48" fmla="*/ 458041 h 633577"/>
                  <a:gd name="connsiteX49" fmla="*/ 115197 w 858485"/>
                  <a:gd name="connsiteY49" fmla="*/ 27428 h 633577"/>
                  <a:gd name="connsiteX50" fmla="*/ 115197 w 858485"/>
                  <a:gd name="connsiteY50" fmla="*/ 27428 h 633577"/>
                  <a:gd name="connsiteX51" fmla="*/ 227649 w 858485"/>
                  <a:gd name="connsiteY51" fmla="*/ 27428 h 633577"/>
                  <a:gd name="connsiteX52" fmla="*/ 241363 w 858485"/>
                  <a:gd name="connsiteY52" fmla="*/ 13714 h 633577"/>
                  <a:gd name="connsiteX53" fmla="*/ 227649 w 858485"/>
                  <a:gd name="connsiteY53" fmla="*/ 0 h 633577"/>
                  <a:gd name="connsiteX54" fmla="*/ 115197 w 858485"/>
                  <a:gd name="connsiteY54" fmla="*/ 0 h 633577"/>
                  <a:gd name="connsiteX55" fmla="*/ 87769 w 858485"/>
                  <a:gd name="connsiteY55" fmla="*/ 27428 h 633577"/>
                  <a:gd name="connsiteX56" fmla="*/ 87769 w 858485"/>
                  <a:gd name="connsiteY56" fmla="*/ 32913 h 633577"/>
                  <a:gd name="connsiteX57" fmla="*/ 30170 w 858485"/>
                  <a:gd name="connsiteY57" fmla="*/ 32913 h 633577"/>
                  <a:gd name="connsiteX58" fmla="*/ 0 w 858485"/>
                  <a:gd name="connsiteY58" fmla="*/ 63083 h 633577"/>
                  <a:gd name="connsiteX59" fmla="*/ 0 w 858485"/>
                  <a:gd name="connsiteY59" fmla="*/ 548552 h 633577"/>
                  <a:gd name="connsiteX60" fmla="*/ 85025 w 858485"/>
                  <a:gd name="connsiteY60" fmla="*/ 633578 h 633577"/>
                  <a:gd name="connsiteX61" fmla="*/ 773461 w 858485"/>
                  <a:gd name="connsiteY61" fmla="*/ 633578 h 633577"/>
                  <a:gd name="connsiteX62" fmla="*/ 858486 w 858485"/>
                  <a:gd name="connsiteY62" fmla="*/ 548552 h 633577"/>
                  <a:gd name="connsiteX63" fmla="*/ 858486 w 858485"/>
                  <a:gd name="connsiteY63" fmla="*/ 65826 h 633577"/>
                  <a:gd name="connsiteX64" fmla="*/ 828316 w 858485"/>
                  <a:gd name="connsiteY64" fmla="*/ 35656 h 633577"/>
                  <a:gd name="connsiteX65" fmla="*/ 828316 w 858485"/>
                  <a:gd name="connsiteY65" fmla="*/ 35656 h 633577"/>
                  <a:gd name="connsiteX66" fmla="*/ 518384 w 858485"/>
                  <a:gd name="connsiteY66" fmla="*/ 485469 h 633577"/>
                  <a:gd name="connsiteX67" fmla="*/ 743289 w 858485"/>
                  <a:gd name="connsiteY67" fmla="*/ 485469 h 633577"/>
                  <a:gd name="connsiteX68" fmla="*/ 743289 w 858485"/>
                  <a:gd name="connsiteY68" fmla="*/ 537581 h 633577"/>
                  <a:gd name="connsiteX69" fmla="*/ 735061 w 858485"/>
                  <a:gd name="connsiteY69" fmla="*/ 545810 h 633577"/>
                  <a:gd name="connsiteX70" fmla="*/ 444329 w 858485"/>
                  <a:gd name="connsiteY70" fmla="*/ 545810 h 633577"/>
                  <a:gd name="connsiteX71" fmla="*/ 518384 w 858485"/>
                  <a:gd name="connsiteY71" fmla="*/ 485469 h 633577"/>
                  <a:gd name="connsiteX72" fmla="*/ 518384 w 858485"/>
                  <a:gd name="connsiteY72" fmla="*/ 485469 h 633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58485" h="633577">
                    <a:moveTo>
                      <a:pt x="828316" y="35656"/>
                    </a:moveTo>
                    <a:lnTo>
                      <a:pt x="770717" y="35656"/>
                    </a:lnTo>
                    <a:lnTo>
                      <a:pt x="770717" y="30170"/>
                    </a:lnTo>
                    <a:cubicBezTo>
                      <a:pt x="770717" y="13714"/>
                      <a:pt x="757003" y="2743"/>
                      <a:pt x="743289" y="2743"/>
                    </a:cubicBezTo>
                    <a:lnTo>
                      <a:pt x="630837" y="2743"/>
                    </a:lnTo>
                    <a:cubicBezTo>
                      <a:pt x="622609" y="2743"/>
                      <a:pt x="617123" y="8228"/>
                      <a:pt x="617123" y="16456"/>
                    </a:cubicBezTo>
                    <a:cubicBezTo>
                      <a:pt x="617123" y="24685"/>
                      <a:pt x="622609" y="30170"/>
                      <a:pt x="630837" y="30170"/>
                    </a:cubicBezTo>
                    <a:lnTo>
                      <a:pt x="743289" y="30170"/>
                    </a:lnTo>
                    <a:cubicBezTo>
                      <a:pt x="743289" y="30170"/>
                      <a:pt x="743289" y="30170"/>
                      <a:pt x="743289" y="30170"/>
                    </a:cubicBezTo>
                    <a:lnTo>
                      <a:pt x="743289" y="200221"/>
                    </a:lnTo>
                    <a:cubicBezTo>
                      <a:pt x="743289" y="208450"/>
                      <a:pt x="748775" y="213935"/>
                      <a:pt x="757003" y="213935"/>
                    </a:cubicBezTo>
                    <a:cubicBezTo>
                      <a:pt x="765233" y="213935"/>
                      <a:pt x="770717" y="208450"/>
                      <a:pt x="770717" y="200221"/>
                    </a:cubicBezTo>
                    <a:lnTo>
                      <a:pt x="770717" y="65826"/>
                    </a:lnTo>
                    <a:lnTo>
                      <a:pt x="828316" y="65826"/>
                    </a:lnTo>
                    <a:cubicBezTo>
                      <a:pt x="831058" y="65826"/>
                      <a:pt x="831058" y="68569"/>
                      <a:pt x="831058" y="68569"/>
                    </a:cubicBezTo>
                    <a:lnTo>
                      <a:pt x="831058" y="554038"/>
                    </a:lnTo>
                    <a:cubicBezTo>
                      <a:pt x="831058" y="586951"/>
                      <a:pt x="806374" y="611636"/>
                      <a:pt x="773461" y="611636"/>
                    </a:cubicBezTo>
                    <a:lnTo>
                      <a:pt x="85025" y="611636"/>
                    </a:lnTo>
                    <a:cubicBezTo>
                      <a:pt x="52113" y="611636"/>
                      <a:pt x="27428" y="586951"/>
                      <a:pt x="27428" y="554038"/>
                    </a:cubicBezTo>
                    <a:lnTo>
                      <a:pt x="27428" y="65826"/>
                    </a:lnTo>
                    <a:cubicBezTo>
                      <a:pt x="27428" y="63083"/>
                      <a:pt x="30170" y="63083"/>
                      <a:pt x="30170" y="63083"/>
                    </a:cubicBezTo>
                    <a:lnTo>
                      <a:pt x="87769" y="63083"/>
                    </a:lnTo>
                    <a:lnTo>
                      <a:pt x="87769" y="540324"/>
                    </a:lnTo>
                    <a:cubicBezTo>
                      <a:pt x="87769" y="559523"/>
                      <a:pt x="104225" y="575980"/>
                      <a:pt x="123425" y="575980"/>
                    </a:cubicBezTo>
                    <a:lnTo>
                      <a:pt x="735061" y="575980"/>
                    </a:lnTo>
                    <a:cubicBezTo>
                      <a:pt x="754261" y="575980"/>
                      <a:pt x="770717" y="559523"/>
                      <a:pt x="770717" y="540324"/>
                    </a:cubicBezTo>
                    <a:lnTo>
                      <a:pt x="770717" y="257819"/>
                    </a:lnTo>
                    <a:cubicBezTo>
                      <a:pt x="770717" y="249591"/>
                      <a:pt x="765233" y="244106"/>
                      <a:pt x="757003" y="244106"/>
                    </a:cubicBezTo>
                    <a:cubicBezTo>
                      <a:pt x="748775" y="244106"/>
                      <a:pt x="743289" y="249591"/>
                      <a:pt x="743289" y="257819"/>
                    </a:cubicBezTo>
                    <a:lnTo>
                      <a:pt x="743289" y="458041"/>
                    </a:lnTo>
                    <a:lnTo>
                      <a:pt x="518384" y="458041"/>
                    </a:lnTo>
                    <a:cubicBezTo>
                      <a:pt x="488212" y="458041"/>
                      <a:pt x="463528" y="469012"/>
                      <a:pt x="444329" y="490954"/>
                    </a:cubicBezTo>
                    <a:lnTo>
                      <a:pt x="444329" y="309932"/>
                    </a:lnTo>
                    <a:cubicBezTo>
                      <a:pt x="444329" y="301704"/>
                      <a:pt x="438843" y="296218"/>
                      <a:pt x="430615" y="296218"/>
                    </a:cubicBezTo>
                    <a:cubicBezTo>
                      <a:pt x="422387" y="296218"/>
                      <a:pt x="416901" y="301704"/>
                      <a:pt x="416901" y="309932"/>
                    </a:cubicBezTo>
                    <a:lnTo>
                      <a:pt x="416901" y="490954"/>
                    </a:lnTo>
                    <a:cubicBezTo>
                      <a:pt x="397701" y="471755"/>
                      <a:pt x="373016" y="458041"/>
                      <a:pt x="342846" y="458041"/>
                    </a:cubicBezTo>
                    <a:lnTo>
                      <a:pt x="279763" y="458041"/>
                    </a:lnTo>
                    <a:cubicBezTo>
                      <a:pt x="271535" y="458041"/>
                      <a:pt x="266049" y="463527"/>
                      <a:pt x="266049" y="471755"/>
                    </a:cubicBezTo>
                    <a:cubicBezTo>
                      <a:pt x="266049" y="479983"/>
                      <a:pt x="271535" y="485469"/>
                      <a:pt x="279763" y="485469"/>
                    </a:cubicBezTo>
                    <a:lnTo>
                      <a:pt x="342846" y="485469"/>
                    </a:lnTo>
                    <a:cubicBezTo>
                      <a:pt x="378502" y="485469"/>
                      <a:pt x="408673" y="512896"/>
                      <a:pt x="416901" y="545810"/>
                    </a:cubicBezTo>
                    <a:lnTo>
                      <a:pt x="123425" y="545810"/>
                    </a:lnTo>
                    <a:cubicBezTo>
                      <a:pt x="117939" y="545810"/>
                      <a:pt x="115197" y="543067"/>
                      <a:pt x="115197" y="537581"/>
                    </a:cubicBezTo>
                    <a:lnTo>
                      <a:pt x="115197" y="485469"/>
                    </a:lnTo>
                    <a:lnTo>
                      <a:pt x="216679" y="485469"/>
                    </a:lnTo>
                    <a:cubicBezTo>
                      <a:pt x="224907" y="485469"/>
                      <a:pt x="230393" y="479983"/>
                      <a:pt x="230393" y="471755"/>
                    </a:cubicBezTo>
                    <a:cubicBezTo>
                      <a:pt x="230393" y="463527"/>
                      <a:pt x="224907" y="458041"/>
                      <a:pt x="216679" y="458041"/>
                    </a:cubicBezTo>
                    <a:lnTo>
                      <a:pt x="115197" y="458041"/>
                    </a:lnTo>
                    <a:lnTo>
                      <a:pt x="115197" y="27428"/>
                    </a:lnTo>
                    <a:cubicBezTo>
                      <a:pt x="115197" y="27428"/>
                      <a:pt x="115197" y="27428"/>
                      <a:pt x="115197" y="27428"/>
                    </a:cubicBezTo>
                    <a:lnTo>
                      <a:pt x="227649" y="27428"/>
                    </a:lnTo>
                    <a:cubicBezTo>
                      <a:pt x="235877" y="27428"/>
                      <a:pt x="241363" y="21942"/>
                      <a:pt x="241363" y="13714"/>
                    </a:cubicBezTo>
                    <a:cubicBezTo>
                      <a:pt x="241363" y="5485"/>
                      <a:pt x="235877" y="0"/>
                      <a:pt x="227649" y="0"/>
                    </a:cubicBezTo>
                    <a:lnTo>
                      <a:pt x="115197" y="0"/>
                    </a:lnTo>
                    <a:cubicBezTo>
                      <a:pt x="98739" y="0"/>
                      <a:pt x="87769" y="13714"/>
                      <a:pt x="87769" y="27428"/>
                    </a:cubicBezTo>
                    <a:lnTo>
                      <a:pt x="87769" y="32913"/>
                    </a:lnTo>
                    <a:lnTo>
                      <a:pt x="30170" y="32913"/>
                    </a:lnTo>
                    <a:cubicBezTo>
                      <a:pt x="13714" y="32913"/>
                      <a:pt x="0" y="46627"/>
                      <a:pt x="0" y="63083"/>
                    </a:cubicBezTo>
                    <a:lnTo>
                      <a:pt x="0" y="548552"/>
                    </a:lnTo>
                    <a:cubicBezTo>
                      <a:pt x="0" y="595179"/>
                      <a:pt x="38399" y="633578"/>
                      <a:pt x="85025" y="633578"/>
                    </a:cubicBezTo>
                    <a:lnTo>
                      <a:pt x="773461" y="633578"/>
                    </a:lnTo>
                    <a:cubicBezTo>
                      <a:pt x="820088" y="633578"/>
                      <a:pt x="858486" y="595179"/>
                      <a:pt x="858486" y="548552"/>
                    </a:cubicBezTo>
                    <a:lnTo>
                      <a:pt x="858486" y="65826"/>
                    </a:lnTo>
                    <a:cubicBezTo>
                      <a:pt x="858486" y="49369"/>
                      <a:pt x="844772" y="35656"/>
                      <a:pt x="828316" y="35656"/>
                    </a:cubicBezTo>
                    <a:lnTo>
                      <a:pt x="828316" y="35656"/>
                    </a:lnTo>
                    <a:close/>
                    <a:moveTo>
                      <a:pt x="518384" y="485469"/>
                    </a:moveTo>
                    <a:lnTo>
                      <a:pt x="743289" y="485469"/>
                    </a:lnTo>
                    <a:lnTo>
                      <a:pt x="743289" y="537581"/>
                    </a:lnTo>
                    <a:cubicBezTo>
                      <a:pt x="743289" y="543067"/>
                      <a:pt x="740547" y="545810"/>
                      <a:pt x="735061" y="545810"/>
                    </a:cubicBezTo>
                    <a:lnTo>
                      <a:pt x="444329" y="545810"/>
                    </a:lnTo>
                    <a:cubicBezTo>
                      <a:pt x="452557" y="512896"/>
                      <a:pt x="482726" y="485469"/>
                      <a:pt x="518384" y="485469"/>
                    </a:cubicBezTo>
                    <a:lnTo>
                      <a:pt x="518384" y="485469"/>
                    </a:lnTo>
                    <a:close/>
                  </a:path>
                </a:pathLst>
              </a:custGeom>
              <a:grpFill/>
              <a:ln w="27426" cap="flat">
                <a:noFill/>
                <a:prstDash val="solid"/>
                <a:miter/>
              </a:ln>
            </p:spPr>
            <p:txBody>
              <a:bodyPr rtlCol="0" anchor="ctr"/>
              <a:lstStyle/>
              <a:p>
                <a:pPr algn="l" rtl="0"/>
                <a:endParaRPr lang="en-US"/>
              </a:p>
            </p:txBody>
          </p:sp>
          <p:sp>
            <p:nvSpPr>
              <p:cNvPr id="20" name="Freeform 19">
                <a:extLst>
                  <a:ext uri="{FF2B5EF4-FFF2-40B4-BE49-F238E27FC236}">
                    <a16:creationId xmlns:a16="http://schemas.microsoft.com/office/drawing/2014/main" id="{57978BCC-BC8D-1513-D674-EA7418F67543}"/>
                  </a:ext>
                </a:extLst>
              </p:cNvPr>
              <p:cNvSpPr/>
              <p:nvPr/>
            </p:nvSpPr>
            <p:spPr>
              <a:xfrm>
                <a:off x="3043831" y="3683011"/>
                <a:ext cx="398414" cy="562266"/>
              </a:xfrm>
              <a:custGeom>
                <a:avLst/>
                <a:gdLst>
                  <a:gd name="connsiteX0" fmla="*/ 11685 w 398414"/>
                  <a:gd name="connsiteY0" fmla="*/ 200221 h 562266"/>
                  <a:gd name="connsiteX1" fmla="*/ 28141 w 398414"/>
                  <a:gd name="connsiteY1" fmla="*/ 186508 h 562266"/>
                  <a:gd name="connsiteX2" fmla="*/ 82996 w 398414"/>
                  <a:gd name="connsiteY2" fmla="*/ 76797 h 562266"/>
                  <a:gd name="connsiteX3" fmla="*/ 198193 w 398414"/>
                  <a:gd name="connsiteY3" fmla="*/ 32913 h 562266"/>
                  <a:gd name="connsiteX4" fmla="*/ 368245 w 398414"/>
                  <a:gd name="connsiteY4" fmla="*/ 202964 h 562266"/>
                  <a:gd name="connsiteX5" fmla="*/ 338073 w 398414"/>
                  <a:gd name="connsiteY5" fmla="*/ 301704 h 562266"/>
                  <a:gd name="connsiteX6" fmla="*/ 338073 w 398414"/>
                  <a:gd name="connsiteY6" fmla="*/ 301704 h 562266"/>
                  <a:gd name="connsiteX7" fmla="*/ 250304 w 398414"/>
                  <a:gd name="connsiteY7" fmla="*/ 441584 h 562266"/>
                  <a:gd name="connsiteX8" fmla="*/ 247562 w 398414"/>
                  <a:gd name="connsiteY8" fmla="*/ 449813 h 562266"/>
                  <a:gd name="connsiteX9" fmla="*/ 247562 w 398414"/>
                  <a:gd name="connsiteY9" fmla="*/ 469012 h 562266"/>
                  <a:gd name="connsiteX10" fmla="*/ 242076 w 398414"/>
                  <a:gd name="connsiteY10" fmla="*/ 474498 h 562266"/>
                  <a:gd name="connsiteX11" fmla="*/ 242076 w 398414"/>
                  <a:gd name="connsiteY11" fmla="*/ 474498 h 562266"/>
                  <a:gd name="connsiteX12" fmla="*/ 250304 w 398414"/>
                  <a:gd name="connsiteY12" fmla="*/ 323646 h 562266"/>
                  <a:gd name="connsiteX13" fmla="*/ 266762 w 398414"/>
                  <a:gd name="connsiteY13" fmla="*/ 323646 h 562266"/>
                  <a:gd name="connsiteX14" fmla="*/ 307904 w 398414"/>
                  <a:gd name="connsiteY14" fmla="*/ 282504 h 562266"/>
                  <a:gd name="connsiteX15" fmla="*/ 307904 w 398414"/>
                  <a:gd name="connsiteY15" fmla="*/ 279762 h 562266"/>
                  <a:gd name="connsiteX16" fmla="*/ 266762 w 398414"/>
                  <a:gd name="connsiteY16" fmla="*/ 238620 h 562266"/>
                  <a:gd name="connsiteX17" fmla="*/ 225621 w 398414"/>
                  <a:gd name="connsiteY17" fmla="*/ 277019 h 562266"/>
                  <a:gd name="connsiteX18" fmla="*/ 225621 w 398414"/>
                  <a:gd name="connsiteY18" fmla="*/ 293475 h 562266"/>
                  <a:gd name="connsiteX19" fmla="*/ 176251 w 398414"/>
                  <a:gd name="connsiteY19" fmla="*/ 293475 h 562266"/>
                  <a:gd name="connsiteX20" fmla="*/ 176251 w 398414"/>
                  <a:gd name="connsiteY20" fmla="*/ 277019 h 562266"/>
                  <a:gd name="connsiteX21" fmla="*/ 135110 w 398414"/>
                  <a:gd name="connsiteY21" fmla="*/ 238620 h 562266"/>
                  <a:gd name="connsiteX22" fmla="*/ 93968 w 398414"/>
                  <a:gd name="connsiteY22" fmla="*/ 279762 h 562266"/>
                  <a:gd name="connsiteX23" fmla="*/ 93968 w 398414"/>
                  <a:gd name="connsiteY23" fmla="*/ 282504 h 562266"/>
                  <a:gd name="connsiteX24" fmla="*/ 135110 w 398414"/>
                  <a:gd name="connsiteY24" fmla="*/ 323646 h 562266"/>
                  <a:gd name="connsiteX25" fmla="*/ 151565 w 398414"/>
                  <a:gd name="connsiteY25" fmla="*/ 323646 h 562266"/>
                  <a:gd name="connsiteX26" fmla="*/ 159793 w 398414"/>
                  <a:gd name="connsiteY26" fmla="*/ 474498 h 562266"/>
                  <a:gd name="connsiteX27" fmla="*/ 154308 w 398414"/>
                  <a:gd name="connsiteY27" fmla="*/ 469012 h 562266"/>
                  <a:gd name="connsiteX28" fmla="*/ 154308 w 398414"/>
                  <a:gd name="connsiteY28" fmla="*/ 449813 h 562266"/>
                  <a:gd name="connsiteX29" fmla="*/ 151565 w 398414"/>
                  <a:gd name="connsiteY29" fmla="*/ 441584 h 562266"/>
                  <a:gd name="connsiteX30" fmla="*/ 63797 w 398414"/>
                  <a:gd name="connsiteY30" fmla="*/ 301704 h 562266"/>
                  <a:gd name="connsiteX31" fmla="*/ 63797 w 398414"/>
                  <a:gd name="connsiteY31" fmla="*/ 301704 h 562266"/>
                  <a:gd name="connsiteX32" fmla="*/ 36369 w 398414"/>
                  <a:gd name="connsiteY32" fmla="*/ 241363 h 562266"/>
                  <a:gd name="connsiteX33" fmla="*/ 19913 w 398414"/>
                  <a:gd name="connsiteY33" fmla="*/ 230392 h 562266"/>
                  <a:gd name="connsiteX34" fmla="*/ 8941 w 398414"/>
                  <a:gd name="connsiteY34" fmla="*/ 246849 h 562266"/>
                  <a:gd name="connsiteX35" fmla="*/ 39113 w 398414"/>
                  <a:gd name="connsiteY35" fmla="*/ 315418 h 562266"/>
                  <a:gd name="connsiteX36" fmla="*/ 126880 w 398414"/>
                  <a:gd name="connsiteY36" fmla="*/ 449813 h 562266"/>
                  <a:gd name="connsiteX37" fmla="*/ 126880 w 398414"/>
                  <a:gd name="connsiteY37" fmla="*/ 463527 h 562266"/>
                  <a:gd name="connsiteX38" fmla="*/ 146080 w 398414"/>
                  <a:gd name="connsiteY38" fmla="*/ 493697 h 562266"/>
                  <a:gd name="connsiteX39" fmla="*/ 146080 w 398414"/>
                  <a:gd name="connsiteY39" fmla="*/ 518382 h 562266"/>
                  <a:gd name="connsiteX40" fmla="*/ 189965 w 398414"/>
                  <a:gd name="connsiteY40" fmla="*/ 562266 h 562266"/>
                  <a:gd name="connsiteX41" fmla="*/ 211907 w 398414"/>
                  <a:gd name="connsiteY41" fmla="*/ 562266 h 562266"/>
                  <a:gd name="connsiteX42" fmla="*/ 255790 w 398414"/>
                  <a:gd name="connsiteY42" fmla="*/ 518382 h 562266"/>
                  <a:gd name="connsiteX43" fmla="*/ 255790 w 398414"/>
                  <a:gd name="connsiteY43" fmla="*/ 493697 h 562266"/>
                  <a:gd name="connsiteX44" fmla="*/ 274990 w 398414"/>
                  <a:gd name="connsiteY44" fmla="*/ 463527 h 562266"/>
                  <a:gd name="connsiteX45" fmla="*/ 274990 w 398414"/>
                  <a:gd name="connsiteY45" fmla="*/ 449813 h 562266"/>
                  <a:gd name="connsiteX46" fmla="*/ 362759 w 398414"/>
                  <a:gd name="connsiteY46" fmla="*/ 315418 h 562266"/>
                  <a:gd name="connsiteX47" fmla="*/ 398415 w 398414"/>
                  <a:gd name="connsiteY47" fmla="*/ 200221 h 562266"/>
                  <a:gd name="connsiteX48" fmla="*/ 198193 w 398414"/>
                  <a:gd name="connsiteY48" fmla="*/ 0 h 562266"/>
                  <a:gd name="connsiteX49" fmla="*/ 63797 w 398414"/>
                  <a:gd name="connsiteY49" fmla="*/ 52112 h 562266"/>
                  <a:gd name="connsiteX50" fmla="*/ 713 w 398414"/>
                  <a:gd name="connsiteY50" fmla="*/ 181022 h 562266"/>
                  <a:gd name="connsiteX51" fmla="*/ 11685 w 398414"/>
                  <a:gd name="connsiteY51" fmla="*/ 200221 h 562266"/>
                  <a:gd name="connsiteX52" fmla="*/ 11685 w 398414"/>
                  <a:gd name="connsiteY52" fmla="*/ 200221 h 562266"/>
                  <a:gd name="connsiteX53" fmla="*/ 250304 w 398414"/>
                  <a:gd name="connsiteY53" fmla="*/ 279762 h 562266"/>
                  <a:gd name="connsiteX54" fmla="*/ 264018 w 398414"/>
                  <a:gd name="connsiteY54" fmla="*/ 266048 h 562266"/>
                  <a:gd name="connsiteX55" fmla="*/ 277732 w 398414"/>
                  <a:gd name="connsiteY55" fmla="*/ 279762 h 562266"/>
                  <a:gd name="connsiteX56" fmla="*/ 277732 w 398414"/>
                  <a:gd name="connsiteY56" fmla="*/ 282504 h 562266"/>
                  <a:gd name="connsiteX57" fmla="*/ 264018 w 398414"/>
                  <a:gd name="connsiteY57" fmla="*/ 296218 h 562266"/>
                  <a:gd name="connsiteX58" fmla="*/ 247562 w 398414"/>
                  <a:gd name="connsiteY58" fmla="*/ 296218 h 562266"/>
                  <a:gd name="connsiteX59" fmla="*/ 250304 w 398414"/>
                  <a:gd name="connsiteY59" fmla="*/ 279762 h 562266"/>
                  <a:gd name="connsiteX60" fmla="*/ 129624 w 398414"/>
                  <a:gd name="connsiteY60" fmla="*/ 293475 h 562266"/>
                  <a:gd name="connsiteX61" fmla="*/ 115910 w 398414"/>
                  <a:gd name="connsiteY61" fmla="*/ 279762 h 562266"/>
                  <a:gd name="connsiteX62" fmla="*/ 115910 w 398414"/>
                  <a:gd name="connsiteY62" fmla="*/ 277019 h 562266"/>
                  <a:gd name="connsiteX63" fmla="*/ 129624 w 398414"/>
                  <a:gd name="connsiteY63" fmla="*/ 263305 h 562266"/>
                  <a:gd name="connsiteX64" fmla="*/ 143338 w 398414"/>
                  <a:gd name="connsiteY64" fmla="*/ 277019 h 562266"/>
                  <a:gd name="connsiteX65" fmla="*/ 143338 w 398414"/>
                  <a:gd name="connsiteY65" fmla="*/ 293475 h 562266"/>
                  <a:gd name="connsiteX66" fmla="*/ 129624 w 398414"/>
                  <a:gd name="connsiteY66" fmla="*/ 293475 h 562266"/>
                  <a:gd name="connsiteX67" fmla="*/ 220135 w 398414"/>
                  <a:gd name="connsiteY67" fmla="*/ 323646 h 562266"/>
                  <a:gd name="connsiteX68" fmla="*/ 211907 w 398414"/>
                  <a:gd name="connsiteY68" fmla="*/ 474498 h 562266"/>
                  <a:gd name="connsiteX69" fmla="*/ 184479 w 398414"/>
                  <a:gd name="connsiteY69" fmla="*/ 474498 h 562266"/>
                  <a:gd name="connsiteX70" fmla="*/ 176251 w 398414"/>
                  <a:gd name="connsiteY70" fmla="*/ 323646 h 562266"/>
                  <a:gd name="connsiteX71" fmla="*/ 220135 w 398414"/>
                  <a:gd name="connsiteY71" fmla="*/ 323646 h 562266"/>
                  <a:gd name="connsiteX72" fmla="*/ 225621 w 398414"/>
                  <a:gd name="connsiteY72" fmla="*/ 521125 h 562266"/>
                  <a:gd name="connsiteX73" fmla="*/ 209163 w 398414"/>
                  <a:gd name="connsiteY73" fmla="*/ 537581 h 562266"/>
                  <a:gd name="connsiteX74" fmla="*/ 187221 w 398414"/>
                  <a:gd name="connsiteY74" fmla="*/ 537581 h 562266"/>
                  <a:gd name="connsiteX75" fmla="*/ 170765 w 398414"/>
                  <a:gd name="connsiteY75" fmla="*/ 521125 h 562266"/>
                  <a:gd name="connsiteX76" fmla="*/ 170765 w 398414"/>
                  <a:gd name="connsiteY76" fmla="*/ 499183 h 562266"/>
                  <a:gd name="connsiteX77" fmla="*/ 225621 w 398414"/>
                  <a:gd name="connsiteY77" fmla="*/ 499183 h 562266"/>
                  <a:gd name="connsiteX78" fmla="*/ 225621 w 398414"/>
                  <a:gd name="connsiteY78" fmla="*/ 521125 h 562266"/>
                  <a:gd name="connsiteX79" fmla="*/ 225621 w 398414"/>
                  <a:gd name="connsiteY79" fmla="*/ 521125 h 56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98414" h="562266">
                    <a:moveTo>
                      <a:pt x="11685" y="200221"/>
                    </a:moveTo>
                    <a:cubicBezTo>
                      <a:pt x="19913" y="200221"/>
                      <a:pt x="25399" y="194736"/>
                      <a:pt x="28141" y="186508"/>
                    </a:cubicBezTo>
                    <a:cubicBezTo>
                      <a:pt x="30883" y="145366"/>
                      <a:pt x="52827" y="104225"/>
                      <a:pt x="82996" y="76797"/>
                    </a:cubicBezTo>
                    <a:cubicBezTo>
                      <a:pt x="115910" y="46627"/>
                      <a:pt x="154308" y="32913"/>
                      <a:pt x="198193" y="32913"/>
                    </a:cubicBezTo>
                    <a:cubicBezTo>
                      <a:pt x="291446" y="32913"/>
                      <a:pt x="368245" y="109710"/>
                      <a:pt x="368245" y="202964"/>
                    </a:cubicBezTo>
                    <a:cubicBezTo>
                      <a:pt x="368245" y="238620"/>
                      <a:pt x="357273" y="271533"/>
                      <a:pt x="338073" y="301704"/>
                    </a:cubicBezTo>
                    <a:cubicBezTo>
                      <a:pt x="338073" y="301704"/>
                      <a:pt x="338073" y="301704"/>
                      <a:pt x="338073" y="301704"/>
                    </a:cubicBezTo>
                    <a:lnTo>
                      <a:pt x="250304" y="441584"/>
                    </a:lnTo>
                    <a:cubicBezTo>
                      <a:pt x="247562" y="444327"/>
                      <a:pt x="247562" y="447070"/>
                      <a:pt x="247562" y="449813"/>
                    </a:cubicBezTo>
                    <a:lnTo>
                      <a:pt x="247562" y="469012"/>
                    </a:lnTo>
                    <a:cubicBezTo>
                      <a:pt x="247562" y="471755"/>
                      <a:pt x="244820" y="474498"/>
                      <a:pt x="242076" y="474498"/>
                    </a:cubicBezTo>
                    <a:lnTo>
                      <a:pt x="242076" y="474498"/>
                    </a:lnTo>
                    <a:lnTo>
                      <a:pt x="250304" y="323646"/>
                    </a:lnTo>
                    <a:lnTo>
                      <a:pt x="266762" y="323646"/>
                    </a:lnTo>
                    <a:cubicBezTo>
                      <a:pt x="288704" y="323646"/>
                      <a:pt x="307904" y="304446"/>
                      <a:pt x="307904" y="282504"/>
                    </a:cubicBezTo>
                    <a:lnTo>
                      <a:pt x="307904" y="279762"/>
                    </a:lnTo>
                    <a:cubicBezTo>
                      <a:pt x="307904" y="257819"/>
                      <a:pt x="288704" y="238620"/>
                      <a:pt x="266762" y="238620"/>
                    </a:cubicBezTo>
                    <a:cubicBezTo>
                      <a:pt x="244820" y="238620"/>
                      <a:pt x="225621" y="255077"/>
                      <a:pt x="225621" y="277019"/>
                    </a:cubicBezTo>
                    <a:lnTo>
                      <a:pt x="225621" y="293475"/>
                    </a:lnTo>
                    <a:lnTo>
                      <a:pt x="176251" y="293475"/>
                    </a:lnTo>
                    <a:lnTo>
                      <a:pt x="176251" y="277019"/>
                    </a:lnTo>
                    <a:cubicBezTo>
                      <a:pt x="176251" y="255077"/>
                      <a:pt x="157051" y="238620"/>
                      <a:pt x="135110" y="238620"/>
                    </a:cubicBezTo>
                    <a:cubicBezTo>
                      <a:pt x="113166" y="238620"/>
                      <a:pt x="93968" y="257819"/>
                      <a:pt x="93968" y="279762"/>
                    </a:cubicBezTo>
                    <a:lnTo>
                      <a:pt x="93968" y="282504"/>
                    </a:lnTo>
                    <a:cubicBezTo>
                      <a:pt x="93968" y="304446"/>
                      <a:pt x="113166" y="323646"/>
                      <a:pt x="135110" y="323646"/>
                    </a:cubicBezTo>
                    <a:lnTo>
                      <a:pt x="151565" y="323646"/>
                    </a:lnTo>
                    <a:lnTo>
                      <a:pt x="159793" y="474498"/>
                    </a:lnTo>
                    <a:cubicBezTo>
                      <a:pt x="157051" y="474498"/>
                      <a:pt x="154308" y="471755"/>
                      <a:pt x="154308" y="469012"/>
                    </a:cubicBezTo>
                    <a:lnTo>
                      <a:pt x="154308" y="449813"/>
                    </a:lnTo>
                    <a:cubicBezTo>
                      <a:pt x="154308" y="447070"/>
                      <a:pt x="154308" y="444327"/>
                      <a:pt x="151565" y="441584"/>
                    </a:cubicBezTo>
                    <a:lnTo>
                      <a:pt x="63797" y="301704"/>
                    </a:lnTo>
                    <a:cubicBezTo>
                      <a:pt x="63797" y="301704"/>
                      <a:pt x="63797" y="301704"/>
                      <a:pt x="63797" y="301704"/>
                    </a:cubicBezTo>
                    <a:cubicBezTo>
                      <a:pt x="50083" y="282504"/>
                      <a:pt x="41855" y="263305"/>
                      <a:pt x="36369" y="241363"/>
                    </a:cubicBezTo>
                    <a:cubicBezTo>
                      <a:pt x="33627" y="233135"/>
                      <a:pt x="28141" y="230392"/>
                      <a:pt x="19913" y="230392"/>
                    </a:cubicBezTo>
                    <a:cubicBezTo>
                      <a:pt x="11685" y="233135"/>
                      <a:pt x="8941" y="238620"/>
                      <a:pt x="8941" y="246849"/>
                    </a:cubicBezTo>
                    <a:cubicBezTo>
                      <a:pt x="14427" y="271533"/>
                      <a:pt x="25399" y="296218"/>
                      <a:pt x="39113" y="315418"/>
                    </a:cubicBezTo>
                    <a:lnTo>
                      <a:pt x="126880" y="449813"/>
                    </a:lnTo>
                    <a:lnTo>
                      <a:pt x="126880" y="463527"/>
                    </a:lnTo>
                    <a:cubicBezTo>
                      <a:pt x="126880" y="477240"/>
                      <a:pt x="135110" y="490954"/>
                      <a:pt x="146080" y="493697"/>
                    </a:cubicBezTo>
                    <a:lnTo>
                      <a:pt x="146080" y="518382"/>
                    </a:lnTo>
                    <a:cubicBezTo>
                      <a:pt x="146080" y="543067"/>
                      <a:pt x="165279" y="562266"/>
                      <a:pt x="189965" y="562266"/>
                    </a:cubicBezTo>
                    <a:lnTo>
                      <a:pt x="211907" y="562266"/>
                    </a:lnTo>
                    <a:cubicBezTo>
                      <a:pt x="236591" y="562266"/>
                      <a:pt x="255790" y="543067"/>
                      <a:pt x="255790" y="518382"/>
                    </a:cubicBezTo>
                    <a:lnTo>
                      <a:pt x="255790" y="493697"/>
                    </a:lnTo>
                    <a:cubicBezTo>
                      <a:pt x="266762" y="488211"/>
                      <a:pt x="274990" y="477240"/>
                      <a:pt x="274990" y="463527"/>
                    </a:cubicBezTo>
                    <a:lnTo>
                      <a:pt x="274990" y="449813"/>
                    </a:lnTo>
                    <a:lnTo>
                      <a:pt x="362759" y="315418"/>
                    </a:lnTo>
                    <a:cubicBezTo>
                      <a:pt x="387443" y="282504"/>
                      <a:pt x="398415" y="241363"/>
                      <a:pt x="398415" y="200221"/>
                    </a:cubicBezTo>
                    <a:cubicBezTo>
                      <a:pt x="398415" y="90511"/>
                      <a:pt x="307904" y="0"/>
                      <a:pt x="198193" y="0"/>
                    </a:cubicBezTo>
                    <a:cubicBezTo>
                      <a:pt x="148823" y="0"/>
                      <a:pt x="99452" y="19199"/>
                      <a:pt x="63797" y="52112"/>
                    </a:cubicBezTo>
                    <a:cubicBezTo>
                      <a:pt x="28141" y="85025"/>
                      <a:pt x="3455" y="131652"/>
                      <a:pt x="713" y="181022"/>
                    </a:cubicBezTo>
                    <a:cubicBezTo>
                      <a:pt x="-2029" y="191993"/>
                      <a:pt x="3455" y="197479"/>
                      <a:pt x="11685" y="200221"/>
                    </a:cubicBezTo>
                    <a:lnTo>
                      <a:pt x="11685" y="200221"/>
                    </a:lnTo>
                    <a:close/>
                    <a:moveTo>
                      <a:pt x="250304" y="279762"/>
                    </a:moveTo>
                    <a:cubicBezTo>
                      <a:pt x="250304" y="271533"/>
                      <a:pt x="255790" y="266048"/>
                      <a:pt x="264018" y="266048"/>
                    </a:cubicBezTo>
                    <a:cubicBezTo>
                      <a:pt x="272248" y="266048"/>
                      <a:pt x="277732" y="271533"/>
                      <a:pt x="277732" y="279762"/>
                    </a:cubicBezTo>
                    <a:lnTo>
                      <a:pt x="277732" y="282504"/>
                    </a:lnTo>
                    <a:cubicBezTo>
                      <a:pt x="277732" y="290733"/>
                      <a:pt x="272248" y="296218"/>
                      <a:pt x="264018" y="296218"/>
                    </a:cubicBezTo>
                    <a:lnTo>
                      <a:pt x="247562" y="296218"/>
                    </a:lnTo>
                    <a:lnTo>
                      <a:pt x="250304" y="279762"/>
                    </a:lnTo>
                    <a:close/>
                    <a:moveTo>
                      <a:pt x="129624" y="293475"/>
                    </a:moveTo>
                    <a:cubicBezTo>
                      <a:pt x="121396" y="293475"/>
                      <a:pt x="115910" y="287990"/>
                      <a:pt x="115910" y="279762"/>
                    </a:cubicBezTo>
                    <a:lnTo>
                      <a:pt x="115910" y="277019"/>
                    </a:lnTo>
                    <a:cubicBezTo>
                      <a:pt x="115910" y="268790"/>
                      <a:pt x="121396" y="263305"/>
                      <a:pt x="129624" y="263305"/>
                    </a:cubicBezTo>
                    <a:cubicBezTo>
                      <a:pt x="137852" y="263305"/>
                      <a:pt x="143338" y="268790"/>
                      <a:pt x="143338" y="277019"/>
                    </a:cubicBezTo>
                    <a:lnTo>
                      <a:pt x="143338" y="293475"/>
                    </a:lnTo>
                    <a:lnTo>
                      <a:pt x="129624" y="293475"/>
                    </a:lnTo>
                    <a:close/>
                    <a:moveTo>
                      <a:pt x="220135" y="323646"/>
                    </a:moveTo>
                    <a:lnTo>
                      <a:pt x="211907" y="474498"/>
                    </a:lnTo>
                    <a:lnTo>
                      <a:pt x="184479" y="474498"/>
                    </a:lnTo>
                    <a:lnTo>
                      <a:pt x="176251" y="323646"/>
                    </a:lnTo>
                    <a:lnTo>
                      <a:pt x="220135" y="323646"/>
                    </a:lnTo>
                    <a:close/>
                    <a:moveTo>
                      <a:pt x="225621" y="521125"/>
                    </a:moveTo>
                    <a:cubicBezTo>
                      <a:pt x="225621" y="529353"/>
                      <a:pt x="217393" y="537581"/>
                      <a:pt x="209163" y="537581"/>
                    </a:cubicBezTo>
                    <a:lnTo>
                      <a:pt x="187221" y="537581"/>
                    </a:lnTo>
                    <a:cubicBezTo>
                      <a:pt x="178993" y="537581"/>
                      <a:pt x="170765" y="529353"/>
                      <a:pt x="170765" y="521125"/>
                    </a:cubicBezTo>
                    <a:lnTo>
                      <a:pt x="170765" y="499183"/>
                    </a:lnTo>
                    <a:lnTo>
                      <a:pt x="225621" y="499183"/>
                    </a:lnTo>
                    <a:lnTo>
                      <a:pt x="225621" y="521125"/>
                    </a:lnTo>
                    <a:lnTo>
                      <a:pt x="225621" y="521125"/>
                    </a:lnTo>
                    <a:close/>
                  </a:path>
                </a:pathLst>
              </a:custGeom>
              <a:grpFill/>
              <a:ln w="27426" cap="flat">
                <a:noFill/>
                <a:prstDash val="solid"/>
                <a:miter/>
              </a:ln>
            </p:spPr>
            <p:txBody>
              <a:bodyPr rtlCol="0" anchor="ctr"/>
              <a:lstStyle/>
              <a:p>
                <a:pPr algn="l" rtl="0"/>
                <a:endParaRPr lang="en-US"/>
              </a:p>
            </p:txBody>
          </p:sp>
          <p:sp>
            <p:nvSpPr>
              <p:cNvPr id="21" name="Freeform 20">
                <a:extLst>
                  <a:ext uri="{FF2B5EF4-FFF2-40B4-BE49-F238E27FC236}">
                    <a16:creationId xmlns:a16="http://schemas.microsoft.com/office/drawing/2014/main" id="{2CC77303-8155-19AF-5218-4CD076866EF8}"/>
                  </a:ext>
                </a:extLst>
              </p:cNvPr>
              <p:cNvSpPr/>
              <p:nvPr/>
            </p:nvSpPr>
            <p:spPr>
              <a:xfrm>
                <a:off x="3471045" y="3739238"/>
                <a:ext cx="57598" cy="53483"/>
              </a:xfrm>
              <a:custGeom>
                <a:avLst/>
                <a:gdLst>
                  <a:gd name="connsiteX0" fmla="*/ 15084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4 w 57598"/>
                  <a:gd name="connsiteY4" fmla="*/ 4114 h 53483"/>
                  <a:gd name="connsiteX5" fmla="*/ 4114 w 57598"/>
                  <a:gd name="connsiteY5" fmla="*/ 31542 h 53483"/>
                  <a:gd name="connsiteX6" fmla="*/ 4114 w 57598"/>
                  <a:gd name="connsiteY6" fmla="*/ 50741 h 53483"/>
                  <a:gd name="connsiteX7" fmla="*/ 15084 w 57598"/>
                  <a:gd name="connsiteY7" fmla="*/ 53484 h 53483"/>
                  <a:gd name="connsiteX8" fmla="*/ 15084 w 57598"/>
                  <a:gd name="connsiteY8"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3483">
                    <a:moveTo>
                      <a:pt x="15084" y="53484"/>
                    </a:moveTo>
                    <a:cubicBezTo>
                      <a:pt x="17828" y="53484"/>
                      <a:pt x="20570" y="53484"/>
                      <a:pt x="23314" y="50741"/>
                    </a:cubicBezTo>
                    <a:lnTo>
                      <a:pt x="53484" y="23313"/>
                    </a:lnTo>
                    <a:cubicBezTo>
                      <a:pt x="58970" y="17828"/>
                      <a:pt x="58970" y="9600"/>
                      <a:pt x="53484" y="4114"/>
                    </a:cubicBezTo>
                    <a:cubicBezTo>
                      <a:pt x="47998" y="-1371"/>
                      <a:pt x="39770" y="-1371"/>
                      <a:pt x="34284" y="4114"/>
                    </a:cubicBezTo>
                    <a:lnTo>
                      <a:pt x="4114" y="31542"/>
                    </a:lnTo>
                    <a:cubicBezTo>
                      <a:pt x="-1371" y="37027"/>
                      <a:pt x="-1371" y="45256"/>
                      <a:pt x="4114" y="50741"/>
                    </a:cubicBezTo>
                    <a:cubicBezTo>
                      <a:pt x="6857" y="50741"/>
                      <a:pt x="9600" y="53484"/>
                      <a:pt x="15084" y="53484"/>
                    </a:cubicBezTo>
                    <a:lnTo>
                      <a:pt x="15084" y="53484"/>
                    </a:lnTo>
                    <a:close/>
                  </a:path>
                </a:pathLst>
              </a:custGeom>
              <a:grpFill/>
              <a:ln w="27426" cap="flat">
                <a:noFill/>
                <a:prstDash val="solid"/>
                <a:miter/>
              </a:ln>
            </p:spPr>
            <p:txBody>
              <a:bodyPr rtlCol="0" anchor="ctr"/>
              <a:lstStyle/>
              <a:p>
                <a:pPr algn="l" rtl="0"/>
                <a:endParaRPr lang="en-US"/>
              </a:p>
            </p:txBody>
          </p:sp>
          <p:sp>
            <p:nvSpPr>
              <p:cNvPr id="22" name="Freeform 21">
                <a:extLst>
                  <a:ext uri="{FF2B5EF4-FFF2-40B4-BE49-F238E27FC236}">
                    <a16:creationId xmlns:a16="http://schemas.microsoft.com/office/drawing/2014/main" id="{23753D00-5896-D98A-A96E-A2449B2F74BB}"/>
                  </a:ext>
                </a:extLst>
              </p:cNvPr>
              <p:cNvSpPr/>
              <p:nvPr/>
            </p:nvSpPr>
            <p:spPr>
              <a:xfrm>
                <a:off x="3471045" y="3851691"/>
                <a:ext cx="57598" cy="56226"/>
              </a:xfrm>
              <a:custGeom>
                <a:avLst/>
                <a:gdLst>
                  <a:gd name="connsiteX0" fmla="*/ 4114 w 57598"/>
                  <a:gd name="connsiteY0" fmla="*/ 26056 h 56226"/>
                  <a:gd name="connsiteX1" fmla="*/ 34284 w 57598"/>
                  <a:gd name="connsiteY1" fmla="*/ 53484 h 56226"/>
                  <a:gd name="connsiteX2" fmla="*/ 42512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 name="connsiteX8" fmla="*/ 4114 w 57598"/>
                  <a:gd name="connsiteY8"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6226">
                    <a:moveTo>
                      <a:pt x="4114" y="26056"/>
                    </a:moveTo>
                    <a:lnTo>
                      <a:pt x="34284" y="53484"/>
                    </a:lnTo>
                    <a:cubicBezTo>
                      <a:pt x="37028" y="56227"/>
                      <a:pt x="39770" y="56227"/>
                      <a:pt x="42512" y="56227"/>
                    </a:cubicBezTo>
                    <a:cubicBezTo>
                      <a:pt x="45256" y="56227"/>
                      <a:pt x="50742" y="53484"/>
                      <a:pt x="53484" y="50741"/>
                    </a:cubicBezTo>
                    <a:cubicBezTo>
                      <a:pt x="58970" y="45256"/>
                      <a:pt x="58970" y="37028"/>
                      <a:pt x="53484" y="31542"/>
                    </a:cubicBezTo>
                    <a:lnTo>
                      <a:pt x="23314" y="4114"/>
                    </a:lnTo>
                    <a:cubicBezTo>
                      <a:pt x="17828" y="-1371"/>
                      <a:pt x="9600" y="-1371"/>
                      <a:pt x="4114" y="4114"/>
                    </a:cubicBezTo>
                    <a:cubicBezTo>
                      <a:pt x="-1371" y="12342"/>
                      <a:pt x="-1371" y="20571"/>
                      <a:pt x="4114" y="26056"/>
                    </a:cubicBezTo>
                    <a:lnTo>
                      <a:pt x="4114" y="26056"/>
                    </a:lnTo>
                    <a:close/>
                  </a:path>
                </a:pathLst>
              </a:custGeom>
              <a:grpFill/>
              <a:ln w="27426" cap="flat">
                <a:noFill/>
                <a:prstDash val="solid"/>
                <a:miter/>
              </a:ln>
            </p:spPr>
            <p:txBody>
              <a:bodyPr rtlCol="0" anchor="ctr"/>
              <a:lstStyle/>
              <a:p>
                <a:pPr algn="l" rtl="0"/>
                <a:endParaRPr lang="en-US"/>
              </a:p>
            </p:txBody>
          </p:sp>
          <p:sp>
            <p:nvSpPr>
              <p:cNvPr id="23" name="Freeform 22">
                <a:extLst>
                  <a:ext uri="{FF2B5EF4-FFF2-40B4-BE49-F238E27FC236}">
                    <a16:creationId xmlns:a16="http://schemas.microsoft.com/office/drawing/2014/main" id="{32782DD9-EE1A-6C19-DAAE-0D3AA5586276}"/>
                  </a:ext>
                </a:extLst>
              </p:cNvPr>
              <p:cNvSpPr/>
              <p:nvPr/>
            </p:nvSpPr>
            <p:spPr>
              <a:xfrm>
                <a:off x="2952661" y="3736495"/>
                <a:ext cx="57598" cy="56226"/>
              </a:xfrm>
              <a:custGeom>
                <a:avLst/>
                <a:gdLst>
                  <a:gd name="connsiteX0" fmla="*/ 4114 w 57598"/>
                  <a:gd name="connsiteY0" fmla="*/ 26056 h 56226"/>
                  <a:gd name="connsiteX1" fmla="*/ 34286 w 57598"/>
                  <a:gd name="connsiteY1" fmla="*/ 53484 h 56226"/>
                  <a:gd name="connsiteX2" fmla="*/ 42514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6226">
                    <a:moveTo>
                      <a:pt x="4114" y="26056"/>
                    </a:moveTo>
                    <a:lnTo>
                      <a:pt x="34286" y="53484"/>
                    </a:lnTo>
                    <a:cubicBezTo>
                      <a:pt x="37028" y="56227"/>
                      <a:pt x="39770" y="56227"/>
                      <a:pt x="42514" y="56227"/>
                    </a:cubicBezTo>
                    <a:cubicBezTo>
                      <a:pt x="45256" y="56227"/>
                      <a:pt x="50742" y="53484"/>
                      <a:pt x="53484" y="50741"/>
                    </a:cubicBezTo>
                    <a:cubicBezTo>
                      <a:pt x="58970" y="45256"/>
                      <a:pt x="58970" y="37027"/>
                      <a:pt x="53484" y="31542"/>
                    </a:cubicBezTo>
                    <a:lnTo>
                      <a:pt x="23314" y="4114"/>
                    </a:lnTo>
                    <a:cubicBezTo>
                      <a:pt x="17828" y="-1371"/>
                      <a:pt x="9600" y="-1371"/>
                      <a:pt x="4114" y="4114"/>
                    </a:cubicBezTo>
                    <a:cubicBezTo>
                      <a:pt x="-1371" y="12342"/>
                      <a:pt x="-1371" y="20571"/>
                      <a:pt x="4114" y="26056"/>
                    </a:cubicBezTo>
                    <a:close/>
                  </a:path>
                </a:pathLst>
              </a:custGeom>
              <a:grpFill/>
              <a:ln w="27426" cap="flat">
                <a:noFill/>
                <a:prstDash val="solid"/>
                <a:miter/>
              </a:ln>
            </p:spPr>
            <p:txBody>
              <a:bodyPr rtlCol="0" anchor="ctr"/>
              <a:lstStyle/>
              <a:p>
                <a:pPr algn="l" rtl="0"/>
                <a:endParaRPr lang="en-US"/>
              </a:p>
            </p:txBody>
          </p:sp>
          <p:sp>
            <p:nvSpPr>
              <p:cNvPr id="24" name="Freeform 23">
                <a:extLst>
                  <a:ext uri="{FF2B5EF4-FFF2-40B4-BE49-F238E27FC236}">
                    <a16:creationId xmlns:a16="http://schemas.microsoft.com/office/drawing/2014/main" id="{6EBCA6FE-2D6C-F6C2-B556-41F225F45A11}"/>
                  </a:ext>
                </a:extLst>
              </p:cNvPr>
              <p:cNvSpPr/>
              <p:nvPr/>
            </p:nvSpPr>
            <p:spPr>
              <a:xfrm>
                <a:off x="2952661" y="3854434"/>
                <a:ext cx="57598" cy="53483"/>
              </a:xfrm>
              <a:custGeom>
                <a:avLst/>
                <a:gdLst>
                  <a:gd name="connsiteX0" fmla="*/ 15086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6 w 57598"/>
                  <a:gd name="connsiteY4" fmla="*/ 4114 h 53483"/>
                  <a:gd name="connsiteX5" fmla="*/ 4114 w 57598"/>
                  <a:gd name="connsiteY5" fmla="*/ 31542 h 53483"/>
                  <a:gd name="connsiteX6" fmla="*/ 4114 w 57598"/>
                  <a:gd name="connsiteY6" fmla="*/ 50741 h 53483"/>
                  <a:gd name="connsiteX7" fmla="*/ 15086 w 57598"/>
                  <a:gd name="connsiteY7"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3483">
                    <a:moveTo>
                      <a:pt x="15086" y="53484"/>
                    </a:moveTo>
                    <a:cubicBezTo>
                      <a:pt x="17828" y="53484"/>
                      <a:pt x="20572" y="53484"/>
                      <a:pt x="23314" y="50741"/>
                    </a:cubicBezTo>
                    <a:lnTo>
                      <a:pt x="53484" y="23313"/>
                    </a:lnTo>
                    <a:cubicBezTo>
                      <a:pt x="58970" y="17828"/>
                      <a:pt x="58970" y="9600"/>
                      <a:pt x="53484" y="4114"/>
                    </a:cubicBezTo>
                    <a:cubicBezTo>
                      <a:pt x="48000" y="-1371"/>
                      <a:pt x="39770" y="-1371"/>
                      <a:pt x="34286" y="4114"/>
                    </a:cubicBezTo>
                    <a:lnTo>
                      <a:pt x="4114" y="31542"/>
                    </a:lnTo>
                    <a:cubicBezTo>
                      <a:pt x="-1371" y="37027"/>
                      <a:pt x="-1371" y="45256"/>
                      <a:pt x="4114" y="50741"/>
                    </a:cubicBezTo>
                    <a:cubicBezTo>
                      <a:pt x="6858" y="50741"/>
                      <a:pt x="9600" y="53484"/>
                      <a:pt x="15086" y="53484"/>
                    </a:cubicBezTo>
                    <a:close/>
                  </a:path>
                </a:pathLst>
              </a:custGeom>
              <a:grpFill/>
              <a:ln w="27426" cap="flat">
                <a:noFill/>
                <a:prstDash val="solid"/>
                <a:miter/>
              </a:ln>
            </p:spPr>
            <p:txBody>
              <a:bodyPr rtlCol="0" anchor="ctr"/>
              <a:lstStyle/>
              <a:p>
                <a:pPr algn="l" rtl="0"/>
                <a:endParaRPr lang="en-US"/>
              </a:p>
            </p:txBody>
          </p:sp>
          <p:sp>
            <p:nvSpPr>
              <p:cNvPr id="25" name="Freeform 24">
                <a:extLst>
                  <a:ext uri="{FF2B5EF4-FFF2-40B4-BE49-F238E27FC236}">
                    <a16:creationId xmlns:a16="http://schemas.microsoft.com/office/drawing/2014/main" id="{680E9832-D2B3-3EF3-DA57-A14DD0D1B258}"/>
                  </a:ext>
                </a:extLst>
              </p:cNvPr>
              <p:cNvSpPr/>
              <p:nvPr/>
            </p:nvSpPr>
            <p:spPr>
              <a:xfrm>
                <a:off x="2954034"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pPr algn="l" rtl="0"/>
                <a:endParaRPr lang="en-US"/>
              </a:p>
            </p:txBody>
          </p:sp>
          <p:sp>
            <p:nvSpPr>
              <p:cNvPr id="26" name="Freeform 25">
                <a:extLst>
                  <a:ext uri="{FF2B5EF4-FFF2-40B4-BE49-F238E27FC236}">
                    <a16:creationId xmlns:a16="http://schemas.microsoft.com/office/drawing/2014/main" id="{BCC387CD-412C-68FC-FCB7-40151019CD36}"/>
                  </a:ext>
                </a:extLst>
              </p:cNvPr>
              <p:cNvSpPr/>
              <p:nvPr/>
            </p:nvSpPr>
            <p:spPr>
              <a:xfrm>
                <a:off x="2978717" y="4226078"/>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pPr algn="l" rtl="0"/>
                <a:endParaRPr lang="en-US"/>
              </a:p>
            </p:txBody>
          </p:sp>
          <p:sp>
            <p:nvSpPr>
              <p:cNvPr id="28" name="Freeform 27">
                <a:extLst>
                  <a:ext uri="{FF2B5EF4-FFF2-40B4-BE49-F238E27FC236}">
                    <a16:creationId xmlns:a16="http://schemas.microsoft.com/office/drawing/2014/main" id="{46607950-3213-91FE-E065-0156E994668A}"/>
                  </a:ext>
                </a:extLst>
              </p:cNvPr>
              <p:cNvSpPr/>
              <p:nvPr/>
            </p:nvSpPr>
            <p:spPr>
              <a:xfrm>
                <a:off x="2978717" y="4294647"/>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pPr algn="l" rtl="0"/>
                <a:endParaRPr lang="en-US"/>
              </a:p>
            </p:txBody>
          </p:sp>
          <p:sp>
            <p:nvSpPr>
              <p:cNvPr id="30" name="Freeform 29">
                <a:extLst>
                  <a:ext uri="{FF2B5EF4-FFF2-40B4-BE49-F238E27FC236}">
                    <a16:creationId xmlns:a16="http://schemas.microsoft.com/office/drawing/2014/main" id="{EC4D17C4-763F-A078-9CD1-1FDEBD2A1F80}"/>
                  </a:ext>
                </a:extLst>
              </p:cNvPr>
              <p:cNvSpPr/>
              <p:nvPr/>
            </p:nvSpPr>
            <p:spPr>
              <a:xfrm>
                <a:off x="2978717" y="4363216"/>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pPr algn="l" rtl="0"/>
                <a:endParaRPr lang="en-US"/>
              </a:p>
            </p:txBody>
          </p:sp>
          <p:sp>
            <p:nvSpPr>
              <p:cNvPr id="32" name="Freeform 31">
                <a:extLst>
                  <a:ext uri="{FF2B5EF4-FFF2-40B4-BE49-F238E27FC236}">
                    <a16:creationId xmlns:a16="http://schemas.microsoft.com/office/drawing/2014/main" id="{5B681F83-37A4-4A77-D113-2EAB67FB7276}"/>
                  </a:ext>
                </a:extLst>
              </p:cNvPr>
              <p:cNvSpPr/>
              <p:nvPr/>
            </p:nvSpPr>
            <p:spPr>
              <a:xfrm>
                <a:off x="3365449"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pPr algn="l" rtl="0"/>
                <a:endParaRPr lang="en-US"/>
              </a:p>
            </p:txBody>
          </p:sp>
          <p:sp>
            <p:nvSpPr>
              <p:cNvPr id="33" name="Freeform 32">
                <a:extLst>
                  <a:ext uri="{FF2B5EF4-FFF2-40B4-BE49-F238E27FC236}">
                    <a16:creationId xmlns:a16="http://schemas.microsoft.com/office/drawing/2014/main" id="{8391A0D7-25C8-DACD-4B67-A11DA52678A3}"/>
                  </a:ext>
                </a:extLst>
              </p:cNvPr>
              <p:cNvSpPr/>
              <p:nvPr/>
            </p:nvSpPr>
            <p:spPr>
              <a:xfrm>
                <a:off x="3324307" y="4226078"/>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pPr algn="l" rtl="0"/>
                <a:endParaRPr lang="en-US"/>
              </a:p>
            </p:txBody>
          </p:sp>
          <p:sp>
            <p:nvSpPr>
              <p:cNvPr id="37" name="Freeform 36">
                <a:extLst>
                  <a:ext uri="{FF2B5EF4-FFF2-40B4-BE49-F238E27FC236}">
                    <a16:creationId xmlns:a16="http://schemas.microsoft.com/office/drawing/2014/main" id="{682AB2D3-030B-2015-110D-931194318DFC}"/>
                  </a:ext>
                </a:extLst>
              </p:cNvPr>
              <p:cNvSpPr/>
              <p:nvPr/>
            </p:nvSpPr>
            <p:spPr>
              <a:xfrm>
                <a:off x="3324307" y="4294647"/>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pPr algn="l" rtl="0"/>
                <a:endParaRPr lang="en-US"/>
              </a:p>
            </p:txBody>
          </p:sp>
          <p:sp>
            <p:nvSpPr>
              <p:cNvPr id="38" name="Freeform 37">
                <a:extLst>
                  <a:ext uri="{FF2B5EF4-FFF2-40B4-BE49-F238E27FC236}">
                    <a16:creationId xmlns:a16="http://schemas.microsoft.com/office/drawing/2014/main" id="{5FB98FBD-51E5-4156-0A59-79A91DBB77F9}"/>
                  </a:ext>
                </a:extLst>
              </p:cNvPr>
              <p:cNvSpPr/>
              <p:nvPr/>
            </p:nvSpPr>
            <p:spPr>
              <a:xfrm>
                <a:off x="3324307" y="4363216"/>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pPr algn="l" rtl="0"/>
                <a:endParaRPr lang="en-US"/>
              </a:p>
            </p:txBody>
          </p:sp>
        </p:grpSp>
      </p:grpSp>
      <p:grpSp>
        <p:nvGrpSpPr>
          <p:cNvPr id="39" name="Graphic 3">
            <a:extLst>
              <a:ext uri="{FF2B5EF4-FFF2-40B4-BE49-F238E27FC236}">
                <a16:creationId xmlns:a16="http://schemas.microsoft.com/office/drawing/2014/main" id="{C3E12000-07A8-FDA2-0014-631E6E2FDF02}"/>
              </a:ext>
            </a:extLst>
          </p:cNvPr>
          <p:cNvGrpSpPr/>
          <p:nvPr/>
        </p:nvGrpSpPr>
        <p:grpSpPr>
          <a:xfrm>
            <a:off x="5394397" y="5335633"/>
            <a:ext cx="730034" cy="730950"/>
            <a:chOff x="6601914" y="3685068"/>
            <a:chExt cx="1090935" cy="1092304"/>
          </a:xfrm>
          <a:solidFill>
            <a:srgbClr val="616161"/>
          </a:solidFill>
        </p:grpSpPr>
        <p:sp>
          <p:nvSpPr>
            <p:cNvPr id="40" name="Freeform 39">
              <a:extLst>
                <a:ext uri="{FF2B5EF4-FFF2-40B4-BE49-F238E27FC236}">
                  <a16:creationId xmlns:a16="http://schemas.microsoft.com/office/drawing/2014/main" id="{35314FFE-ED2D-ED85-DF53-7A05C4930D29}"/>
                </a:ext>
              </a:extLst>
            </p:cNvPr>
            <p:cNvSpPr/>
            <p:nvPr/>
          </p:nvSpPr>
          <p:spPr>
            <a:xfrm>
              <a:off x="7504284" y="3891461"/>
              <a:ext cx="49369" cy="469012"/>
            </a:xfrm>
            <a:custGeom>
              <a:avLst/>
              <a:gdLst>
                <a:gd name="connsiteX0" fmla="*/ -1 w 49369"/>
                <a:gd name="connsiteY0" fmla="*/ 0 h 469012"/>
                <a:gd name="connsiteX1" fmla="*/ 49369 w 49369"/>
                <a:gd name="connsiteY1" fmla="*/ 0 h 469012"/>
                <a:gd name="connsiteX2" fmla="*/ 49369 w 49369"/>
                <a:gd name="connsiteY2" fmla="*/ 469012 h 469012"/>
                <a:gd name="connsiteX3" fmla="*/ -1 w 49369"/>
                <a:gd name="connsiteY3" fmla="*/ 469012 h 469012"/>
              </a:gdLst>
              <a:ahLst/>
              <a:cxnLst>
                <a:cxn ang="0">
                  <a:pos x="connsiteX0" y="connsiteY0"/>
                </a:cxn>
                <a:cxn ang="0">
                  <a:pos x="connsiteX1" y="connsiteY1"/>
                </a:cxn>
                <a:cxn ang="0">
                  <a:pos x="connsiteX2" y="connsiteY2"/>
                </a:cxn>
                <a:cxn ang="0">
                  <a:pos x="connsiteX3" y="connsiteY3"/>
                </a:cxn>
              </a:cxnLst>
              <a:rect l="l" t="t" r="r" b="b"/>
              <a:pathLst>
                <a:path w="49369" h="469012">
                  <a:moveTo>
                    <a:pt x="-1" y="0"/>
                  </a:moveTo>
                  <a:lnTo>
                    <a:pt x="49369" y="0"/>
                  </a:lnTo>
                  <a:lnTo>
                    <a:pt x="49369" y="469012"/>
                  </a:lnTo>
                  <a:lnTo>
                    <a:pt x="-1" y="469012"/>
                  </a:lnTo>
                  <a:close/>
                </a:path>
              </a:pathLst>
            </a:custGeom>
            <a:solidFill>
              <a:srgbClr val="B41F7A"/>
            </a:solidFill>
            <a:ln w="27426" cap="flat">
              <a:noFill/>
              <a:prstDash val="solid"/>
              <a:miter/>
            </a:ln>
          </p:spPr>
          <p:txBody>
            <a:bodyPr rtlCol="0" anchor="ctr"/>
            <a:lstStyle/>
            <a:p>
              <a:pPr algn="l" rtl="0"/>
              <a:endParaRPr lang="en-US"/>
            </a:p>
          </p:txBody>
        </p:sp>
        <p:sp>
          <p:nvSpPr>
            <p:cNvPr id="41" name="Freeform 40">
              <a:extLst>
                <a:ext uri="{FF2B5EF4-FFF2-40B4-BE49-F238E27FC236}">
                  <a16:creationId xmlns:a16="http://schemas.microsoft.com/office/drawing/2014/main" id="{EAD858E3-2099-37E0-A3FA-27915737610C}"/>
                </a:ext>
              </a:extLst>
            </p:cNvPr>
            <p:cNvSpPr/>
            <p:nvPr/>
          </p:nvSpPr>
          <p:spPr>
            <a:xfrm>
              <a:off x="6708882" y="3822892"/>
              <a:ext cx="230392" cy="255076"/>
            </a:xfrm>
            <a:custGeom>
              <a:avLst/>
              <a:gdLst>
                <a:gd name="connsiteX0" fmla="*/ -1 w 230392"/>
                <a:gd name="connsiteY0" fmla="*/ 0 h 255076"/>
                <a:gd name="connsiteX1" fmla="*/ 230392 w 230392"/>
                <a:gd name="connsiteY1" fmla="*/ 0 h 255076"/>
                <a:gd name="connsiteX2" fmla="*/ 230392 w 230392"/>
                <a:gd name="connsiteY2" fmla="*/ 255077 h 255076"/>
                <a:gd name="connsiteX3" fmla="*/ -1 w 230392"/>
                <a:gd name="connsiteY3" fmla="*/ 255077 h 255076"/>
              </a:gdLst>
              <a:ahLst/>
              <a:cxnLst>
                <a:cxn ang="0">
                  <a:pos x="connsiteX0" y="connsiteY0"/>
                </a:cxn>
                <a:cxn ang="0">
                  <a:pos x="connsiteX1" y="connsiteY1"/>
                </a:cxn>
                <a:cxn ang="0">
                  <a:pos x="connsiteX2" y="connsiteY2"/>
                </a:cxn>
                <a:cxn ang="0">
                  <a:pos x="connsiteX3" y="connsiteY3"/>
                </a:cxn>
              </a:cxnLst>
              <a:rect l="l" t="t" r="r" b="b"/>
              <a:pathLst>
                <a:path w="230392" h="255076">
                  <a:moveTo>
                    <a:pt x="-1" y="0"/>
                  </a:moveTo>
                  <a:lnTo>
                    <a:pt x="230392" y="0"/>
                  </a:lnTo>
                  <a:lnTo>
                    <a:pt x="230392" y="255077"/>
                  </a:lnTo>
                  <a:lnTo>
                    <a:pt x="-1" y="255077"/>
                  </a:lnTo>
                  <a:close/>
                </a:path>
              </a:pathLst>
            </a:custGeom>
            <a:solidFill>
              <a:srgbClr val="B41F7A"/>
            </a:solidFill>
            <a:ln w="27426" cap="flat">
              <a:noFill/>
              <a:prstDash val="solid"/>
              <a:miter/>
            </a:ln>
          </p:spPr>
          <p:txBody>
            <a:bodyPr rtlCol="0" anchor="ctr"/>
            <a:lstStyle/>
            <a:p>
              <a:pPr algn="l" rtl="0"/>
              <a:endParaRPr lang="en-US"/>
            </a:p>
          </p:txBody>
        </p:sp>
        <p:grpSp>
          <p:nvGrpSpPr>
            <p:cNvPr id="42" name="Graphic 3">
              <a:extLst>
                <a:ext uri="{FF2B5EF4-FFF2-40B4-BE49-F238E27FC236}">
                  <a16:creationId xmlns:a16="http://schemas.microsoft.com/office/drawing/2014/main" id="{465E6BAA-E7A4-24F9-22A6-C2819A891D53}"/>
                </a:ext>
              </a:extLst>
            </p:cNvPr>
            <p:cNvGrpSpPr/>
            <p:nvPr/>
          </p:nvGrpSpPr>
          <p:grpSpPr>
            <a:xfrm>
              <a:off x="6601914" y="3685068"/>
              <a:ext cx="1090935" cy="1092304"/>
              <a:chOff x="6601914" y="3685068"/>
              <a:chExt cx="1090935" cy="1092304"/>
            </a:xfrm>
            <a:grpFill/>
          </p:grpSpPr>
          <p:sp>
            <p:nvSpPr>
              <p:cNvPr id="43" name="Freeform 42">
                <a:extLst>
                  <a:ext uri="{FF2B5EF4-FFF2-40B4-BE49-F238E27FC236}">
                    <a16:creationId xmlns:a16="http://schemas.microsoft.com/office/drawing/2014/main" id="{031E6EF9-01C1-15B8-51B2-E63C7AD55D22}"/>
                  </a:ext>
                </a:extLst>
              </p:cNvPr>
              <p:cNvSpPr/>
              <p:nvPr/>
            </p:nvSpPr>
            <p:spPr>
              <a:xfrm>
                <a:off x="7136754" y="4173965"/>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pPr algn="l" rtl="0"/>
                <a:endParaRPr lang="en-US"/>
              </a:p>
            </p:txBody>
          </p:sp>
          <p:sp>
            <p:nvSpPr>
              <p:cNvPr id="195" name="Freeform 194">
                <a:extLst>
                  <a:ext uri="{FF2B5EF4-FFF2-40B4-BE49-F238E27FC236}">
                    <a16:creationId xmlns:a16="http://schemas.microsoft.com/office/drawing/2014/main" id="{38EB0DDF-C6CF-3E4E-D27B-A9EB5950475E}"/>
                  </a:ext>
                </a:extLst>
              </p:cNvPr>
              <p:cNvSpPr/>
              <p:nvPr/>
            </p:nvSpPr>
            <p:spPr>
              <a:xfrm>
                <a:off x="7136754" y="4126625"/>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6" y="22656"/>
                      <a:pt x="0" y="17170"/>
                      <a:pt x="0" y="11684"/>
                    </a:cubicBezTo>
                    <a:cubicBezTo>
                      <a:pt x="0" y="6199"/>
                      <a:pt x="5486" y="714"/>
                      <a:pt x="10970" y="714"/>
                    </a:cubicBezTo>
                    <a:cubicBezTo>
                      <a:pt x="19200" y="-2029"/>
                      <a:pt x="21942" y="3456"/>
                      <a:pt x="21942" y="11684"/>
                    </a:cubicBezTo>
                    <a:lnTo>
                      <a:pt x="21942" y="11684"/>
                    </a:lnTo>
                    <a:close/>
                  </a:path>
                </a:pathLst>
              </a:custGeom>
              <a:grpFill/>
              <a:ln w="27426" cap="flat">
                <a:noFill/>
                <a:prstDash val="solid"/>
                <a:miter/>
              </a:ln>
            </p:spPr>
            <p:txBody>
              <a:bodyPr rtlCol="0" anchor="ctr"/>
              <a:lstStyle/>
              <a:p>
                <a:pPr algn="l" rtl="0"/>
                <a:endParaRPr lang="en-US"/>
              </a:p>
            </p:txBody>
          </p:sp>
          <p:grpSp>
            <p:nvGrpSpPr>
              <p:cNvPr id="196" name="Graphic 3">
                <a:extLst>
                  <a:ext uri="{FF2B5EF4-FFF2-40B4-BE49-F238E27FC236}">
                    <a16:creationId xmlns:a16="http://schemas.microsoft.com/office/drawing/2014/main" id="{EFADF559-611C-4A8C-DC1A-20C332D38ED2}"/>
                  </a:ext>
                </a:extLst>
              </p:cNvPr>
              <p:cNvGrpSpPr/>
              <p:nvPr/>
            </p:nvGrpSpPr>
            <p:grpSpPr>
              <a:xfrm>
                <a:off x="6601914" y="3685068"/>
                <a:ext cx="1090935" cy="1092304"/>
                <a:chOff x="6601914" y="3685068"/>
                <a:chExt cx="1090935" cy="1092304"/>
              </a:xfrm>
              <a:grpFill/>
            </p:grpSpPr>
            <p:sp>
              <p:nvSpPr>
                <p:cNvPr id="218" name="Freeform 217">
                  <a:extLst>
                    <a:ext uri="{FF2B5EF4-FFF2-40B4-BE49-F238E27FC236}">
                      <a16:creationId xmlns:a16="http://schemas.microsoft.com/office/drawing/2014/main" id="{ED6DF034-67EB-5C5E-AAD1-F4FBCE4E9109}"/>
                    </a:ext>
                  </a:extLst>
                </p:cNvPr>
                <p:cNvSpPr/>
                <p:nvPr/>
              </p:nvSpPr>
              <p:spPr>
                <a:xfrm>
                  <a:off x="7136754" y="4077969"/>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pPr algn="l" rtl="0"/>
                  <a:endParaRPr lang="en-US"/>
                </a:p>
              </p:txBody>
            </p:sp>
            <p:sp>
              <p:nvSpPr>
                <p:cNvPr id="219" name="Freeform 218">
                  <a:extLst>
                    <a:ext uri="{FF2B5EF4-FFF2-40B4-BE49-F238E27FC236}">
                      <a16:creationId xmlns:a16="http://schemas.microsoft.com/office/drawing/2014/main" id="{13F5F331-26C1-B05C-E48A-2DAEF65F7C9C}"/>
                    </a:ext>
                  </a:extLst>
                </p:cNvPr>
                <p:cNvSpPr/>
                <p:nvPr/>
              </p:nvSpPr>
              <p:spPr>
                <a:xfrm>
                  <a:off x="6601914" y="3685068"/>
                  <a:ext cx="1090935" cy="1092304"/>
                </a:xfrm>
                <a:custGeom>
                  <a:avLst/>
                  <a:gdLst>
                    <a:gd name="connsiteX0" fmla="*/ 1088879 w 1090935"/>
                    <a:gd name="connsiteY0" fmla="*/ 102168 h 1092304"/>
                    <a:gd name="connsiteX1" fmla="*/ 1028538 w 1090935"/>
                    <a:gd name="connsiteY1" fmla="*/ 6171 h 1092304"/>
                    <a:gd name="connsiteX2" fmla="*/ 1009338 w 1090935"/>
                    <a:gd name="connsiteY2" fmla="*/ 6171 h 1092304"/>
                    <a:gd name="connsiteX3" fmla="*/ 948997 w 1090935"/>
                    <a:gd name="connsiteY3" fmla="*/ 102168 h 1092304"/>
                    <a:gd name="connsiteX4" fmla="*/ 946255 w 1090935"/>
                    <a:gd name="connsiteY4" fmla="*/ 107654 h 1092304"/>
                    <a:gd name="connsiteX5" fmla="*/ 946255 w 1090935"/>
                    <a:gd name="connsiteY5" fmla="*/ 332560 h 1092304"/>
                    <a:gd name="connsiteX6" fmla="*/ 614379 w 1090935"/>
                    <a:gd name="connsiteY6" fmla="*/ 332560 h 1092304"/>
                    <a:gd name="connsiteX7" fmla="*/ 655520 w 1090935"/>
                    <a:gd name="connsiteY7" fmla="*/ 272219 h 1092304"/>
                    <a:gd name="connsiteX8" fmla="*/ 671978 w 1090935"/>
                    <a:gd name="connsiteY8" fmla="*/ 272219 h 1092304"/>
                    <a:gd name="connsiteX9" fmla="*/ 682948 w 1090935"/>
                    <a:gd name="connsiteY9" fmla="*/ 266733 h 1092304"/>
                    <a:gd name="connsiteX10" fmla="*/ 682948 w 1090935"/>
                    <a:gd name="connsiteY10" fmla="*/ 255762 h 1092304"/>
                    <a:gd name="connsiteX11" fmla="*/ 661006 w 1090935"/>
                    <a:gd name="connsiteY11" fmla="*/ 198164 h 1092304"/>
                    <a:gd name="connsiteX12" fmla="*/ 661006 w 1090935"/>
                    <a:gd name="connsiteY12" fmla="*/ 187193 h 1092304"/>
                    <a:gd name="connsiteX13" fmla="*/ 696662 w 1090935"/>
                    <a:gd name="connsiteY13" fmla="*/ 140567 h 1092304"/>
                    <a:gd name="connsiteX14" fmla="*/ 696662 w 1090935"/>
                    <a:gd name="connsiteY14" fmla="*/ 115881 h 1092304"/>
                    <a:gd name="connsiteX15" fmla="*/ 685692 w 1090935"/>
                    <a:gd name="connsiteY15" fmla="*/ 104911 h 1092304"/>
                    <a:gd name="connsiteX16" fmla="*/ 482726 w 1090935"/>
                    <a:gd name="connsiteY16" fmla="*/ 104911 h 1092304"/>
                    <a:gd name="connsiteX17" fmla="*/ 422385 w 1090935"/>
                    <a:gd name="connsiteY17" fmla="*/ 165251 h 1092304"/>
                    <a:gd name="connsiteX18" fmla="*/ 422385 w 1090935"/>
                    <a:gd name="connsiteY18" fmla="*/ 231078 h 1092304"/>
                    <a:gd name="connsiteX19" fmla="*/ 471756 w 1090935"/>
                    <a:gd name="connsiteY19" fmla="*/ 329817 h 1092304"/>
                    <a:gd name="connsiteX20" fmla="*/ 397701 w 1090935"/>
                    <a:gd name="connsiteY20" fmla="*/ 329817 h 1092304"/>
                    <a:gd name="connsiteX21" fmla="*/ 400443 w 1090935"/>
                    <a:gd name="connsiteY21" fmla="*/ 318846 h 1092304"/>
                    <a:gd name="connsiteX22" fmla="*/ 400443 w 1090935"/>
                    <a:gd name="connsiteY22" fmla="*/ 11657 h 1092304"/>
                    <a:gd name="connsiteX23" fmla="*/ 389473 w 1090935"/>
                    <a:gd name="connsiteY23" fmla="*/ 686 h 1092304"/>
                    <a:gd name="connsiteX24" fmla="*/ 10970 w 1090935"/>
                    <a:gd name="connsiteY24" fmla="*/ 686 h 1092304"/>
                    <a:gd name="connsiteX25" fmla="*/ 0 w 1090935"/>
                    <a:gd name="connsiteY25" fmla="*/ 11657 h 1092304"/>
                    <a:gd name="connsiteX26" fmla="*/ 0 w 1090935"/>
                    <a:gd name="connsiteY26" fmla="*/ 318846 h 1092304"/>
                    <a:gd name="connsiteX27" fmla="*/ 35656 w 1090935"/>
                    <a:gd name="connsiteY27" fmla="*/ 354502 h 1092304"/>
                    <a:gd name="connsiteX28" fmla="*/ 117939 w 1090935"/>
                    <a:gd name="connsiteY28" fmla="*/ 354502 h 1092304"/>
                    <a:gd name="connsiteX29" fmla="*/ 117939 w 1090935"/>
                    <a:gd name="connsiteY29" fmla="*/ 379187 h 1092304"/>
                    <a:gd name="connsiteX30" fmla="*/ 178280 w 1090935"/>
                    <a:gd name="connsiteY30" fmla="*/ 439527 h 1092304"/>
                    <a:gd name="connsiteX31" fmla="*/ 414157 w 1090935"/>
                    <a:gd name="connsiteY31" fmla="*/ 439527 h 1092304"/>
                    <a:gd name="connsiteX32" fmla="*/ 414157 w 1090935"/>
                    <a:gd name="connsiteY32" fmla="*/ 664434 h 1092304"/>
                    <a:gd name="connsiteX33" fmla="*/ 320904 w 1090935"/>
                    <a:gd name="connsiteY33" fmla="*/ 999051 h 1092304"/>
                    <a:gd name="connsiteX34" fmla="*/ 246849 w 1090935"/>
                    <a:gd name="connsiteY34" fmla="*/ 1081334 h 1092304"/>
                    <a:gd name="connsiteX35" fmla="*/ 257819 w 1090935"/>
                    <a:gd name="connsiteY35" fmla="*/ 1092305 h 1092304"/>
                    <a:gd name="connsiteX36" fmla="*/ 471756 w 1090935"/>
                    <a:gd name="connsiteY36" fmla="*/ 1092305 h 1092304"/>
                    <a:gd name="connsiteX37" fmla="*/ 482726 w 1090935"/>
                    <a:gd name="connsiteY37" fmla="*/ 1081334 h 1092304"/>
                    <a:gd name="connsiteX38" fmla="*/ 482726 w 1090935"/>
                    <a:gd name="connsiteY38" fmla="*/ 1010022 h 1092304"/>
                    <a:gd name="connsiteX39" fmla="*/ 543068 w 1090935"/>
                    <a:gd name="connsiteY39" fmla="*/ 774144 h 1092304"/>
                    <a:gd name="connsiteX40" fmla="*/ 603409 w 1090935"/>
                    <a:gd name="connsiteY40" fmla="*/ 1010022 h 1092304"/>
                    <a:gd name="connsiteX41" fmla="*/ 603409 w 1090935"/>
                    <a:gd name="connsiteY41" fmla="*/ 1078591 h 1092304"/>
                    <a:gd name="connsiteX42" fmla="*/ 614379 w 1090935"/>
                    <a:gd name="connsiteY42" fmla="*/ 1089562 h 1092304"/>
                    <a:gd name="connsiteX43" fmla="*/ 828316 w 1090935"/>
                    <a:gd name="connsiteY43" fmla="*/ 1089562 h 1092304"/>
                    <a:gd name="connsiteX44" fmla="*/ 839286 w 1090935"/>
                    <a:gd name="connsiteY44" fmla="*/ 1078591 h 1092304"/>
                    <a:gd name="connsiteX45" fmla="*/ 757003 w 1090935"/>
                    <a:gd name="connsiteY45" fmla="*/ 996308 h 1092304"/>
                    <a:gd name="connsiteX46" fmla="*/ 754261 w 1090935"/>
                    <a:gd name="connsiteY46" fmla="*/ 996308 h 1092304"/>
                    <a:gd name="connsiteX47" fmla="*/ 674720 w 1090935"/>
                    <a:gd name="connsiteY47" fmla="*/ 661691 h 1092304"/>
                    <a:gd name="connsiteX48" fmla="*/ 674720 w 1090935"/>
                    <a:gd name="connsiteY48" fmla="*/ 436785 h 1092304"/>
                    <a:gd name="connsiteX49" fmla="*/ 910599 w 1090935"/>
                    <a:gd name="connsiteY49" fmla="*/ 436785 h 1092304"/>
                    <a:gd name="connsiteX50" fmla="*/ 946255 w 1090935"/>
                    <a:gd name="connsiteY50" fmla="*/ 425814 h 1092304"/>
                    <a:gd name="connsiteX51" fmla="*/ 946255 w 1090935"/>
                    <a:gd name="connsiteY51" fmla="*/ 521810 h 1092304"/>
                    <a:gd name="connsiteX52" fmla="*/ 957225 w 1090935"/>
                    <a:gd name="connsiteY52" fmla="*/ 532782 h 1092304"/>
                    <a:gd name="connsiteX53" fmla="*/ 968197 w 1090935"/>
                    <a:gd name="connsiteY53" fmla="*/ 521810 h 1092304"/>
                    <a:gd name="connsiteX54" fmla="*/ 968197 w 1090935"/>
                    <a:gd name="connsiteY54" fmla="*/ 118624 h 1092304"/>
                    <a:gd name="connsiteX55" fmla="*/ 1014824 w 1090935"/>
                    <a:gd name="connsiteY55" fmla="*/ 118624 h 1092304"/>
                    <a:gd name="connsiteX56" fmla="*/ 1014824 w 1090935"/>
                    <a:gd name="connsiteY56" fmla="*/ 250277 h 1092304"/>
                    <a:gd name="connsiteX57" fmla="*/ 1025794 w 1090935"/>
                    <a:gd name="connsiteY57" fmla="*/ 261248 h 1092304"/>
                    <a:gd name="connsiteX58" fmla="*/ 1036766 w 1090935"/>
                    <a:gd name="connsiteY58" fmla="*/ 250277 h 1092304"/>
                    <a:gd name="connsiteX59" fmla="*/ 1036766 w 1090935"/>
                    <a:gd name="connsiteY59" fmla="*/ 118624 h 1092304"/>
                    <a:gd name="connsiteX60" fmla="*/ 1061451 w 1090935"/>
                    <a:gd name="connsiteY60" fmla="*/ 118624 h 1092304"/>
                    <a:gd name="connsiteX61" fmla="*/ 1061451 w 1090935"/>
                    <a:gd name="connsiteY61" fmla="*/ 557466 h 1092304"/>
                    <a:gd name="connsiteX62" fmla="*/ 954483 w 1090935"/>
                    <a:gd name="connsiteY62" fmla="*/ 557466 h 1092304"/>
                    <a:gd name="connsiteX63" fmla="*/ 943511 w 1090935"/>
                    <a:gd name="connsiteY63" fmla="*/ 568437 h 1092304"/>
                    <a:gd name="connsiteX64" fmla="*/ 943511 w 1090935"/>
                    <a:gd name="connsiteY64" fmla="*/ 650720 h 1092304"/>
                    <a:gd name="connsiteX65" fmla="*/ 1003852 w 1090935"/>
                    <a:gd name="connsiteY65" fmla="*/ 711061 h 1092304"/>
                    <a:gd name="connsiteX66" fmla="*/ 1028538 w 1090935"/>
                    <a:gd name="connsiteY66" fmla="*/ 711061 h 1092304"/>
                    <a:gd name="connsiteX67" fmla="*/ 1088879 w 1090935"/>
                    <a:gd name="connsiteY67" fmla="*/ 650720 h 1092304"/>
                    <a:gd name="connsiteX68" fmla="*/ 1088879 w 1090935"/>
                    <a:gd name="connsiteY68" fmla="*/ 104911 h 1092304"/>
                    <a:gd name="connsiteX69" fmla="*/ 1088879 w 1090935"/>
                    <a:gd name="connsiteY69" fmla="*/ 102168 h 1092304"/>
                    <a:gd name="connsiteX70" fmla="*/ 1088879 w 1090935"/>
                    <a:gd name="connsiteY70" fmla="*/ 102168 h 1092304"/>
                    <a:gd name="connsiteX71" fmla="*/ 452557 w 1090935"/>
                    <a:gd name="connsiteY71" fmla="*/ 167994 h 1092304"/>
                    <a:gd name="connsiteX72" fmla="*/ 488212 w 1090935"/>
                    <a:gd name="connsiteY72" fmla="*/ 132338 h 1092304"/>
                    <a:gd name="connsiteX73" fmla="*/ 677464 w 1090935"/>
                    <a:gd name="connsiteY73" fmla="*/ 132338 h 1092304"/>
                    <a:gd name="connsiteX74" fmla="*/ 677464 w 1090935"/>
                    <a:gd name="connsiteY74" fmla="*/ 143309 h 1092304"/>
                    <a:gd name="connsiteX75" fmla="*/ 652778 w 1090935"/>
                    <a:gd name="connsiteY75" fmla="*/ 167994 h 1092304"/>
                    <a:gd name="connsiteX76" fmla="*/ 499184 w 1090935"/>
                    <a:gd name="connsiteY76" fmla="*/ 167994 h 1092304"/>
                    <a:gd name="connsiteX77" fmla="*/ 488212 w 1090935"/>
                    <a:gd name="connsiteY77" fmla="*/ 178965 h 1092304"/>
                    <a:gd name="connsiteX78" fmla="*/ 488212 w 1090935"/>
                    <a:gd name="connsiteY78" fmla="*/ 189936 h 1092304"/>
                    <a:gd name="connsiteX79" fmla="*/ 452557 w 1090935"/>
                    <a:gd name="connsiteY79" fmla="*/ 225592 h 1092304"/>
                    <a:gd name="connsiteX80" fmla="*/ 452557 w 1090935"/>
                    <a:gd name="connsiteY80" fmla="*/ 167994 h 1092304"/>
                    <a:gd name="connsiteX81" fmla="*/ 452557 w 1090935"/>
                    <a:gd name="connsiteY81" fmla="*/ 250277 h 1092304"/>
                    <a:gd name="connsiteX82" fmla="*/ 510154 w 1090935"/>
                    <a:gd name="connsiteY82" fmla="*/ 189936 h 1092304"/>
                    <a:gd name="connsiteX83" fmla="*/ 641807 w 1090935"/>
                    <a:gd name="connsiteY83" fmla="*/ 189936 h 1092304"/>
                    <a:gd name="connsiteX84" fmla="*/ 641807 w 1090935"/>
                    <a:gd name="connsiteY84" fmla="*/ 200907 h 1092304"/>
                    <a:gd name="connsiteX85" fmla="*/ 641807 w 1090935"/>
                    <a:gd name="connsiteY85" fmla="*/ 206393 h 1092304"/>
                    <a:gd name="connsiteX86" fmla="*/ 658264 w 1090935"/>
                    <a:gd name="connsiteY86" fmla="*/ 250277 h 1092304"/>
                    <a:gd name="connsiteX87" fmla="*/ 650036 w 1090935"/>
                    <a:gd name="connsiteY87" fmla="*/ 250277 h 1092304"/>
                    <a:gd name="connsiteX88" fmla="*/ 639064 w 1090935"/>
                    <a:gd name="connsiteY88" fmla="*/ 258505 h 1092304"/>
                    <a:gd name="connsiteX89" fmla="*/ 543068 w 1090935"/>
                    <a:gd name="connsiteY89" fmla="*/ 332560 h 1092304"/>
                    <a:gd name="connsiteX90" fmla="*/ 452557 w 1090935"/>
                    <a:gd name="connsiteY90" fmla="*/ 250277 h 1092304"/>
                    <a:gd name="connsiteX91" fmla="*/ 452557 w 1090935"/>
                    <a:gd name="connsiteY91" fmla="*/ 250277 h 1092304"/>
                    <a:gd name="connsiteX92" fmla="*/ 1020310 w 1090935"/>
                    <a:gd name="connsiteY92" fmla="*/ 36342 h 1092304"/>
                    <a:gd name="connsiteX93" fmla="*/ 1058708 w 1090935"/>
                    <a:gd name="connsiteY93" fmla="*/ 96682 h 1092304"/>
                    <a:gd name="connsiteX94" fmla="*/ 981910 w 1090935"/>
                    <a:gd name="connsiteY94" fmla="*/ 96682 h 1092304"/>
                    <a:gd name="connsiteX95" fmla="*/ 1020310 w 1090935"/>
                    <a:gd name="connsiteY95" fmla="*/ 36342 h 1092304"/>
                    <a:gd name="connsiteX96" fmla="*/ 381244 w 1090935"/>
                    <a:gd name="connsiteY96" fmla="*/ 285933 h 1092304"/>
                    <a:gd name="connsiteX97" fmla="*/ 213936 w 1090935"/>
                    <a:gd name="connsiteY97" fmla="*/ 285933 h 1092304"/>
                    <a:gd name="connsiteX98" fmla="*/ 213936 w 1090935"/>
                    <a:gd name="connsiteY98" fmla="*/ 25371 h 1092304"/>
                    <a:gd name="connsiteX99" fmla="*/ 381244 w 1090935"/>
                    <a:gd name="connsiteY99" fmla="*/ 25371 h 1092304"/>
                    <a:gd name="connsiteX100" fmla="*/ 381244 w 1090935"/>
                    <a:gd name="connsiteY100" fmla="*/ 285933 h 1092304"/>
                    <a:gd name="connsiteX101" fmla="*/ 24684 w 1090935"/>
                    <a:gd name="connsiteY101" fmla="*/ 321589 h 1092304"/>
                    <a:gd name="connsiteX102" fmla="*/ 24684 w 1090935"/>
                    <a:gd name="connsiteY102" fmla="*/ 25371 h 1092304"/>
                    <a:gd name="connsiteX103" fmla="*/ 191994 w 1090935"/>
                    <a:gd name="connsiteY103" fmla="*/ 25371 h 1092304"/>
                    <a:gd name="connsiteX104" fmla="*/ 191994 w 1090935"/>
                    <a:gd name="connsiteY104" fmla="*/ 285933 h 1092304"/>
                    <a:gd name="connsiteX105" fmla="*/ 60341 w 1090935"/>
                    <a:gd name="connsiteY105" fmla="*/ 285933 h 1092304"/>
                    <a:gd name="connsiteX106" fmla="*/ 49369 w 1090935"/>
                    <a:gd name="connsiteY106" fmla="*/ 296904 h 1092304"/>
                    <a:gd name="connsiteX107" fmla="*/ 60341 w 1090935"/>
                    <a:gd name="connsiteY107" fmla="*/ 307875 h 1092304"/>
                    <a:gd name="connsiteX108" fmla="*/ 381244 w 1090935"/>
                    <a:gd name="connsiteY108" fmla="*/ 307875 h 1092304"/>
                    <a:gd name="connsiteX109" fmla="*/ 381244 w 1090935"/>
                    <a:gd name="connsiteY109" fmla="*/ 318846 h 1092304"/>
                    <a:gd name="connsiteX110" fmla="*/ 370274 w 1090935"/>
                    <a:gd name="connsiteY110" fmla="*/ 329817 h 1092304"/>
                    <a:gd name="connsiteX111" fmla="*/ 35656 w 1090935"/>
                    <a:gd name="connsiteY111" fmla="*/ 329817 h 1092304"/>
                    <a:gd name="connsiteX112" fmla="*/ 24684 w 1090935"/>
                    <a:gd name="connsiteY112" fmla="*/ 321589 h 1092304"/>
                    <a:gd name="connsiteX113" fmla="*/ 24684 w 1090935"/>
                    <a:gd name="connsiteY113" fmla="*/ 321589 h 1092304"/>
                    <a:gd name="connsiteX114" fmla="*/ 142624 w 1090935"/>
                    <a:gd name="connsiteY114" fmla="*/ 381930 h 1092304"/>
                    <a:gd name="connsiteX115" fmla="*/ 142624 w 1090935"/>
                    <a:gd name="connsiteY115" fmla="*/ 357245 h 1092304"/>
                    <a:gd name="connsiteX116" fmla="*/ 178280 w 1090935"/>
                    <a:gd name="connsiteY116" fmla="*/ 357245 h 1092304"/>
                    <a:gd name="connsiteX117" fmla="*/ 178280 w 1090935"/>
                    <a:gd name="connsiteY117" fmla="*/ 417585 h 1092304"/>
                    <a:gd name="connsiteX118" fmla="*/ 142624 w 1090935"/>
                    <a:gd name="connsiteY118" fmla="*/ 381930 h 1092304"/>
                    <a:gd name="connsiteX119" fmla="*/ 142624 w 1090935"/>
                    <a:gd name="connsiteY119" fmla="*/ 381930 h 1092304"/>
                    <a:gd name="connsiteX120" fmla="*/ 463527 w 1090935"/>
                    <a:gd name="connsiteY120" fmla="*/ 1067620 h 1092304"/>
                    <a:gd name="connsiteX121" fmla="*/ 274277 w 1090935"/>
                    <a:gd name="connsiteY121" fmla="*/ 1067620 h 1092304"/>
                    <a:gd name="connsiteX122" fmla="*/ 331874 w 1090935"/>
                    <a:gd name="connsiteY122" fmla="*/ 1020993 h 1092304"/>
                    <a:gd name="connsiteX123" fmla="*/ 463527 w 1090935"/>
                    <a:gd name="connsiteY123" fmla="*/ 1020993 h 1092304"/>
                    <a:gd name="connsiteX124" fmla="*/ 463527 w 1090935"/>
                    <a:gd name="connsiteY124" fmla="*/ 1067620 h 1092304"/>
                    <a:gd name="connsiteX125" fmla="*/ 817344 w 1090935"/>
                    <a:gd name="connsiteY125" fmla="*/ 1067620 h 1092304"/>
                    <a:gd name="connsiteX126" fmla="*/ 628093 w 1090935"/>
                    <a:gd name="connsiteY126" fmla="*/ 1067620 h 1092304"/>
                    <a:gd name="connsiteX127" fmla="*/ 628093 w 1090935"/>
                    <a:gd name="connsiteY127" fmla="*/ 1020993 h 1092304"/>
                    <a:gd name="connsiteX128" fmla="*/ 759747 w 1090935"/>
                    <a:gd name="connsiteY128" fmla="*/ 1020993 h 1092304"/>
                    <a:gd name="connsiteX129" fmla="*/ 817344 w 1090935"/>
                    <a:gd name="connsiteY129" fmla="*/ 1067620 h 1092304"/>
                    <a:gd name="connsiteX130" fmla="*/ 817344 w 1090935"/>
                    <a:gd name="connsiteY130" fmla="*/ 1067620 h 1092304"/>
                    <a:gd name="connsiteX131" fmla="*/ 663750 w 1090935"/>
                    <a:gd name="connsiteY131" fmla="*/ 417585 h 1092304"/>
                    <a:gd name="connsiteX132" fmla="*/ 652778 w 1090935"/>
                    <a:gd name="connsiteY132" fmla="*/ 428557 h 1092304"/>
                    <a:gd name="connsiteX133" fmla="*/ 652778 w 1090935"/>
                    <a:gd name="connsiteY133" fmla="*/ 631521 h 1092304"/>
                    <a:gd name="connsiteX134" fmla="*/ 474498 w 1090935"/>
                    <a:gd name="connsiteY134" fmla="*/ 631521 h 1092304"/>
                    <a:gd name="connsiteX135" fmla="*/ 463527 w 1090935"/>
                    <a:gd name="connsiteY135" fmla="*/ 642492 h 1092304"/>
                    <a:gd name="connsiteX136" fmla="*/ 474498 w 1090935"/>
                    <a:gd name="connsiteY136" fmla="*/ 653463 h 1092304"/>
                    <a:gd name="connsiteX137" fmla="*/ 652778 w 1090935"/>
                    <a:gd name="connsiteY137" fmla="*/ 653463 h 1092304"/>
                    <a:gd name="connsiteX138" fmla="*/ 652778 w 1090935"/>
                    <a:gd name="connsiteY138" fmla="*/ 664434 h 1092304"/>
                    <a:gd name="connsiteX139" fmla="*/ 652778 w 1090935"/>
                    <a:gd name="connsiteY139" fmla="*/ 667177 h 1092304"/>
                    <a:gd name="connsiteX140" fmla="*/ 732319 w 1090935"/>
                    <a:gd name="connsiteY140" fmla="*/ 996308 h 1092304"/>
                    <a:gd name="connsiteX141" fmla="*/ 625351 w 1090935"/>
                    <a:gd name="connsiteY141" fmla="*/ 996308 h 1092304"/>
                    <a:gd name="connsiteX142" fmla="*/ 556781 w 1090935"/>
                    <a:gd name="connsiteY142" fmla="*/ 722032 h 1092304"/>
                    <a:gd name="connsiteX143" fmla="*/ 545810 w 1090935"/>
                    <a:gd name="connsiteY143" fmla="*/ 713804 h 1092304"/>
                    <a:gd name="connsiteX144" fmla="*/ 534840 w 1090935"/>
                    <a:gd name="connsiteY144" fmla="*/ 722032 h 1092304"/>
                    <a:gd name="connsiteX145" fmla="*/ 466270 w 1090935"/>
                    <a:gd name="connsiteY145" fmla="*/ 996308 h 1092304"/>
                    <a:gd name="connsiteX146" fmla="*/ 348332 w 1090935"/>
                    <a:gd name="connsiteY146" fmla="*/ 996308 h 1092304"/>
                    <a:gd name="connsiteX147" fmla="*/ 438843 w 1090935"/>
                    <a:gd name="connsiteY147" fmla="*/ 667177 h 1092304"/>
                    <a:gd name="connsiteX148" fmla="*/ 438843 w 1090935"/>
                    <a:gd name="connsiteY148" fmla="*/ 664434 h 1092304"/>
                    <a:gd name="connsiteX149" fmla="*/ 438843 w 1090935"/>
                    <a:gd name="connsiteY149" fmla="*/ 428557 h 1092304"/>
                    <a:gd name="connsiteX150" fmla="*/ 427871 w 1090935"/>
                    <a:gd name="connsiteY150" fmla="*/ 417585 h 1092304"/>
                    <a:gd name="connsiteX151" fmla="*/ 202964 w 1090935"/>
                    <a:gd name="connsiteY151" fmla="*/ 417585 h 1092304"/>
                    <a:gd name="connsiteX152" fmla="*/ 202964 w 1090935"/>
                    <a:gd name="connsiteY152" fmla="*/ 357245 h 1092304"/>
                    <a:gd name="connsiteX153" fmla="*/ 891399 w 1090935"/>
                    <a:gd name="connsiteY153" fmla="*/ 357245 h 1092304"/>
                    <a:gd name="connsiteX154" fmla="*/ 891399 w 1090935"/>
                    <a:gd name="connsiteY154" fmla="*/ 417585 h 1092304"/>
                    <a:gd name="connsiteX155" fmla="*/ 663750 w 1090935"/>
                    <a:gd name="connsiteY155" fmla="*/ 417585 h 1092304"/>
                    <a:gd name="connsiteX156" fmla="*/ 913341 w 1090935"/>
                    <a:gd name="connsiteY156" fmla="*/ 417585 h 1092304"/>
                    <a:gd name="connsiteX157" fmla="*/ 913341 w 1090935"/>
                    <a:gd name="connsiteY157" fmla="*/ 357245 h 1092304"/>
                    <a:gd name="connsiteX158" fmla="*/ 948997 w 1090935"/>
                    <a:gd name="connsiteY158" fmla="*/ 357245 h 1092304"/>
                    <a:gd name="connsiteX159" fmla="*/ 948997 w 1090935"/>
                    <a:gd name="connsiteY159" fmla="*/ 381930 h 1092304"/>
                    <a:gd name="connsiteX160" fmla="*/ 913341 w 1090935"/>
                    <a:gd name="connsiteY160" fmla="*/ 417585 h 1092304"/>
                    <a:gd name="connsiteX161" fmla="*/ 913341 w 1090935"/>
                    <a:gd name="connsiteY161" fmla="*/ 417585 h 1092304"/>
                    <a:gd name="connsiteX162" fmla="*/ 1066936 w 1090935"/>
                    <a:gd name="connsiteY162" fmla="*/ 582151 h 1092304"/>
                    <a:gd name="connsiteX163" fmla="*/ 1066936 w 1090935"/>
                    <a:gd name="connsiteY163" fmla="*/ 606836 h 1092304"/>
                    <a:gd name="connsiteX164" fmla="*/ 970939 w 1090935"/>
                    <a:gd name="connsiteY164" fmla="*/ 606836 h 1092304"/>
                    <a:gd name="connsiteX165" fmla="*/ 970939 w 1090935"/>
                    <a:gd name="connsiteY165" fmla="*/ 582151 h 1092304"/>
                    <a:gd name="connsiteX166" fmla="*/ 1066936 w 1090935"/>
                    <a:gd name="connsiteY166" fmla="*/ 582151 h 1092304"/>
                    <a:gd name="connsiteX167" fmla="*/ 1031280 w 1090935"/>
                    <a:gd name="connsiteY167" fmla="*/ 689119 h 1092304"/>
                    <a:gd name="connsiteX168" fmla="*/ 1006596 w 1090935"/>
                    <a:gd name="connsiteY168" fmla="*/ 689119 h 1092304"/>
                    <a:gd name="connsiteX169" fmla="*/ 970939 w 1090935"/>
                    <a:gd name="connsiteY169" fmla="*/ 653463 h 1092304"/>
                    <a:gd name="connsiteX170" fmla="*/ 970939 w 1090935"/>
                    <a:gd name="connsiteY170" fmla="*/ 628778 h 1092304"/>
                    <a:gd name="connsiteX171" fmla="*/ 1066936 w 1090935"/>
                    <a:gd name="connsiteY171" fmla="*/ 628778 h 1092304"/>
                    <a:gd name="connsiteX172" fmla="*/ 1066936 w 1090935"/>
                    <a:gd name="connsiteY172" fmla="*/ 653463 h 1092304"/>
                    <a:gd name="connsiteX173" fmla="*/ 1031280 w 1090935"/>
                    <a:gd name="connsiteY173" fmla="*/ 689119 h 1092304"/>
                    <a:gd name="connsiteX174" fmla="*/ 1031280 w 1090935"/>
                    <a:gd name="connsiteY174" fmla="*/ 689119 h 109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90935" h="1092304">
                      <a:moveTo>
                        <a:pt x="1088879" y="102168"/>
                      </a:moveTo>
                      <a:lnTo>
                        <a:pt x="1028538" y="6171"/>
                      </a:lnTo>
                      <a:cubicBezTo>
                        <a:pt x="1023052" y="-2057"/>
                        <a:pt x="1012080" y="-2057"/>
                        <a:pt x="1009338" y="6171"/>
                      </a:cubicBezTo>
                      <a:lnTo>
                        <a:pt x="948997" y="102168"/>
                      </a:lnTo>
                      <a:cubicBezTo>
                        <a:pt x="948997" y="104911"/>
                        <a:pt x="946255" y="104911"/>
                        <a:pt x="946255" y="107654"/>
                      </a:cubicBezTo>
                      <a:lnTo>
                        <a:pt x="946255" y="332560"/>
                      </a:lnTo>
                      <a:lnTo>
                        <a:pt x="614379" y="332560"/>
                      </a:lnTo>
                      <a:cubicBezTo>
                        <a:pt x="633579" y="318846"/>
                        <a:pt x="650036" y="296904"/>
                        <a:pt x="655520" y="272219"/>
                      </a:cubicBezTo>
                      <a:lnTo>
                        <a:pt x="671978" y="272219"/>
                      </a:lnTo>
                      <a:cubicBezTo>
                        <a:pt x="674720" y="272219"/>
                        <a:pt x="680206" y="269476"/>
                        <a:pt x="682948" y="266733"/>
                      </a:cubicBezTo>
                      <a:cubicBezTo>
                        <a:pt x="685692" y="263991"/>
                        <a:pt x="685692" y="258505"/>
                        <a:pt x="682948" y="255762"/>
                      </a:cubicBezTo>
                      <a:lnTo>
                        <a:pt x="661006" y="198164"/>
                      </a:lnTo>
                      <a:lnTo>
                        <a:pt x="661006" y="187193"/>
                      </a:lnTo>
                      <a:cubicBezTo>
                        <a:pt x="680206" y="181708"/>
                        <a:pt x="696662" y="162509"/>
                        <a:pt x="696662" y="140567"/>
                      </a:cubicBezTo>
                      <a:lnTo>
                        <a:pt x="696662" y="115881"/>
                      </a:lnTo>
                      <a:cubicBezTo>
                        <a:pt x="696662" y="110396"/>
                        <a:pt x="691178" y="104911"/>
                        <a:pt x="685692" y="104911"/>
                      </a:cubicBezTo>
                      <a:lnTo>
                        <a:pt x="482726" y="104911"/>
                      </a:lnTo>
                      <a:cubicBezTo>
                        <a:pt x="449813" y="104911"/>
                        <a:pt x="422385" y="132338"/>
                        <a:pt x="422385" y="165251"/>
                      </a:cubicBezTo>
                      <a:lnTo>
                        <a:pt x="422385" y="231078"/>
                      </a:lnTo>
                      <a:cubicBezTo>
                        <a:pt x="422385" y="272219"/>
                        <a:pt x="441585" y="307875"/>
                        <a:pt x="471756" y="329817"/>
                      </a:cubicBezTo>
                      <a:lnTo>
                        <a:pt x="397701" y="329817"/>
                      </a:lnTo>
                      <a:cubicBezTo>
                        <a:pt x="397701" y="327074"/>
                        <a:pt x="400443" y="321589"/>
                        <a:pt x="400443" y="318846"/>
                      </a:cubicBezTo>
                      <a:lnTo>
                        <a:pt x="400443" y="11657"/>
                      </a:lnTo>
                      <a:cubicBezTo>
                        <a:pt x="400443" y="6171"/>
                        <a:pt x="394958" y="686"/>
                        <a:pt x="389473" y="686"/>
                      </a:cubicBezTo>
                      <a:lnTo>
                        <a:pt x="10970" y="686"/>
                      </a:lnTo>
                      <a:cubicBezTo>
                        <a:pt x="5486" y="686"/>
                        <a:pt x="0" y="6171"/>
                        <a:pt x="0" y="11657"/>
                      </a:cubicBezTo>
                      <a:lnTo>
                        <a:pt x="0" y="318846"/>
                      </a:lnTo>
                      <a:cubicBezTo>
                        <a:pt x="0" y="338045"/>
                        <a:pt x="16456" y="354502"/>
                        <a:pt x="35656" y="354502"/>
                      </a:cubicBezTo>
                      <a:lnTo>
                        <a:pt x="117939" y="354502"/>
                      </a:lnTo>
                      <a:lnTo>
                        <a:pt x="117939" y="379187"/>
                      </a:lnTo>
                      <a:cubicBezTo>
                        <a:pt x="117939" y="412100"/>
                        <a:pt x="145366" y="439527"/>
                        <a:pt x="178280" y="439527"/>
                      </a:cubicBezTo>
                      <a:lnTo>
                        <a:pt x="414157" y="439527"/>
                      </a:lnTo>
                      <a:lnTo>
                        <a:pt x="414157" y="664434"/>
                      </a:lnTo>
                      <a:lnTo>
                        <a:pt x="320904" y="999051"/>
                      </a:lnTo>
                      <a:cubicBezTo>
                        <a:pt x="279763" y="1004537"/>
                        <a:pt x="246849" y="1040193"/>
                        <a:pt x="246849" y="1081334"/>
                      </a:cubicBezTo>
                      <a:cubicBezTo>
                        <a:pt x="246849" y="1086820"/>
                        <a:pt x="252335" y="1092305"/>
                        <a:pt x="257819" y="1092305"/>
                      </a:cubicBezTo>
                      <a:lnTo>
                        <a:pt x="471756" y="1092305"/>
                      </a:lnTo>
                      <a:cubicBezTo>
                        <a:pt x="477241" y="1092305"/>
                        <a:pt x="482726" y="1086820"/>
                        <a:pt x="482726" y="1081334"/>
                      </a:cubicBezTo>
                      <a:lnTo>
                        <a:pt x="482726" y="1010022"/>
                      </a:lnTo>
                      <a:lnTo>
                        <a:pt x="543068" y="774144"/>
                      </a:lnTo>
                      <a:lnTo>
                        <a:pt x="603409" y="1010022"/>
                      </a:lnTo>
                      <a:lnTo>
                        <a:pt x="603409" y="1078591"/>
                      </a:lnTo>
                      <a:cubicBezTo>
                        <a:pt x="603409" y="1084077"/>
                        <a:pt x="608895" y="1089562"/>
                        <a:pt x="614379" y="1089562"/>
                      </a:cubicBezTo>
                      <a:lnTo>
                        <a:pt x="828316" y="1089562"/>
                      </a:lnTo>
                      <a:cubicBezTo>
                        <a:pt x="833800" y="1089562"/>
                        <a:pt x="839286" y="1084077"/>
                        <a:pt x="839286" y="1078591"/>
                      </a:cubicBezTo>
                      <a:cubicBezTo>
                        <a:pt x="839286" y="1031964"/>
                        <a:pt x="800888" y="996308"/>
                        <a:pt x="757003" y="996308"/>
                      </a:cubicBezTo>
                      <a:lnTo>
                        <a:pt x="754261" y="996308"/>
                      </a:lnTo>
                      <a:lnTo>
                        <a:pt x="674720" y="661691"/>
                      </a:lnTo>
                      <a:lnTo>
                        <a:pt x="674720" y="436785"/>
                      </a:lnTo>
                      <a:lnTo>
                        <a:pt x="910599" y="436785"/>
                      </a:lnTo>
                      <a:cubicBezTo>
                        <a:pt x="924313" y="436785"/>
                        <a:pt x="935283" y="431299"/>
                        <a:pt x="946255" y="425814"/>
                      </a:cubicBezTo>
                      <a:lnTo>
                        <a:pt x="946255" y="521810"/>
                      </a:lnTo>
                      <a:cubicBezTo>
                        <a:pt x="946255" y="527296"/>
                        <a:pt x="951741" y="532782"/>
                        <a:pt x="957225" y="532782"/>
                      </a:cubicBezTo>
                      <a:cubicBezTo>
                        <a:pt x="962711" y="532782"/>
                        <a:pt x="968197" y="527296"/>
                        <a:pt x="968197" y="521810"/>
                      </a:cubicBezTo>
                      <a:lnTo>
                        <a:pt x="968197" y="118624"/>
                      </a:lnTo>
                      <a:lnTo>
                        <a:pt x="1014824" y="118624"/>
                      </a:lnTo>
                      <a:lnTo>
                        <a:pt x="1014824" y="250277"/>
                      </a:lnTo>
                      <a:cubicBezTo>
                        <a:pt x="1014824" y="255762"/>
                        <a:pt x="1020310" y="261248"/>
                        <a:pt x="1025794" y="261248"/>
                      </a:cubicBezTo>
                      <a:cubicBezTo>
                        <a:pt x="1031280" y="261248"/>
                        <a:pt x="1036766" y="255762"/>
                        <a:pt x="1036766" y="250277"/>
                      </a:cubicBezTo>
                      <a:lnTo>
                        <a:pt x="1036766" y="118624"/>
                      </a:lnTo>
                      <a:lnTo>
                        <a:pt x="1061451" y="118624"/>
                      </a:lnTo>
                      <a:lnTo>
                        <a:pt x="1061451" y="557466"/>
                      </a:lnTo>
                      <a:lnTo>
                        <a:pt x="954483" y="557466"/>
                      </a:lnTo>
                      <a:cubicBezTo>
                        <a:pt x="948997" y="557466"/>
                        <a:pt x="943511" y="562952"/>
                        <a:pt x="943511" y="568437"/>
                      </a:cubicBezTo>
                      <a:lnTo>
                        <a:pt x="943511" y="650720"/>
                      </a:lnTo>
                      <a:cubicBezTo>
                        <a:pt x="943511" y="683634"/>
                        <a:pt x="970939" y="711061"/>
                        <a:pt x="1003852" y="711061"/>
                      </a:cubicBezTo>
                      <a:lnTo>
                        <a:pt x="1028538" y="711061"/>
                      </a:lnTo>
                      <a:cubicBezTo>
                        <a:pt x="1061451" y="711061"/>
                        <a:pt x="1088879" y="683634"/>
                        <a:pt x="1088879" y="650720"/>
                      </a:cubicBezTo>
                      <a:lnTo>
                        <a:pt x="1088879" y="104911"/>
                      </a:lnTo>
                      <a:cubicBezTo>
                        <a:pt x="1091621" y="104911"/>
                        <a:pt x="1091621" y="104911"/>
                        <a:pt x="1088879" y="102168"/>
                      </a:cubicBezTo>
                      <a:lnTo>
                        <a:pt x="1088879" y="102168"/>
                      </a:lnTo>
                      <a:close/>
                      <a:moveTo>
                        <a:pt x="452557" y="167994"/>
                      </a:moveTo>
                      <a:cubicBezTo>
                        <a:pt x="452557" y="148795"/>
                        <a:pt x="469013" y="132338"/>
                        <a:pt x="488212" y="132338"/>
                      </a:cubicBezTo>
                      <a:lnTo>
                        <a:pt x="677464" y="132338"/>
                      </a:lnTo>
                      <a:lnTo>
                        <a:pt x="677464" y="143309"/>
                      </a:lnTo>
                      <a:cubicBezTo>
                        <a:pt x="677464" y="157023"/>
                        <a:pt x="666492" y="167994"/>
                        <a:pt x="652778" y="167994"/>
                      </a:cubicBezTo>
                      <a:lnTo>
                        <a:pt x="499184" y="167994"/>
                      </a:lnTo>
                      <a:cubicBezTo>
                        <a:pt x="493698" y="167994"/>
                        <a:pt x="488212" y="173480"/>
                        <a:pt x="488212" y="178965"/>
                      </a:cubicBezTo>
                      <a:lnTo>
                        <a:pt x="488212" y="189936"/>
                      </a:lnTo>
                      <a:cubicBezTo>
                        <a:pt x="488212" y="209136"/>
                        <a:pt x="471756" y="225592"/>
                        <a:pt x="452557" y="225592"/>
                      </a:cubicBezTo>
                      <a:lnTo>
                        <a:pt x="452557" y="167994"/>
                      </a:lnTo>
                      <a:close/>
                      <a:moveTo>
                        <a:pt x="452557" y="250277"/>
                      </a:moveTo>
                      <a:cubicBezTo>
                        <a:pt x="485470" y="250277"/>
                        <a:pt x="510154" y="222849"/>
                        <a:pt x="510154" y="189936"/>
                      </a:cubicBezTo>
                      <a:lnTo>
                        <a:pt x="641807" y="189936"/>
                      </a:lnTo>
                      <a:lnTo>
                        <a:pt x="641807" y="200907"/>
                      </a:lnTo>
                      <a:cubicBezTo>
                        <a:pt x="641807" y="203650"/>
                        <a:pt x="641807" y="203650"/>
                        <a:pt x="641807" y="206393"/>
                      </a:cubicBezTo>
                      <a:lnTo>
                        <a:pt x="658264" y="250277"/>
                      </a:lnTo>
                      <a:lnTo>
                        <a:pt x="650036" y="250277"/>
                      </a:lnTo>
                      <a:cubicBezTo>
                        <a:pt x="644550" y="250277"/>
                        <a:pt x="639064" y="253020"/>
                        <a:pt x="639064" y="258505"/>
                      </a:cubicBezTo>
                      <a:cubicBezTo>
                        <a:pt x="628093" y="302389"/>
                        <a:pt x="589695" y="332560"/>
                        <a:pt x="543068" y="332560"/>
                      </a:cubicBezTo>
                      <a:cubicBezTo>
                        <a:pt x="499184" y="332560"/>
                        <a:pt x="460785" y="296904"/>
                        <a:pt x="452557" y="250277"/>
                      </a:cubicBezTo>
                      <a:lnTo>
                        <a:pt x="452557" y="250277"/>
                      </a:lnTo>
                      <a:close/>
                      <a:moveTo>
                        <a:pt x="1020310" y="36342"/>
                      </a:moveTo>
                      <a:lnTo>
                        <a:pt x="1058708" y="96682"/>
                      </a:lnTo>
                      <a:lnTo>
                        <a:pt x="981910" y="96682"/>
                      </a:lnTo>
                      <a:lnTo>
                        <a:pt x="1020310" y="36342"/>
                      </a:lnTo>
                      <a:close/>
                      <a:moveTo>
                        <a:pt x="381244" y="285933"/>
                      </a:moveTo>
                      <a:lnTo>
                        <a:pt x="213936" y="285933"/>
                      </a:lnTo>
                      <a:lnTo>
                        <a:pt x="213936" y="25371"/>
                      </a:lnTo>
                      <a:lnTo>
                        <a:pt x="381244" y="25371"/>
                      </a:lnTo>
                      <a:lnTo>
                        <a:pt x="381244" y="285933"/>
                      </a:lnTo>
                      <a:close/>
                      <a:moveTo>
                        <a:pt x="24684" y="321589"/>
                      </a:moveTo>
                      <a:lnTo>
                        <a:pt x="24684" y="25371"/>
                      </a:lnTo>
                      <a:lnTo>
                        <a:pt x="191994" y="25371"/>
                      </a:lnTo>
                      <a:lnTo>
                        <a:pt x="191994" y="285933"/>
                      </a:lnTo>
                      <a:lnTo>
                        <a:pt x="60341" y="285933"/>
                      </a:lnTo>
                      <a:cubicBezTo>
                        <a:pt x="54855" y="285933"/>
                        <a:pt x="49369" y="291418"/>
                        <a:pt x="49369" y="296904"/>
                      </a:cubicBezTo>
                      <a:cubicBezTo>
                        <a:pt x="49369" y="302389"/>
                        <a:pt x="54855" y="307875"/>
                        <a:pt x="60341" y="307875"/>
                      </a:cubicBezTo>
                      <a:lnTo>
                        <a:pt x="381244" y="307875"/>
                      </a:lnTo>
                      <a:lnTo>
                        <a:pt x="381244" y="318846"/>
                      </a:lnTo>
                      <a:cubicBezTo>
                        <a:pt x="381244" y="324332"/>
                        <a:pt x="375759" y="329817"/>
                        <a:pt x="370274" y="329817"/>
                      </a:cubicBezTo>
                      <a:lnTo>
                        <a:pt x="35656" y="329817"/>
                      </a:lnTo>
                      <a:cubicBezTo>
                        <a:pt x="30170" y="332560"/>
                        <a:pt x="24684" y="327074"/>
                        <a:pt x="24684" y="321589"/>
                      </a:cubicBezTo>
                      <a:lnTo>
                        <a:pt x="24684" y="321589"/>
                      </a:lnTo>
                      <a:close/>
                      <a:moveTo>
                        <a:pt x="142624" y="381930"/>
                      </a:moveTo>
                      <a:lnTo>
                        <a:pt x="142624" y="357245"/>
                      </a:lnTo>
                      <a:lnTo>
                        <a:pt x="178280" y="357245"/>
                      </a:lnTo>
                      <a:lnTo>
                        <a:pt x="178280" y="417585"/>
                      </a:lnTo>
                      <a:cubicBezTo>
                        <a:pt x="159080" y="417585"/>
                        <a:pt x="142624" y="401129"/>
                        <a:pt x="142624" y="381930"/>
                      </a:cubicBezTo>
                      <a:lnTo>
                        <a:pt x="142624" y="381930"/>
                      </a:lnTo>
                      <a:close/>
                      <a:moveTo>
                        <a:pt x="463527" y="1067620"/>
                      </a:moveTo>
                      <a:lnTo>
                        <a:pt x="274277" y="1067620"/>
                      </a:lnTo>
                      <a:cubicBezTo>
                        <a:pt x="279763" y="1040193"/>
                        <a:pt x="304447" y="1020993"/>
                        <a:pt x="331874" y="1020993"/>
                      </a:cubicBezTo>
                      <a:lnTo>
                        <a:pt x="463527" y="1020993"/>
                      </a:lnTo>
                      <a:lnTo>
                        <a:pt x="463527" y="1067620"/>
                      </a:lnTo>
                      <a:close/>
                      <a:moveTo>
                        <a:pt x="817344" y="1067620"/>
                      </a:moveTo>
                      <a:lnTo>
                        <a:pt x="628093" y="1067620"/>
                      </a:lnTo>
                      <a:lnTo>
                        <a:pt x="628093" y="1020993"/>
                      </a:lnTo>
                      <a:lnTo>
                        <a:pt x="759747" y="1020993"/>
                      </a:lnTo>
                      <a:cubicBezTo>
                        <a:pt x="787175" y="1020993"/>
                        <a:pt x="811858" y="1042935"/>
                        <a:pt x="817344" y="1067620"/>
                      </a:cubicBezTo>
                      <a:lnTo>
                        <a:pt x="817344" y="1067620"/>
                      </a:lnTo>
                      <a:close/>
                      <a:moveTo>
                        <a:pt x="663750" y="417585"/>
                      </a:moveTo>
                      <a:cubicBezTo>
                        <a:pt x="658264" y="417585"/>
                        <a:pt x="652778" y="423071"/>
                        <a:pt x="652778" y="428557"/>
                      </a:cubicBezTo>
                      <a:lnTo>
                        <a:pt x="652778" y="631521"/>
                      </a:lnTo>
                      <a:lnTo>
                        <a:pt x="474498" y="631521"/>
                      </a:lnTo>
                      <a:cubicBezTo>
                        <a:pt x="469013" y="631521"/>
                        <a:pt x="463527" y="637006"/>
                        <a:pt x="463527" y="642492"/>
                      </a:cubicBezTo>
                      <a:cubicBezTo>
                        <a:pt x="463527" y="647978"/>
                        <a:pt x="469013" y="653463"/>
                        <a:pt x="474498" y="653463"/>
                      </a:cubicBezTo>
                      <a:lnTo>
                        <a:pt x="652778" y="653463"/>
                      </a:lnTo>
                      <a:lnTo>
                        <a:pt x="652778" y="664434"/>
                      </a:lnTo>
                      <a:cubicBezTo>
                        <a:pt x="652778" y="664434"/>
                        <a:pt x="652778" y="667177"/>
                        <a:pt x="652778" y="667177"/>
                      </a:cubicBezTo>
                      <a:lnTo>
                        <a:pt x="732319" y="996308"/>
                      </a:lnTo>
                      <a:lnTo>
                        <a:pt x="625351" y="996308"/>
                      </a:lnTo>
                      <a:lnTo>
                        <a:pt x="556781" y="722032"/>
                      </a:lnTo>
                      <a:cubicBezTo>
                        <a:pt x="556781" y="716547"/>
                        <a:pt x="551296" y="713804"/>
                        <a:pt x="545810" y="713804"/>
                      </a:cubicBezTo>
                      <a:cubicBezTo>
                        <a:pt x="540326" y="713804"/>
                        <a:pt x="534840" y="716547"/>
                        <a:pt x="534840" y="722032"/>
                      </a:cubicBezTo>
                      <a:lnTo>
                        <a:pt x="466270" y="996308"/>
                      </a:lnTo>
                      <a:lnTo>
                        <a:pt x="348332" y="996308"/>
                      </a:lnTo>
                      <a:lnTo>
                        <a:pt x="438843" y="667177"/>
                      </a:lnTo>
                      <a:cubicBezTo>
                        <a:pt x="438843" y="667177"/>
                        <a:pt x="438843" y="664434"/>
                        <a:pt x="438843" y="664434"/>
                      </a:cubicBezTo>
                      <a:lnTo>
                        <a:pt x="438843" y="428557"/>
                      </a:lnTo>
                      <a:cubicBezTo>
                        <a:pt x="438843" y="423071"/>
                        <a:pt x="433357" y="417585"/>
                        <a:pt x="427871" y="417585"/>
                      </a:cubicBezTo>
                      <a:lnTo>
                        <a:pt x="202964" y="417585"/>
                      </a:lnTo>
                      <a:lnTo>
                        <a:pt x="202964" y="357245"/>
                      </a:lnTo>
                      <a:lnTo>
                        <a:pt x="891399" y="357245"/>
                      </a:lnTo>
                      <a:lnTo>
                        <a:pt x="891399" y="417585"/>
                      </a:lnTo>
                      <a:lnTo>
                        <a:pt x="663750" y="417585"/>
                      </a:lnTo>
                      <a:close/>
                      <a:moveTo>
                        <a:pt x="913341" y="417585"/>
                      </a:moveTo>
                      <a:lnTo>
                        <a:pt x="913341" y="357245"/>
                      </a:lnTo>
                      <a:lnTo>
                        <a:pt x="948997" y="357245"/>
                      </a:lnTo>
                      <a:lnTo>
                        <a:pt x="948997" y="381930"/>
                      </a:lnTo>
                      <a:cubicBezTo>
                        <a:pt x="948997" y="401129"/>
                        <a:pt x="932541" y="417585"/>
                        <a:pt x="913341" y="417585"/>
                      </a:cubicBezTo>
                      <a:lnTo>
                        <a:pt x="913341" y="417585"/>
                      </a:lnTo>
                      <a:close/>
                      <a:moveTo>
                        <a:pt x="1066936" y="582151"/>
                      </a:moveTo>
                      <a:lnTo>
                        <a:pt x="1066936" y="606836"/>
                      </a:lnTo>
                      <a:lnTo>
                        <a:pt x="970939" y="606836"/>
                      </a:lnTo>
                      <a:lnTo>
                        <a:pt x="970939" y="582151"/>
                      </a:lnTo>
                      <a:lnTo>
                        <a:pt x="1066936" y="582151"/>
                      </a:lnTo>
                      <a:close/>
                      <a:moveTo>
                        <a:pt x="1031280" y="689119"/>
                      </a:moveTo>
                      <a:lnTo>
                        <a:pt x="1006596" y="689119"/>
                      </a:lnTo>
                      <a:cubicBezTo>
                        <a:pt x="987396" y="689119"/>
                        <a:pt x="970939" y="672662"/>
                        <a:pt x="970939" y="653463"/>
                      </a:cubicBezTo>
                      <a:lnTo>
                        <a:pt x="970939" y="628778"/>
                      </a:lnTo>
                      <a:lnTo>
                        <a:pt x="1066936" y="628778"/>
                      </a:lnTo>
                      <a:lnTo>
                        <a:pt x="1066936" y="653463"/>
                      </a:lnTo>
                      <a:cubicBezTo>
                        <a:pt x="1066936" y="672662"/>
                        <a:pt x="1053222" y="689119"/>
                        <a:pt x="1031280" y="689119"/>
                      </a:cubicBezTo>
                      <a:lnTo>
                        <a:pt x="1031280" y="689119"/>
                      </a:lnTo>
                      <a:close/>
                    </a:path>
                  </a:pathLst>
                </a:custGeom>
                <a:grpFill/>
                <a:ln w="27426" cap="flat">
                  <a:noFill/>
                  <a:prstDash val="solid"/>
                  <a:miter/>
                </a:ln>
              </p:spPr>
              <p:txBody>
                <a:bodyPr rtlCol="0" anchor="ctr"/>
                <a:lstStyle/>
                <a:p>
                  <a:pPr algn="l" rtl="0"/>
                  <a:endParaRPr lang="en-US"/>
                </a:p>
              </p:txBody>
            </p:sp>
          </p:grpSp>
          <p:sp>
            <p:nvSpPr>
              <p:cNvPr id="197" name="Freeform 196">
                <a:extLst>
                  <a:ext uri="{FF2B5EF4-FFF2-40B4-BE49-F238E27FC236}">
                    <a16:creationId xmlns:a16="http://schemas.microsoft.com/office/drawing/2014/main" id="{6E9B6222-8712-C7ED-2663-1D2024D2EFF4}"/>
                  </a:ext>
                </a:extLst>
              </p:cNvPr>
              <p:cNvSpPr/>
              <p:nvPr/>
            </p:nvSpPr>
            <p:spPr>
              <a:xfrm>
                <a:off x="7624966" y="3971001"/>
                <a:ext cx="21941" cy="58311"/>
              </a:xfrm>
              <a:custGeom>
                <a:avLst/>
                <a:gdLst>
                  <a:gd name="connsiteX0" fmla="*/ 21942 w 21941"/>
                  <a:gd name="connsiteY0" fmla="*/ 46627 h 58311"/>
                  <a:gd name="connsiteX1" fmla="*/ 21942 w 21941"/>
                  <a:gd name="connsiteY1" fmla="*/ 10971 h 58311"/>
                  <a:gd name="connsiteX2" fmla="*/ 10972 w 21941"/>
                  <a:gd name="connsiteY2" fmla="*/ 0 h 58311"/>
                  <a:gd name="connsiteX3" fmla="*/ 0 w 21941"/>
                  <a:gd name="connsiteY3" fmla="*/ 10971 h 58311"/>
                  <a:gd name="connsiteX4" fmla="*/ 0 w 21941"/>
                  <a:gd name="connsiteY4" fmla="*/ 46627 h 58311"/>
                  <a:gd name="connsiteX5" fmla="*/ 10972 w 21941"/>
                  <a:gd name="connsiteY5" fmla="*/ 57598 h 58311"/>
                  <a:gd name="connsiteX6" fmla="*/ 21942 w 21941"/>
                  <a:gd name="connsiteY6" fmla="*/ 46627 h 58311"/>
                  <a:gd name="connsiteX7" fmla="*/ 21942 w 21941"/>
                  <a:gd name="connsiteY7" fmla="*/ 46627 h 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58311">
                    <a:moveTo>
                      <a:pt x="21942" y="46627"/>
                    </a:moveTo>
                    <a:lnTo>
                      <a:pt x="21942" y="10971"/>
                    </a:lnTo>
                    <a:cubicBezTo>
                      <a:pt x="21942" y="5485"/>
                      <a:pt x="16456" y="0"/>
                      <a:pt x="10972" y="0"/>
                    </a:cubicBezTo>
                    <a:cubicBezTo>
                      <a:pt x="5486" y="0"/>
                      <a:pt x="0" y="5485"/>
                      <a:pt x="0" y="10971"/>
                    </a:cubicBezTo>
                    <a:lnTo>
                      <a:pt x="0" y="46627"/>
                    </a:lnTo>
                    <a:cubicBezTo>
                      <a:pt x="0" y="52112"/>
                      <a:pt x="5486" y="57598"/>
                      <a:pt x="10972" y="57598"/>
                    </a:cubicBezTo>
                    <a:cubicBezTo>
                      <a:pt x="16456" y="60341"/>
                      <a:pt x="21942" y="54855"/>
                      <a:pt x="21942" y="46627"/>
                    </a:cubicBezTo>
                    <a:lnTo>
                      <a:pt x="21942" y="46627"/>
                    </a:lnTo>
                    <a:close/>
                  </a:path>
                </a:pathLst>
              </a:custGeom>
              <a:grpFill/>
              <a:ln w="27426" cap="flat">
                <a:noFill/>
                <a:prstDash val="solid"/>
                <a:miter/>
              </a:ln>
            </p:spPr>
            <p:txBody>
              <a:bodyPr rtlCol="0" anchor="ctr"/>
              <a:lstStyle/>
              <a:p>
                <a:pPr algn="l" rtl="0"/>
                <a:endParaRPr lang="en-US"/>
              </a:p>
            </p:txBody>
          </p:sp>
          <p:sp>
            <p:nvSpPr>
              <p:cNvPr id="198" name="Freeform 197">
                <a:extLst>
                  <a:ext uri="{FF2B5EF4-FFF2-40B4-BE49-F238E27FC236}">
                    <a16:creationId xmlns:a16="http://schemas.microsoft.com/office/drawing/2014/main" id="{7646CC04-C665-AF2F-D1D4-7BFB1ECBCA8C}"/>
                  </a:ext>
                </a:extLst>
              </p:cNvPr>
              <p:cNvSpPr/>
              <p:nvPr/>
            </p:nvSpPr>
            <p:spPr>
              <a:xfrm>
                <a:off x="6651284" y="373512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pPr algn="l" rtl="0"/>
                <a:endParaRPr lang="en-US"/>
              </a:p>
            </p:txBody>
          </p:sp>
          <p:sp>
            <p:nvSpPr>
              <p:cNvPr id="199" name="Freeform 198">
                <a:extLst>
                  <a:ext uri="{FF2B5EF4-FFF2-40B4-BE49-F238E27FC236}">
                    <a16:creationId xmlns:a16="http://schemas.microsoft.com/office/drawing/2014/main" id="{DAD54120-AE0F-C706-CF8A-16749F9BDD88}"/>
                  </a:ext>
                </a:extLst>
              </p:cNvPr>
              <p:cNvSpPr/>
              <p:nvPr/>
            </p:nvSpPr>
            <p:spPr>
              <a:xfrm>
                <a:off x="6651284" y="3784493"/>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6"/>
                      <a:pt x="117939" y="10971"/>
                    </a:cubicBezTo>
                    <a:cubicBezTo>
                      <a:pt x="117939" y="5485"/>
                      <a:pt x="112453" y="0"/>
                      <a:pt x="106969" y="0"/>
                    </a:cubicBezTo>
                    <a:lnTo>
                      <a:pt x="10972" y="0"/>
                    </a:lnTo>
                    <a:cubicBezTo>
                      <a:pt x="5486" y="0"/>
                      <a:pt x="0" y="5485"/>
                      <a:pt x="0" y="10971"/>
                    </a:cubicBezTo>
                    <a:cubicBezTo>
                      <a:pt x="0" y="16456"/>
                      <a:pt x="2742" y="21942"/>
                      <a:pt x="10972" y="21942"/>
                    </a:cubicBezTo>
                    <a:lnTo>
                      <a:pt x="10972" y="21942"/>
                    </a:lnTo>
                    <a:close/>
                  </a:path>
                </a:pathLst>
              </a:custGeom>
              <a:grpFill/>
              <a:ln w="27426" cap="flat">
                <a:noFill/>
                <a:prstDash val="solid"/>
                <a:miter/>
              </a:ln>
            </p:spPr>
            <p:txBody>
              <a:bodyPr rtlCol="0" anchor="ctr"/>
              <a:lstStyle/>
              <a:p>
                <a:pPr algn="l" rtl="0"/>
                <a:endParaRPr lang="en-US"/>
              </a:p>
            </p:txBody>
          </p:sp>
          <p:sp>
            <p:nvSpPr>
              <p:cNvPr id="200" name="Freeform 199">
                <a:extLst>
                  <a:ext uri="{FF2B5EF4-FFF2-40B4-BE49-F238E27FC236}">
                    <a16:creationId xmlns:a16="http://schemas.microsoft.com/office/drawing/2014/main" id="{6CF05655-35EC-DA89-B62E-B50B4518FF43}"/>
                  </a:ext>
                </a:extLst>
              </p:cNvPr>
              <p:cNvSpPr/>
              <p:nvPr/>
            </p:nvSpPr>
            <p:spPr>
              <a:xfrm>
                <a:off x="6651284" y="3831120"/>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pPr algn="l" rtl="0"/>
                <a:endParaRPr lang="en-US"/>
              </a:p>
            </p:txBody>
          </p:sp>
          <p:sp>
            <p:nvSpPr>
              <p:cNvPr id="201" name="Freeform 200">
                <a:extLst>
                  <a:ext uri="{FF2B5EF4-FFF2-40B4-BE49-F238E27FC236}">
                    <a16:creationId xmlns:a16="http://schemas.microsoft.com/office/drawing/2014/main" id="{4D03E8EF-A4FF-1185-A3C5-C5D98E52A14D}"/>
                  </a:ext>
                </a:extLst>
              </p:cNvPr>
              <p:cNvSpPr/>
              <p:nvPr/>
            </p:nvSpPr>
            <p:spPr>
              <a:xfrm>
                <a:off x="6651284" y="3877747"/>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pPr algn="l" rtl="0"/>
                <a:endParaRPr lang="en-US"/>
              </a:p>
            </p:txBody>
          </p:sp>
          <p:sp>
            <p:nvSpPr>
              <p:cNvPr id="202" name="Freeform 201">
                <a:extLst>
                  <a:ext uri="{FF2B5EF4-FFF2-40B4-BE49-F238E27FC236}">
                    <a16:creationId xmlns:a16="http://schemas.microsoft.com/office/drawing/2014/main" id="{9C18147A-A4AD-A682-E050-3BB03DA57A62}"/>
                  </a:ext>
                </a:extLst>
              </p:cNvPr>
              <p:cNvSpPr/>
              <p:nvPr/>
            </p:nvSpPr>
            <p:spPr>
              <a:xfrm>
                <a:off x="6651284" y="392437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6"/>
                      <a:pt x="112453" y="0"/>
                      <a:pt x="106969" y="0"/>
                    </a:cubicBezTo>
                    <a:lnTo>
                      <a:pt x="10972" y="0"/>
                    </a:lnTo>
                    <a:cubicBezTo>
                      <a:pt x="5486" y="0"/>
                      <a:pt x="0" y="5486"/>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pPr algn="l" rtl="0"/>
                <a:endParaRPr lang="en-US"/>
              </a:p>
            </p:txBody>
          </p:sp>
          <p:sp>
            <p:nvSpPr>
              <p:cNvPr id="203" name="Freeform 202">
                <a:extLst>
                  <a:ext uri="{FF2B5EF4-FFF2-40B4-BE49-F238E27FC236}">
                    <a16:creationId xmlns:a16="http://schemas.microsoft.com/office/drawing/2014/main" id="{1D809CD9-0436-34BF-1189-8A477283FAA8}"/>
                  </a:ext>
                </a:extLst>
              </p:cNvPr>
              <p:cNvSpPr/>
              <p:nvPr/>
            </p:nvSpPr>
            <p:spPr>
              <a:xfrm>
                <a:off x="6840535" y="373512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pPr algn="l" rtl="0"/>
                <a:endParaRPr lang="en-US"/>
              </a:p>
            </p:txBody>
          </p:sp>
          <p:sp>
            <p:nvSpPr>
              <p:cNvPr id="204" name="Freeform 203">
                <a:extLst>
                  <a:ext uri="{FF2B5EF4-FFF2-40B4-BE49-F238E27FC236}">
                    <a16:creationId xmlns:a16="http://schemas.microsoft.com/office/drawing/2014/main" id="{726E6179-F415-F8ED-6117-30BC784EE39C}"/>
                  </a:ext>
                </a:extLst>
              </p:cNvPr>
              <p:cNvSpPr/>
              <p:nvPr/>
            </p:nvSpPr>
            <p:spPr>
              <a:xfrm>
                <a:off x="6840535" y="3784493"/>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6"/>
                      <a:pt x="117939" y="10971"/>
                    </a:cubicBezTo>
                    <a:cubicBezTo>
                      <a:pt x="117939" y="5485"/>
                      <a:pt x="112453" y="0"/>
                      <a:pt x="106967" y="0"/>
                    </a:cubicBezTo>
                    <a:lnTo>
                      <a:pt x="10970" y="0"/>
                    </a:lnTo>
                    <a:cubicBezTo>
                      <a:pt x="5484" y="0"/>
                      <a:pt x="0" y="5485"/>
                      <a:pt x="0" y="10971"/>
                    </a:cubicBezTo>
                    <a:cubicBezTo>
                      <a:pt x="0" y="16456"/>
                      <a:pt x="5484" y="21942"/>
                      <a:pt x="10970" y="21942"/>
                    </a:cubicBezTo>
                    <a:lnTo>
                      <a:pt x="10970" y="21942"/>
                    </a:lnTo>
                    <a:close/>
                  </a:path>
                </a:pathLst>
              </a:custGeom>
              <a:grpFill/>
              <a:ln w="27426" cap="flat">
                <a:noFill/>
                <a:prstDash val="solid"/>
                <a:miter/>
              </a:ln>
            </p:spPr>
            <p:txBody>
              <a:bodyPr rtlCol="0" anchor="ctr"/>
              <a:lstStyle/>
              <a:p>
                <a:pPr algn="l" rtl="0"/>
                <a:endParaRPr lang="en-US"/>
              </a:p>
            </p:txBody>
          </p:sp>
          <p:sp>
            <p:nvSpPr>
              <p:cNvPr id="205" name="Freeform 204">
                <a:extLst>
                  <a:ext uri="{FF2B5EF4-FFF2-40B4-BE49-F238E27FC236}">
                    <a16:creationId xmlns:a16="http://schemas.microsoft.com/office/drawing/2014/main" id="{E061A449-F223-F907-18E4-1B52A9A49D88}"/>
                  </a:ext>
                </a:extLst>
              </p:cNvPr>
              <p:cNvSpPr/>
              <p:nvPr/>
            </p:nvSpPr>
            <p:spPr>
              <a:xfrm>
                <a:off x="6840535" y="3831120"/>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pPr algn="l" rtl="0"/>
                <a:endParaRPr lang="en-US"/>
              </a:p>
            </p:txBody>
          </p:sp>
          <p:sp>
            <p:nvSpPr>
              <p:cNvPr id="206" name="Freeform 205">
                <a:extLst>
                  <a:ext uri="{FF2B5EF4-FFF2-40B4-BE49-F238E27FC236}">
                    <a16:creationId xmlns:a16="http://schemas.microsoft.com/office/drawing/2014/main" id="{BEFB7D4A-2368-35A6-1373-D6C78D9EDBAD}"/>
                  </a:ext>
                </a:extLst>
              </p:cNvPr>
              <p:cNvSpPr/>
              <p:nvPr/>
            </p:nvSpPr>
            <p:spPr>
              <a:xfrm>
                <a:off x="6840535" y="3877747"/>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pPr algn="l" rtl="0"/>
                <a:endParaRPr lang="en-US"/>
              </a:p>
            </p:txBody>
          </p:sp>
          <p:sp>
            <p:nvSpPr>
              <p:cNvPr id="207" name="Freeform 206">
                <a:extLst>
                  <a:ext uri="{FF2B5EF4-FFF2-40B4-BE49-F238E27FC236}">
                    <a16:creationId xmlns:a16="http://schemas.microsoft.com/office/drawing/2014/main" id="{8D1339B8-A5DF-7C9B-8513-EEF55BD22263}"/>
                  </a:ext>
                </a:extLst>
              </p:cNvPr>
              <p:cNvSpPr/>
              <p:nvPr/>
            </p:nvSpPr>
            <p:spPr>
              <a:xfrm>
                <a:off x="6840535" y="392437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6"/>
                      <a:pt x="112453" y="0"/>
                      <a:pt x="106967" y="0"/>
                    </a:cubicBezTo>
                    <a:lnTo>
                      <a:pt x="10970" y="0"/>
                    </a:lnTo>
                    <a:cubicBezTo>
                      <a:pt x="5484" y="0"/>
                      <a:pt x="0" y="5486"/>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pPr algn="l" rtl="0"/>
                <a:endParaRPr lang="en-US"/>
              </a:p>
            </p:txBody>
          </p:sp>
          <p:sp>
            <p:nvSpPr>
              <p:cNvPr id="208" name="Freeform 207">
                <a:extLst>
                  <a:ext uri="{FF2B5EF4-FFF2-40B4-BE49-F238E27FC236}">
                    <a16:creationId xmlns:a16="http://schemas.microsoft.com/office/drawing/2014/main" id="{87E3DC0F-7BA8-4FA0-1069-68F78E68C5D8}"/>
                  </a:ext>
                </a:extLst>
              </p:cNvPr>
              <p:cNvSpPr/>
              <p:nvPr/>
            </p:nvSpPr>
            <p:spPr>
              <a:xfrm>
                <a:off x="6673225" y="4138309"/>
                <a:ext cx="22655" cy="175537"/>
              </a:xfrm>
              <a:custGeom>
                <a:avLst/>
                <a:gdLst>
                  <a:gd name="connsiteX0" fmla="*/ 10972 w 22655"/>
                  <a:gd name="connsiteY0" fmla="*/ 0 h 175537"/>
                  <a:gd name="connsiteX1" fmla="*/ 0 w 22655"/>
                  <a:gd name="connsiteY1" fmla="*/ 10971 h 175537"/>
                  <a:gd name="connsiteX2" fmla="*/ 0 w 22655"/>
                  <a:gd name="connsiteY2" fmla="*/ 164566 h 175537"/>
                  <a:gd name="connsiteX3" fmla="*/ 10972 w 22655"/>
                  <a:gd name="connsiteY3" fmla="*/ 175537 h 175537"/>
                  <a:gd name="connsiteX4" fmla="*/ 21942 w 22655"/>
                  <a:gd name="connsiteY4" fmla="*/ 164566 h 175537"/>
                  <a:gd name="connsiteX5" fmla="*/ 21942 w 22655"/>
                  <a:gd name="connsiteY5" fmla="*/ 10971 h 175537"/>
                  <a:gd name="connsiteX6" fmla="*/ 10972 w 22655"/>
                  <a:gd name="connsiteY6" fmla="*/ 0 h 175537"/>
                  <a:gd name="connsiteX7" fmla="*/ 10972 w 22655"/>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55" h="175537">
                    <a:moveTo>
                      <a:pt x="10972" y="0"/>
                    </a:moveTo>
                    <a:cubicBezTo>
                      <a:pt x="5486" y="0"/>
                      <a:pt x="0" y="5485"/>
                      <a:pt x="0" y="10971"/>
                    </a:cubicBezTo>
                    <a:lnTo>
                      <a:pt x="0" y="164566"/>
                    </a:lnTo>
                    <a:cubicBezTo>
                      <a:pt x="0" y="170051"/>
                      <a:pt x="5486" y="175537"/>
                      <a:pt x="10972" y="175537"/>
                    </a:cubicBezTo>
                    <a:cubicBezTo>
                      <a:pt x="16458" y="175537"/>
                      <a:pt x="21942" y="170051"/>
                      <a:pt x="21942" y="164566"/>
                    </a:cubicBezTo>
                    <a:lnTo>
                      <a:pt x="21942" y="10971"/>
                    </a:lnTo>
                    <a:cubicBezTo>
                      <a:pt x="24686" y="5485"/>
                      <a:pt x="19200" y="0"/>
                      <a:pt x="10972" y="0"/>
                    </a:cubicBezTo>
                    <a:lnTo>
                      <a:pt x="10972" y="0"/>
                    </a:lnTo>
                    <a:close/>
                  </a:path>
                </a:pathLst>
              </a:custGeom>
              <a:grpFill/>
              <a:ln w="27426" cap="flat">
                <a:noFill/>
                <a:prstDash val="solid"/>
                <a:miter/>
              </a:ln>
            </p:spPr>
            <p:txBody>
              <a:bodyPr rtlCol="0" anchor="ctr"/>
              <a:lstStyle/>
              <a:p>
                <a:pPr algn="l" rtl="0"/>
                <a:endParaRPr lang="en-US"/>
              </a:p>
            </p:txBody>
          </p:sp>
          <p:sp>
            <p:nvSpPr>
              <p:cNvPr id="209" name="Freeform 208">
                <a:extLst>
                  <a:ext uri="{FF2B5EF4-FFF2-40B4-BE49-F238E27FC236}">
                    <a16:creationId xmlns:a16="http://schemas.microsoft.com/office/drawing/2014/main" id="{AB839EF7-BCA9-0881-0F05-AE32618DF175}"/>
                  </a:ext>
                </a:extLst>
              </p:cNvPr>
              <p:cNvSpPr/>
              <p:nvPr/>
            </p:nvSpPr>
            <p:spPr>
              <a:xfrm>
                <a:off x="6675969" y="433853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pPr algn="l" rtl="0"/>
                <a:endParaRPr lang="en-US"/>
              </a:p>
            </p:txBody>
          </p:sp>
          <p:sp>
            <p:nvSpPr>
              <p:cNvPr id="210" name="Freeform 209">
                <a:extLst>
                  <a:ext uri="{FF2B5EF4-FFF2-40B4-BE49-F238E27FC236}">
                    <a16:creationId xmlns:a16="http://schemas.microsoft.com/office/drawing/2014/main" id="{4B027190-B352-6F6C-8F49-9F0061AA9E12}"/>
                  </a:ext>
                </a:extLst>
              </p:cNvPr>
              <p:cNvSpPr/>
              <p:nvPr/>
            </p:nvSpPr>
            <p:spPr>
              <a:xfrm>
                <a:off x="6675969" y="438790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6"/>
                      <a:pt x="16456" y="21942"/>
                      <a:pt x="10970" y="21942"/>
                    </a:cubicBezTo>
                    <a:cubicBezTo>
                      <a:pt x="5484" y="21942"/>
                      <a:pt x="0" y="16456"/>
                      <a:pt x="0" y="10971"/>
                    </a:cubicBezTo>
                    <a:cubicBezTo>
                      <a:pt x="0" y="5485"/>
                      <a:pt x="5484" y="0"/>
                      <a:pt x="10970" y="0"/>
                    </a:cubicBezTo>
                    <a:cubicBezTo>
                      <a:pt x="16456" y="0"/>
                      <a:pt x="21942" y="2743"/>
                      <a:pt x="21942" y="10971"/>
                    </a:cubicBezTo>
                    <a:lnTo>
                      <a:pt x="21942" y="10971"/>
                    </a:lnTo>
                    <a:close/>
                  </a:path>
                </a:pathLst>
              </a:custGeom>
              <a:grpFill/>
              <a:ln w="27426" cap="flat">
                <a:noFill/>
                <a:prstDash val="solid"/>
                <a:miter/>
              </a:ln>
            </p:spPr>
            <p:txBody>
              <a:bodyPr rtlCol="0" anchor="ctr"/>
              <a:lstStyle/>
              <a:p>
                <a:pPr algn="l" rtl="0"/>
                <a:endParaRPr lang="en-US"/>
              </a:p>
            </p:txBody>
          </p:sp>
          <p:sp>
            <p:nvSpPr>
              <p:cNvPr id="211" name="Freeform 210">
                <a:extLst>
                  <a:ext uri="{FF2B5EF4-FFF2-40B4-BE49-F238E27FC236}">
                    <a16:creationId xmlns:a16="http://schemas.microsoft.com/office/drawing/2014/main" id="{DC2A80BE-70CA-0EBD-1FF4-FD16992217C2}"/>
                  </a:ext>
                </a:extLst>
              </p:cNvPr>
              <p:cNvSpPr/>
              <p:nvPr/>
            </p:nvSpPr>
            <p:spPr>
              <a:xfrm>
                <a:off x="6758252" y="4184936"/>
                <a:ext cx="21941" cy="175537"/>
              </a:xfrm>
              <a:custGeom>
                <a:avLst/>
                <a:gdLst>
                  <a:gd name="connsiteX0" fmla="*/ 10970 w 21941"/>
                  <a:gd name="connsiteY0" fmla="*/ 0 h 175537"/>
                  <a:gd name="connsiteX1" fmla="*/ 0 w 21941"/>
                  <a:gd name="connsiteY1" fmla="*/ 10971 h 175537"/>
                  <a:gd name="connsiteX2" fmla="*/ 0 w 21941"/>
                  <a:gd name="connsiteY2" fmla="*/ 164566 h 175537"/>
                  <a:gd name="connsiteX3" fmla="*/ 10970 w 21941"/>
                  <a:gd name="connsiteY3" fmla="*/ 175537 h 175537"/>
                  <a:gd name="connsiteX4" fmla="*/ 21942 w 21941"/>
                  <a:gd name="connsiteY4" fmla="*/ 164566 h 175537"/>
                  <a:gd name="connsiteX5" fmla="*/ 21942 w 21941"/>
                  <a:gd name="connsiteY5" fmla="*/ 10971 h 175537"/>
                  <a:gd name="connsiteX6" fmla="*/ 10970 w 21941"/>
                  <a:gd name="connsiteY6" fmla="*/ 0 h 175537"/>
                  <a:gd name="connsiteX7" fmla="*/ 10970 w 21941"/>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0"/>
                    </a:moveTo>
                    <a:cubicBezTo>
                      <a:pt x="5484" y="0"/>
                      <a:pt x="0" y="5486"/>
                      <a:pt x="0" y="10971"/>
                    </a:cubicBezTo>
                    <a:lnTo>
                      <a:pt x="0" y="164566"/>
                    </a:lnTo>
                    <a:cubicBezTo>
                      <a:pt x="0" y="170052"/>
                      <a:pt x="5484" y="175537"/>
                      <a:pt x="10970" y="175537"/>
                    </a:cubicBezTo>
                    <a:cubicBezTo>
                      <a:pt x="16456" y="175537"/>
                      <a:pt x="21942" y="170052"/>
                      <a:pt x="21942" y="164566"/>
                    </a:cubicBezTo>
                    <a:lnTo>
                      <a:pt x="21942" y="10971"/>
                    </a:lnTo>
                    <a:cubicBezTo>
                      <a:pt x="21942" y="5486"/>
                      <a:pt x="16456" y="0"/>
                      <a:pt x="10970" y="0"/>
                    </a:cubicBezTo>
                    <a:lnTo>
                      <a:pt x="10970" y="0"/>
                    </a:lnTo>
                    <a:close/>
                  </a:path>
                </a:pathLst>
              </a:custGeom>
              <a:grpFill/>
              <a:ln w="27426" cap="flat">
                <a:noFill/>
                <a:prstDash val="solid"/>
                <a:miter/>
              </a:ln>
            </p:spPr>
            <p:txBody>
              <a:bodyPr rtlCol="0" anchor="ctr"/>
              <a:lstStyle/>
              <a:p>
                <a:pPr algn="l" rtl="0"/>
                <a:endParaRPr lang="en-US"/>
              </a:p>
            </p:txBody>
          </p:sp>
          <p:sp>
            <p:nvSpPr>
              <p:cNvPr id="212" name="Freeform 211">
                <a:extLst>
                  <a:ext uri="{FF2B5EF4-FFF2-40B4-BE49-F238E27FC236}">
                    <a16:creationId xmlns:a16="http://schemas.microsoft.com/office/drawing/2014/main" id="{FA2F779C-3C34-1B38-6AFB-00D820A6DEE7}"/>
                  </a:ext>
                </a:extLst>
              </p:cNvPr>
              <p:cNvSpPr/>
              <p:nvPr/>
            </p:nvSpPr>
            <p:spPr>
              <a:xfrm>
                <a:off x="6758252" y="4387187"/>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4" y="22656"/>
                      <a:pt x="0" y="17170"/>
                      <a:pt x="0" y="11684"/>
                    </a:cubicBezTo>
                    <a:cubicBezTo>
                      <a:pt x="0" y="6199"/>
                      <a:pt x="5484" y="714"/>
                      <a:pt x="10970" y="714"/>
                    </a:cubicBezTo>
                    <a:cubicBezTo>
                      <a:pt x="16456" y="-2029"/>
                      <a:pt x="21942" y="3456"/>
                      <a:pt x="21942" y="11684"/>
                    </a:cubicBezTo>
                    <a:lnTo>
                      <a:pt x="21942" y="11684"/>
                    </a:lnTo>
                    <a:close/>
                  </a:path>
                </a:pathLst>
              </a:custGeom>
              <a:grpFill/>
              <a:ln w="27426" cap="flat">
                <a:noFill/>
                <a:prstDash val="solid"/>
                <a:miter/>
              </a:ln>
            </p:spPr>
            <p:txBody>
              <a:bodyPr rtlCol="0" anchor="ctr"/>
              <a:lstStyle/>
              <a:p>
                <a:pPr algn="l" rtl="0"/>
                <a:endParaRPr lang="en-US"/>
              </a:p>
            </p:txBody>
          </p:sp>
          <p:sp>
            <p:nvSpPr>
              <p:cNvPr id="213" name="Freeform 212">
                <a:extLst>
                  <a:ext uri="{FF2B5EF4-FFF2-40B4-BE49-F238E27FC236}">
                    <a16:creationId xmlns:a16="http://schemas.microsoft.com/office/drawing/2014/main" id="{44F13354-92E6-A32A-712E-18364FC56732}"/>
                  </a:ext>
                </a:extLst>
              </p:cNvPr>
              <p:cNvSpPr/>
              <p:nvPr/>
            </p:nvSpPr>
            <p:spPr>
              <a:xfrm>
                <a:off x="6840535" y="4234306"/>
                <a:ext cx="21941" cy="175537"/>
              </a:xfrm>
              <a:custGeom>
                <a:avLst/>
                <a:gdLst>
                  <a:gd name="connsiteX0" fmla="*/ 10970 w 21941"/>
                  <a:gd name="connsiteY0" fmla="*/ 175537 h 175537"/>
                  <a:gd name="connsiteX1" fmla="*/ 21942 w 21941"/>
                  <a:gd name="connsiteY1" fmla="*/ 164566 h 175537"/>
                  <a:gd name="connsiteX2" fmla="*/ 21942 w 21941"/>
                  <a:gd name="connsiteY2" fmla="*/ 10971 h 175537"/>
                  <a:gd name="connsiteX3" fmla="*/ 10970 w 21941"/>
                  <a:gd name="connsiteY3" fmla="*/ 0 h 175537"/>
                  <a:gd name="connsiteX4" fmla="*/ 0 w 21941"/>
                  <a:gd name="connsiteY4" fmla="*/ 10971 h 175537"/>
                  <a:gd name="connsiteX5" fmla="*/ 0 w 21941"/>
                  <a:gd name="connsiteY5" fmla="*/ 164566 h 175537"/>
                  <a:gd name="connsiteX6" fmla="*/ 10970 w 21941"/>
                  <a:gd name="connsiteY6" fmla="*/ 175537 h 175537"/>
                  <a:gd name="connsiteX7" fmla="*/ 10970 w 21941"/>
                  <a:gd name="connsiteY7" fmla="*/ 175537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175537"/>
                    </a:moveTo>
                    <a:cubicBezTo>
                      <a:pt x="16456" y="175537"/>
                      <a:pt x="21942" y="170051"/>
                      <a:pt x="21942" y="164566"/>
                    </a:cubicBezTo>
                    <a:lnTo>
                      <a:pt x="21942" y="10971"/>
                    </a:lnTo>
                    <a:cubicBezTo>
                      <a:pt x="21942" y="5485"/>
                      <a:pt x="16456" y="0"/>
                      <a:pt x="10970" y="0"/>
                    </a:cubicBezTo>
                    <a:cubicBezTo>
                      <a:pt x="5484" y="0"/>
                      <a:pt x="0" y="5485"/>
                      <a:pt x="0" y="10971"/>
                    </a:cubicBezTo>
                    <a:lnTo>
                      <a:pt x="0" y="164566"/>
                    </a:lnTo>
                    <a:cubicBezTo>
                      <a:pt x="0" y="170051"/>
                      <a:pt x="5484" y="175537"/>
                      <a:pt x="10970" y="175537"/>
                    </a:cubicBezTo>
                    <a:lnTo>
                      <a:pt x="10970" y="175537"/>
                    </a:lnTo>
                    <a:close/>
                  </a:path>
                </a:pathLst>
              </a:custGeom>
              <a:grpFill/>
              <a:ln w="27426" cap="flat">
                <a:noFill/>
                <a:prstDash val="solid"/>
                <a:miter/>
              </a:ln>
            </p:spPr>
            <p:txBody>
              <a:bodyPr rtlCol="0" anchor="ctr"/>
              <a:lstStyle/>
              <a:p>
                <a:pPr algn="l" rtl="0"/>
                <a:endParaRPr lang="en-US"/>
              </a:p>
            </p:txBody>
          </p:sp>
          <p:sp>
            <p:nvSpPr>
              <p:cNvPr id="214" name="Freeform 213">
                <a:extLst>
                  <a:ext uri="{FF2B5EF4-FFF2-40B4-BE49-F238E27FC236}">
                    <a16:creationId xmlns:a16="http://schemas.microsoft.com/office/drawing/2014/main" id="{69FC32FE-7EB0-2DBC-2518-C3C407AE0DC0}"/>
                  </a:ext>
                </a:extLst>
              </p:cNvPr>
              <p:cNvSpPr/>
              <p:nvPr/>
            </p:nvSpPr>
            <p:spPr>
              <a:xfrm>
                <a:off x="6840535"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pPr algn="l" rtl="0"/>
                <a:endParaRPr lang="en-US"/>
              </a:p>
            </p:txBody>
          </p:sp>
          <p:sp>
            <p:nvSpPr>
              <p:cNvPr id="216" name="Freeform 215">
                <a:extLst>
                  <a:ext uri="{FF2B5EF4-FFF2-40B4-BE49-F238E27FC236}">
                    <a16:creationId xmlns:a16="http://schemas.microsoft.com/office/drawing/2014/main" id="{73B3355F-184A-2BA6-252A-79E05F73C2DD}"/>
                  </a:ext>
                </a:extLst>
              </p:cNvPr>
              <p:cNvSpPr/>
              <p:nvPr/>
            </p:nvSpPr>
            <p:spPr>
              <a:xfrm>
                <a:off x="6758252"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pPr algn="l" rtl="0"/>
                <a:endParaRPr lang="en-US"/>
              </a:p>
            </p:txBody>
          </p:sp>
          <p:sp>
            <p:nvSpPr>
              <p:cNvPr id="217" name="Freeform 216">
                <a:extLst>
                  <a:ext uri="{FF2B5EF4-FFF2-40B4-BE49-F238E27FC236}">
                    <a16:creationId xmlns:a16="http://schemas.microsoft.com/office/drawing/2014/main" id="{E563FC3A-EC2E-9FE1-9B52-76C281CE631F}"/>
                  </a:ext>
                </a:extLst>
              </p:cNvPr>
              <p:cNvSpPr/>
              <p:nvPr/>
            </p:nvSpPr>
            <p:spPr>
              <a:xfrm>
                <a:off x="6675969"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pPr algn="l" rtl="0"/>
                <a:endParaRPr lang="en-US"/>
              </a:p>
            </p:txBody>
          </p:sp>
        </p:grpSp>
      </p:grpSp>
      <p:sp>
        <p:nvSpPr>
          <p:cNvPr id="332" name="Rectangle 331">
            <a:extLst>
              <a:ext uri="{FF2B5EF4-FFF2-40B4-BE49-F238E27FC236}">
                <a16:creationId xmlns:a16="http://schemas.microsoft.com/office/drawing/2014/main" id="{4AD1CC34-EF04-776A-97D1-6B2C495C81FB}"/>
              </a:ext>
            </a:extLst>
          </p:cNvPr>
          <p:cNvSpPr/>
          <p:nvPr/>
        </p:nvSpPr>
        <p:spPr>
          <a:xfrm>
            <a:off x="1" y="0"/>
            <a:ext cx="4192538"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536404" y="430173"/>
            <a:ext cx="3240426" cy="606775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dirty="0">
                <a:solidFill>
                  <a:schemeClr val="bg1"/>
                </a:solidFill>
              </a:rPr>
              <a:t>Controlando la narrativa</a:t>
            </a:r>
          </a:p>
          <a:p>
            <a:pPr algn="l" rtl="0"/>
            <a:endParaRPr lang="en-US" dirty="0">
              <a:solidFill>
                <a:schemeClr val="bg1"/>
              </a:solidFill>
            </a:endParaRPr>
          </a:p>
          <a:p>
            <a:pPr algn="l" rtl="0">
              <a:lnSpc>
                <a:spcPts val="2240"/>
              </a:lnSpc>
              <a:spcBef>
                <a:spcPts val="0"/>
              </a:spcBef>
            </a:pPr>
            <a:r>
              <a:rPr lang="en-US" sz="2200" dirty="0">
                <a:solidFill>
                  <a:schemeClr val="bg1"/>
                </a:solidFill>
              </a:rPr>
              <a:t>Una gran parte del éxito en la gestión de crisis es la oportunidad de contar su propia historia. La razón principal es que se va a contar de cualquier manera, y si permanece en silencio, las partes que podrían no tener en mente los mejores intereses de su empresa podrían ser las que cuenten la historia.</a:t>
            </a:r>
          </a:p>
          <a:p>
            <a:pPr algn="l" rtl="0">
              <a:lnSpc>
                <a:spcPts val="2240"/>
              </a:lnSpc>
              <a:spcBef>
                <a:spcPts val="0"/>
              </a:spcBef>
            </a:pPr>
            <a:r>
              <a:rPr lang="en-US" sz="2200" dirty="0">
                <a:solidFill>
                  <a:schemeClr val="bg1"/>
                </a:solidFill>
              </a:rPr>
              <a:t>Así es como una empresa puede recuperar el control de la historia durante una crisis:</a:t>
            </a:r>
          </a:p>
        </p:txBody>
      </p:sp>
      <p:sp>
        <p:nvSpPr>
          <p:cNvPr id="215" name="Rectangle 214">
            <a:extLst>
              <a:ext uri="{FF2B5EF4-FFF2-40B4-BE49-F238E27FC236}">
                <a16:creationId xmlns:a16="http://schemas.microsoft.com/office/drawing/2014/main" id="{13AFE945-1351-4152-C7FB-365CFAADD6FC}"/>
              </a:ext>
            </a:extLst>
          </p:cNvPr>
          <p:cNvSpPr/>
          <p:nvPr/>
        </p:nvSpPr>
        <p:spPr>
          <a:xfrm>
            <a:off x="536403" y="1684491"/>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Tree>
    <p:extLst>
      <p:ext uri="{BB962C8B-B14F-4D97-AF65-F5344CB8AC3E}">
        <p14:creationId xmlns:p14="http://schemas.microsoft.com/office/powerpoint/2010/main" val="348205433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Rectangle 331">
            <a:extLst>
              <a:ext uri="{FF2B5EF4-FFF2-40B4-BE49-F238E27FC236}">
                <a16:creationId xmlns:a16="http://schemas.microsoft.com/office/drawing/2014/main" id="{4AD1CC34-EF04-776A-97D1-6B2C495C81FB}"/>
              </a:ext>
            </a:extLst>
          </p:cNvPr>
          <p:cNvSpPr/>
          <p:nvPr/>
        </p:nvSpPr>
        <p:spPr>
          <a:xfrm>
            <a:off x="1" y="3683"/>
            <a:ext cx="12191999" cy="208046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412198" y="250891"/>
            <a:ext cx="2662166" cy="214108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US" dirty="0">
                <a:solidFill>
                  <a:schemeClr val="bg1"/>
                </a:solidFill>
              </a:rPr>
              <a:t>Controlando la narrativa</a:t>
            </a:r>
            <a:endParaRPr lang="en-US" sz="2200" dirty="0">
              <a:solidFill>
                <a:schemeClr val="bg1"/>
              </a:solidFill>
            </a:endParaRPr>
          </a:p>
        </p:txBody>
      </p:sp>
      <p:sp>
        <p:nvSpPr>
          <p:cNvPr id="215" name="Rectangle 214">
            <a:extLst>
              <a:ext uri="{FF2B5EF4-FFF2-40B4-BE49-F238E27FC236}">
                <a16:creationId xmlns:a16="http://schemas.microsoft.com/office/drawing/2014/main" id="{13AFE945-1351-4152-C7FB-365CFAADD6FC}"/>
              </a:ext>
            </a:extLst>
          </p:cNvPr>
          <p:cNvSpPr/>
          <p:nvPr/>
        </p:nvSpPr>
        <p:spPr>
          <a:xfrm rot="16200000">
            <a:off x="2543970" y="982150"/>
            <a:ext cx="1440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2" name="Text Placeholder 10">
            <a:extLst>
              <a:ext uri="{FF2B5EF4-FFF2-40B4-BE49-F238E27FC236}">
                <a16:creationId xmlns:a16="http://schemas.microsoft.com/office/drawing/2014/main" id="{0F7F3D30-B438-9F10-3573-8FBEF8240AE5}"/>
              </a:ext>
            </a:extLst>
          </p:cNvPr>
          <p:cNvSpPr txBox="1">
            <a:spLocks/>
          </p:cNvSpPr>
          <p:nvPr/>
        </p:nvSpPr>
        <p:spPr>
          <a:xfrm>
            <a:off x="3546009" y="250890"/>
            <a:ext cx="8333175" cy="203543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40"/>
              </a:lnSpc>
              <a:spcBef>
                <a:spcPts val="0"/>
              </a:spcBef>
            </a:pPr>
            <a:r>
              <a:rPr lang="en-US" sz="2200" dirty="0">
                <a:solidFill>
                  <a:schemeClr val="bg1"/>
                </a:solidFill>
              </a:rPr>
              <a:t>Una gran parte del éxito en la gestión de crisis es la oportunidad de contar su propia historia. La razón principal es que se va a contar de cualquier manera, y si permanece en silencio, las partes que podrían no tener en mente los mejores intereses de su empresa podrían ser las que cuenten la historia. Así es como una empresa puede recuperar el control de la historia durante una crisis:</a:t>
            </a:r>
          </a:p>
        </p:txBody>
      </p:sp>
      <p:grpSp>
        <p:nvGrpSpPr>
          <p:cNvPr id="344" name="Group 343">
            <a:extLst>
              <a:ext uri="{FF2B5EF4-FFF2-40B4-BE49-F238E27FC236}">
                <a16:creationId xmlns:a16="http://schemas.microsoft.com/office/drawing/2014/main" id="{2FC3FB64-F6A8-CD23-F213-2EFCFE89A63E}"/>
              </a:ext>
            </a:extLst>
          </p:cNvPr>
          <p:cNvGrpSpPr/>
          <p:nvPr/>
        </p:nvGrpSpPr>
        <p:grpSpPr>
          <a:xfrm>
            <a:off x="-59426" y="2440385"/>
            <a:ext cx="1914966" cy="3678553"/>
            <a:chOff x="-1909" y="2363328"/>
            <a:chExt cx="1914966" cy="3678553"/>
          </a:xfrm>
        </p:grpSpPr>
        <p:sp>
          <p:nvSpPr>
            <p:cNvPr id="262" name="Freeform 261">
              <a:extLst>
                <a:ext uri="{FF2B5EF4-FFF2-40B4-BE49-F238E27FC236}">
                  <a16:creationId xmlns:a16="http://schemas.microsoft.com/office/drawing/2014/main" id="{FE8AB9E2-6F96-5752-230C-90FA2E0FA8B9}"/>
                </a:ext>
              </a:extLst>
            </p:cNvPr>
            <p:cNvSpPr/>
            <p:nvPr/>
          </p:nvSpPr>
          <p:spPr>
            <a:xfrm>
              <a:off x="-1909" y="5226416"/>
              <a:ext cx="1530922" cy="815465"/>
            </a:xfrm>
            <a:custGeom>
              <a:avLst/>
              <a:gdLst>
                <a:gd name="connsiteX0" fmla="*/ 0 w 1530922"/>
                <a:gd name="connsiteY0" fmla="*/ 740505 h 815465"/>
                <a:gd name="connsiteX1" fmla="*/ 74989 w 1530922"/>
                <a:gd name="connsiteY1" fmla="*/ 665545 h 815465"/>
                <a:gd name="connsiteX2" fmla="*/ 74989 w 1530922"/>
                <a:gd name="connsiteY2" fmla="*/ 665545 h 815465"/>
                <a:gd name="connsiteX3" fmla="*/ 1397247 w 1530922"/>
                <a:gd name="connsiteY3" fmla="*/ 28172 h 815465"/>
                <a:gd name="connsiteX4" fmla="*/ 1397247 w 1530922"/>
                <a:gd name="connsiteY4" fmla="*/ 28172 h 815465"/>
                <a:gd name="connsiteX5" fmla="*/ 1502740 w 1530922"/>
                <a:gd name="connsiteY5" fmla="*/ 16314 h 815465"/>
                <a:gd name="connsiteX6" fmla="*/ 1502740 w 1530922"/>
                <a:gd name="connsiteY6" fmla="*/ 16314 h 815465"/>
                <a:gd name="connsiteX7" fmla="*/ 1514603 w 1530922"/>
                <a:gd name="connsiteY7" fmla="*/ 121766 h 815465"/>
                <a:gd name="connsiteX8" fmla="*/ 1514603 w 1530922"/>
                <a:gd name="connsiteY8" fmla="*/ 121766 h 815465"/>
                <a:gd name="connsiteX9" fmla="*/ 74989 w 1530922"/>
                <a:gd name="connsiteY9" fmla="*/ 815465 h 815465"/>
                <a:gd name="connsiteX10" fmla="*/ 74989 w 1530922"/>
                <a:gd name="connsiteY10" fmla="*/ 815465 h 815465"/>
                <a:gd name="connsiteX11" fmla="*/ 0 w 1530922"/>
                <a:gd name="connsiteY11" fmla="*/ 740505 h 815465"/>
                <a:gd name="connsiteX12" fmla="*/ 0 w 1530922"/>
                <a:gd name="connsiteY12" fmla="*/ 740505 h 8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0922" h="815465">
                  <a:moveTo>
                    <a:pt x="0" y="740505"/>
                  </a:moveTo>
                  <a:cubicBezTo>
                    <a:pt x="0" y="699002"/>
                    <a:pt x="33470" y="665545"/>
                    <a:pt x="74989" y="665545"/>
                  </a:cubicBezTo>
                  <a:lnTo>
                    <a:pt x="74989" y="665545"/>
                  </a:lnTo>
                  <a:cubicBezTo>
                    <a:pt x="610502" y="665545"/>
                    <a:pt x="1087548" y="416948"/>
                    <a:pt x="1397247" y="28172"/>
                  </a:cubicBezTo>
                  <a:lnTo>
                    <a:pt x="1397247" y="28172"/>
                  </a:lnTo>
                  <a:cubicBezTo>
                    <a:pt x="1423091" y="-4014"/>
                    <a:pt x="1470118" y="-9520"/>
                    <a:pt x="1502740" y="16314"/>
                  </a:cubicBezTo>
                  <a:lnTo>
                    <a:pt x="1502740" y="16314"/>
                  </a:lnTo>
                  <a:cubicBezTo>
                    <a:pt x="1534939" y="42148"/>
                    <a:pt x="1540446" y="89156"/>
                    <a:pt x="1514603" y="121766"/>
                  </a:cubicBezTo>
                  <a:lnTo>
                    <a:pt x="1514603" y="121766"/>
                  </a:lnTo>
                  <a:cubicBezTo>
                    <a:pt x="1177789" y="544423"/>
                    <a:pt x="657528" y="815465"/>
                    <a:pt x="74989" y="815465"/>
                  </a:cubicBezTo>
                  <a:lnTo>
                    <a:pt x="74989" y="815465"/>
                  </a:lnTo>
                  <a:cubicBezTo>
                    <a:pt x="33470" y="815465"/>
                    <a:pt x="0" y="781585"/>
                    <a:pt x="0" y="740505"/>
                  </a:cubicBezTo>
                  <a:lnTo>
                    <a:pt x="0" y="740505"/>
                  </a:lnTo>
                  <a:close/>
                </a:path>
              </a:pathLst>
            </a:custGeom>
            <a:solidFill>
              <a:srgbClr val="B41F7A"/>
            </a:solidFill>
            <a:ln w="4233" cap="flat">
              <a:noFill/>
              <a:prstDash val="solid"/>
              <a:miter/>
            </a:ln>
          </p:spPr>
          <p:txBody>
            <a:bodyPr rtlCol="0" anchor="ctr"/>
            <a:lstStyle/>
            <a:p>
              <a:pPr algn="l" rtl="0"/>
              <a:endParaRPr lang="en-US"/>
            </a:p>
          </p:txBody>
        </p:sp>
        <p:sp>
          <p:nvSpPr>
            <p:cNvPr id="263" name="Freeform 262">
              <a:extLst>
                <a:ext uri="{FF2B5EF4-FFF2-40B4-BE49-F238E27FC236}">
                  <a16:creationId xmlns:a16="http://schemas.microsoft.com/office/drawing/2014/main" id="{B311E98E-F603-5841-7500-731F7FE5DC8A}"/>
                </a:ext>
              </a:extLst>
            </p:cNvPr>
            <p:cNvSpPr/>
            <p:nvPr/>
          </p:nvSpPr>
          <p:spPr>
            <a:xfrm>
              <a:off x="1379019" y="3028855"/>
              <a:ext cx="534038" cy="2347701"/>
            </a:xfrm>
            <a:custGeom>
              <a:avLst/>
              <a:gdLst>
                <a:gd name="connsiteX0" fmla="*/ 534039 w 534038"/>
                <a:gd name="connsiteY0" fmla="*/ 1173749 h 2347701"/>
                <a:gd name="connsiteX1" fmla="*/ 534039 w 534038"/>
                <a:gd name="connsiteY1" fmla="*/ 1173749 h 2347701"/>
                <a:gd name="connsiteX2" fmla="*/ 133675 w 534038"/>
                <a:gd name="connsiteY2" fmla="*/ 28172 h 2347701"/>
                <a:gd name="connsiteX3" fmla="*/ 28183 w 534038"/>
                <a:gd name="connsiteY3" fmla="*/ 16314 h 2347701"/>
                <a:gd name="connsiteX4" fmla="*/ 16320 w 534038"/>
                <a:gd name="connsiteY4" fmla="*/ 121766 h 2347701"/>
                <a:gd name="connsiteX5" fmla="*/ 384061 w 534038"/>
                <a:gd name="connsiteY5" fmla="*/ 1173749 h 2347701"/>
                <a:gd name="connsiteX6" fmla="*/ 384061 w 534038"/>
                <a:gd name="connsiteY6" fmla="*/ 1174173 h 2347701"/>
                <a:gd name="connsiteX7" fmla="*/ 16320 w 534038"/>
                <a:gd name="connsiteY7" fmla="*/ 2225732 h 2347701"/>
                <a:gd name="connsiteX8" fmla="*/ 28183 w 534038"/>
                <a:gd name="connsiteY8" fmla="*/ 2331185 h 2347701"/>
                <a:gd name="connsiteX9" fmla="*/ 74786 w 534038"/>
                <a:gd name="connsiteY9" fmla="*/ 2347702 h 2347701"/>
                <a:gd name="connsiteX10" fmla="*/ 133675 w 534038"/>
                <a:gd name="connsiteY10" fmla="*/ 2319327 h 2347701"/>
                <a:gd name="connsiteX11" fmla="*/ 133675 w 534038"/>
                <a:gd name="connsiteY11" fmla="*/ 2319327 h 2347701"/>
                <a:gd name="connsiteX12" fmla="*/ 534039 w 534038"/>
                <a:gd name="connsiteY12" fmla="*/ 1173749 h 23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038" h="2347701">
                  <a:moveTo>
                    <a:pt x="534039" y="1173749"/>
                  </a:moveTo>
                  <a:cubicBezTo>
                    <a:pt x="534039" y="1173749"/>
                    <a:pt x="534039" y="1173326"/>
                    <a:pt x="534039" y="1173749"/>
                  </a:cubicBezTo>
                  <a:cubicBezTo>
                    <a:pt x="534039" y="740505"/>
                    <a:pt x="384061" y="342411"/>
                    <a:pt x="133675" y="28172"/>
                  </a:cubicBezTo>
                  <a:cubicBezTo>
                    <a:pt x="107832" y="-4014"/>
                    <a:pt x="60805" y="-9520"/>
                    <a:pt x="28183" y="16314"/>
                  </a:cubicBezTo>
                  <a:cubicBezTo>
                    <a:pt x="-4016" y="42148"/>
                    <a:pt x="-9524" y="89156"/>
                    <a:pt x="16320" y="121766"/>
                  </a:cubicBezTo>
                  <a:cubicBezTo>
                    <a:pt x="246370" y="410596"/>
                    <a:pt x="384061" y="775656"/>
                    <a:pt x="384061" y="1173749"/>
                  </a:cubicBezTo>
                  <a:cubicBezTo>
                    <a:pt x="384061" y="1173749"/>
                    <a:pt x="384061" y="1174173"/>
                    <a:pt x="384061" y="1174173"/>
                  </a:cubicBezTo>
                  <a:cubicBezTo>
                    <a:pt x="384061" y="1572266"/>
                    <a:pt x="246370" y="1936903"/>
                    <a:pt x="16320" y="2225732"/>
                  </a:cubicBezTo>
                  <a:cubicBezTo>
                    <a:pt x="-9524" y="2257919"/>
                    <a:pt x="-4016" y="2305351"/>
                    <a:pt x="28183" y="2331185"/>
                  </a:cubicBezTo>
                  <a:cubicBezTo>
                    <a:pt x="42164" y="2342196"/>
                    <a:pt x="58686" y="2347702"/>
                    <a:pt x="74786" y="2347702"/>
                  </a:cubicBezTo>
                  <a:cubicBezTo>
                    <a:pt x="96816" y="2347702"/>
                    <a:pt x="118847" y="2337961"/>
                    <a:pt x="133675" y="2319327"/>
                  </a:cubicBezTo>
                  <a:lnTo>
                    <a:pt x="133675" y="2319327"/>
                  </a:lnTo>
                  <a:cubicBezTo>
                    <a:pt x="384061" y="2005087"/>
                    <a:pt x="534039" y="1606570"/>
                    <a:pt x="534039" y="1173749"/>
                  </a:cubicBezTo>
                  <a:close/>
                </a:path>
              </a:pathLst>
            </a:custGeom>
            <a:solidFill>
              <a:srgbClr val="F16924"/>
            </a:solidFill>
            <a:ln w="4233" cap="flat">
              <a:noFill/>
              <a:prstDash val="solid"/>
              <a:miter/>
            </a:ln>
          </p:spPr>
          <p:txBody>
            <a:bodyPr rtlCol="0" anchor="ctr"/>
            <a:lstStyle/>
            <a:p>
              <a:pPr algn="l" rtl="0"/>
              <a:endParaRPr lang="en-US"/>
            </a:p>
          </p:txBody>
        </p:sp>
        <p:sp>
          <p:nvSpPr>
            <p:cNvPr id="264" name="Freeform 263">
              <a:extLst>
                <a:ext uri="{FF2B5EF4-FFF2-40B4-BE49-F238E27FC236}">
                  <a16:creationId xmlns:a16="http://schemas.microsoft.com/office/drawing/2014/main" id="{A87D1145-3CB8-365B-3643-81597A1A4B70}"/>
                </a:ext>
              </a:extLst>
            </p:cNvPr>
            <p:cNvSpPr/>
            <p:nvPr/>
          </p:nvSpPr>
          <p:spPr>
            <a:xfrm>
              <a:off x="-1909" y="2363328"/>
              <a:ext cx="1530922" cy="815668"/>
            </a:xfrm>
            <a:custGeom>
              <a:avLst/>
              <a:gdLst>
                <a:gd name="connsiteX0" fmla="*/ 1397247 w 1530922"/>
                <a:gd name="connsiteY0" fmla="*/ 787293 h 815668"/>
                <a:gd name="connsiteX1" fmla="*/ 74989 w 1530922"/>
                <a:gd name="connsiteY1" fmla="*/ 149920 h 815668"/>
                <a:gd name="connsiteX2" fmla="*/ 74989 w 1530922"/>
                <a:gd name="connsiteY2" fmla="*/ 149920 h 815668"/>
                <a:gd name="connsiteX3" fmla="*/ 0 w 1530922"/>
                <a:gd name="connsiteY3" fmla="*/ 74960 h 815668"/>
                <a:gd name="connsiteX4" fmla="*/ 0 w 1530922"/>
                <a:gd name="connsiteY4" fmla="*/ 74960 h 815668"/>
                <a:gd name="connsiteX5" fmla="*/ 74989 w 1530922"/>
                <a:gd name="connsiteY5" fmla="*/ 0 h 815668"/>
                <a:gd name="connsiteX6" fmla="*/ 74989 w 1530922"/>
                <a:gd name="connsiteY6" fmla="*/ 0 h 815668"/>
                <a:gd name="connsiteX7" fmla="*/ 1514603 w 1530922"/>
                <a:gd name="connsiteY7" fmla="*/ 693699 h 815668"/>
                <a:gd name="connsiteX8" fmla="*/ 1514603 w 1530922"/>
                <a:gd name="connsiteY8" fmla="*/ 693699 h 815668"/>
                <a:gd name="connsiteX9" fmla="*/ 1502740 w 1530922"/>
                <a:gd name="connsiteY9" fmla="*/ 799151 h 815668"/>
                <a:gd name="connsiteX10" fmla="*/ 1502740 w 1530922"/>
                <a:gd name="connsiteY10" fmla="*/ 799151 h 815668"/>
                <a:gd name="connsiteX11" fmla="*/ 1456137 w 1530922"/>
                <a:gd name="connsiteY11" fmla="*/ 815668 h 815668"/>
                <a:gd name="connsiteX12" fmla="*/ 1456137 w 1530922"/>
                <a:gd name="connsiteY12" fmla="*/ 815668 h 815668"/>
                <a:gd name="connsiteX13" fmla="*/ 1397247 w 1530922"/>
                <a:gd name="connsiteY13" fmla="*/ 787293 h 815668"/>
                <a:gd name="connsiteX14" fmla="*/ 1397247 w 1530922"/>
                <a:gd name="connsiteY14" fmla="*/ 787293 h 8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922" h="815668">
                  <a:moveTo>
                    <a:pt x="1397247" y="787293"/>
                  </a:moveTo>
                  <a:cubicBezTo>
                    <a:pt x="1087125" y="398517"/>
                    <a:pt x="610502" y="149920"/>
                    <a:pt x="74989" y="149920"/>
                  </a:cubicBezTo>
                  <a:lnTo>
                    <a:pt x="74989" y="149920"/>
                  </a:lnTo>
                  <a:cubicBezTo>
                    <a:pt x="33470" y="149920"/>
                    <a:pt x="0" y="116464"/>
                    <a:pt x="0" y="74960"/>
                  </a:cubicBezTo>
                  <a:lnTo>
                    <a:pt x="0" y="74960"/>
                  </a:lnTo>
                  <a:cubicBezTo>
                    <a:pt x="0" y="33457"/>
                    <a:pt x="33470" y="0"/>
                    <a:pt x="74989" y="0"/>
                  </a:cubicBezTo>
                  <a:lnTo>
                    <a:pt x="74989" y="0"/>
                  </a:lnTo>
                  <a:cubicBezTo>
                    <a:pt x="657528" y="0"/>
                    <a:pt x="1177789" y="271042"/>
                    <a:pt x="1514603" y="693699"/>
                  </a:cubicBezTo>
                  <a:lnTo>
                    <a:pt x="1514603" y="693699"/>
                  </a:lnTo>
                  <a:cubicBezTo>
                    <a:pt x="1540446" y="725885"/>
                    <a:pt x="1534939" y="773318"/>
                    <a:pt x="1502740" y="799151"/>
                  </a:cubicBezTo>
                  <a:lnTo>
                    <a:pt x="1502740" y="799151"/>
                  </a:lnTo>
                  <a:cubicBezTo>
                    <a:pt x="1488759" y="810162"/>
                    <a:pt x="1472236" y="815668"/>
                    <a:pt x="1456137" y="815668"/>
                  </a:cubicBezTo>
                  <a:lnTo>
                    <a:pt x="1456137" y="815668"/>
                  </a:lnTo>
                  <a:cubicBezTo>
                    <a:pt x="1433683" y="815245"/>
                    <a:pt x="1412076" y="805504"/>
                    <a:pt x="1397247" y="787293"/>
                  </a:cubicBezTo>
                  <a:lnTo>
                    <a:pt x="1397247" y="787293"/>
                  </a:lnTo>
                  <a:close/>
                </a:path>
              </a:pathLst>
            </a:custGeom>
            <a:solidFill>
              <a:srgbClr val="7F1C58"/>
            </a:solidFill>
            <a:ln w="4233" cap="flat">
              <a:noFill/>
              <a:prstDash val="solid"/>
              <a:miter/>
            </a:ln>
          </p:spPr>
          <p:txBody>
            <a:bodyPr rtlCol="0" anchor="ctr"/>
            <a:lstStyle/>
            <a:p>
              <a:pPr algn="l" rtl="0"/>
              <a:endParaRPr lang="en-US"/>
            </a:p>
          </p:txBody>
        </p:sp>
      </p:grpSp>
      <p:sp>
        <p:nvSpPr>
          <p:cNvPr id="268" name="Text Placeholder 2">
            <a:extLst>
              <a:ext uri="{FF2B5EF4-FFF2-40B4-BE49-F238E27FC236}">
                <a16:creationId xmlns:a16="http://schemas.microsoft.com/office/drawing/2014/main" id="{8776DDB8-9D1C-90F6-162E-CA3E5997A93B}"/>
              </a:ext>
            </a:extLst>
          </p:cNvPr>
          <p:cNvSpPr txBox="1">
            <a:spLocks/>
          </p:cNvSpPr>
          <p:nvPr/>
        </p:nvSpPr>
        <p:spPr>
          <a:xfrm>
            <a:off x="3944770" y="2344953"/>
            <a:ext cx="7955824" cy="58222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80"/>
              </a:lnSpc>
              <a:spcBef>
                <a:spcPts val="0"/>
              </a:spcBef>
            </a:pPr>
            <a:r>
              <a:rPr lang="en-US" sz="2200" b="1" dirty="0">
                <a:solidFill>
                  <a:srgbClr val="7F1C58"/>
                </a:solidFill>
              </a:rPr>
              <a:t>Preparación</a:t>
            </a:r>
          </a:p>
          <a:p>
            <a:pPr algn="l" rtl="0">
              <a:lnSpc>
                <a:spcPts val="1980"/>
              </a:lnSpc>
              <a:spcBef>
                <a:spcPts val="0"/>
              </a:spcBef>
            </a:pPr>
            <a:r>
              <a:rPr lang="en-US" sz="1900" dirty="0">
                <a:solidFill>
                  <a:srgbClr val="616161"/>
                </a:solidFill>
              </a:rPr>
              <a:t>Preparar planes de crisis, enviar mensajes, etc. es la forma principal de asegurarse de estar listo para reaccionar ante una crisis mientras otros todavía están parados en las puertas.</a:t>
            </a:r>
          </a:p>
        </p:txBody>
      </p:sp>
      <p:sp>
        <p:nvSpPr>
          <p:cNvPr id="269" name="Text Placeholder 2">
            <a:extLst>
              <a:ext uri="{FF2B5EF4-FFF2-40B4-BE49-F238E27FC236}">
                <a16:creationId xmlns:a16="http://schemas.microsoft.com/office/drawing/2014/main" id="{4C2F7BD6-D523-B5FF-A5B1-A8FB6E5ACF6C}"/>
              </a:ext>
            </a:extLst>
          </p:cNvPr>
          <p:cNvSpPr txBox="1">
            <a:spLocks/>
          </p:cNvSpPr>
          <p:nvPr/>
        </p:nvSpPr>
        <p:spPr>
          <a:xfrm>
            <a:off x="3937966" y="3522389"/>
            <a:ext cx="8065782" cy="11571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80"/>
              </a:lnSpc>
              <a:spcBef>
                <a:spcPts val="0"/>
              </a:spcBef>
            </a:pPr>
            <a:r>
              <a:rPr lang="en-US" sz="2200" b="1" dirty="0">
                <a:solidFill>
                  <a:srgbClr val="F16924"/>
                </a:solidFill>
              </a:rPr>
              <a:t>Comunicación:</a:t>
            </a:r>
          </a:p>
          <a:p>
            <a:pPr algn="l" rtl="0">
              <a:lnSpc>
                <a:spcPts val="1980"/>
              </a:lnSpc>
              <a:spcBef>
                <a:spcPts val="0"/>
              </a:spcBef>
            </a:pPr>
            <a:r>
              <a:rPr lang="en-US" sz="1900" dirty="0"/>
              <a:t>Tenga una sala de redacción en línea en un lugar muy visible. Llénalo con la información más reciente sobre tu</a:t>
            </a:r>
            <a:r>
              <a:rPr lang="en-US" sz="1900" dirty="0" err="1"/>
              <a:t>organización</a:t>
            </a:r>
            <a:r>
              <a:rPr lang="en-US" sz="1900" dirty="0"/>
              <a:t>y la crisis actual, para que los medios o las partes interesadas que buscan la información más reciente directamente de la fuente puedan encontrarla. Además, esté disponible para las partes interesadas y los medios de comunicación por igual.</a:t>
            </a:r>
          </a:p>
        </p:txBody>
      </p:sp>
      <p:sp>
        <p:nvSpPr>
          <p:cNvPr id="270" name="Text Placeholder 2">
            <a:extLst>
              <a:ext uri="{FF2B5EF4-FFF2-40B4-BE49-F238E27FC236}">
                <a16:creationId xmlns:a16="http://schemas.microsoft.com/office/drawing/2014/main" id="{7C0ADC22-8092-7271-EA9C-16AF6FF7CBEB}"/>
              </a:ext>
            </a:extLst>
          </p:cNvPr>
          <p:cNvSpPr txBox="1">
            <a:spLocks/>
          </p:cNvSpPr>
          <p:nvPr/>
        </p:nvSpPr>
        <p:spPr>
          <a:xfrm>
            <a:off x="3952647" y="5409478"/>
            <a:ext cx="8065782" cy="989804"/>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ts val="2280"/>
              </a:lnSpc>
              <a:spcBef>
                <a:spcPts val="0"/>
              </a:spcBef>
            </a:pPr>
            <a:r>
              <a:rPr lang="en-US" sz="2200" b="1" dirty="0">
                <a:solidFill>
                  <a:srgbClr val="B41F7A"/>
                </a:solidFill>
              </a:rPr>
              <a:t>Relaciones:</a:t>
            </a:r>
          </a:p>
          <a:p>
            <a:pPr algn="l" rtl="0">
              <a:lnSpc>
                <a:spcPts val="1980"/>
              </a:lnSpc>
              <a:spcBef>
                <a:spcPts val="0"/>
              </a:spcBef>
            </a:pPr>
            <a:r>
              <a:rPr lang="en-US" sz="1900" dirty="0">
                <a:solidFill>
                  <a:srgbClr val="616161"/>
                </a:solidFill>
              </a:rPr>
              <a:t>El auge de los informes electrónicos a través de las redes sociales ha hecho que sea aún más importante construir relaciones sólidas con las personas que cubren su industria, ya sea un reportero acreditado o simplemente un bloguero.</a:t>
            </a:r>
          </a:p>
        </p:txBody>
      </p:sp>
      <p:cxnSp>
        <p:nvCxnSpPr>
          <p:cNvPr id="273" name="Straight Connector 272">
            <a:extLst>
              <a:ext uri="{FF2B5EF4-FFF2-40B4-BE49-F238E27FC236}">
                <a16:creationId xmlns:a16="http://schemas.microsoft.com/office/drawing/2014/main" id="{F418CCD4-E296-8AEE-E0BE-8D00D2ADCCE1}"/>
              </a:ext>
            </a:extLst>
          </p:cNvPr>
          <p:cNvCxnSpPr>
            <a:cxnSpLocks/>
          </p:cNvCxnSpPr>
          <p:nvPr/>
        </p:nvCxnSpPr>
        <p:spPr>
          <a:xfrm>
            <a:off x="1862672" y="4254052"/>
            <a:ext cx="817902" cy="6663"/>
          </a:xfrm>
          <a:prstGeom prst="line">
            <a:avLst/>
          </a:prstGeom>
          <a:ln w="38100">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36" name="Straight Connector 335">
            <a:extLst>
              <a:ext uri="{FF2B5EF4-FFF2-40B4-BE49-F238E27FC236}">
                <a16:creationId xmlns:a16="http://schemas.microsoft.com/office/drawing/2014/main" id="{211DE478-41CC-7695-3BD5-E09D5EE9FE1D}"/>
              </a:ext>
            </a:extLst>
          </p:cNvPr>
          <p:cNvCxnSpPr>
            <a:cxnSpLocks/>
          </p:cNvCxnSpPr>
          <p:nvPr/>
        </p:nvCxnSpPr>
        <p:spPr>
          <a:xfrm>
            <a:off x="971550" y="2751505"/>
            <a:ext cx="1502573" cy="0"/>
          </a:xfrm>
          <a:prstGeom prst="line">
            <a:avLst/>
          </a:prstGeom>
          <a:ln w="3810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7420E5D9-3F7C-D64A-4E7E-7449F3B2D648}"/>
              </a:ext>
            </a:extLst>
          </p:cNvPr>
          <p:cNvCxnSpPr>
            <a:cxnSpLocks/>
          </p:cNvCxnSpPr>
          <p:nvPr/>
        </p:nvCxnSpPr>
        <p:spPr>
          <a:xfrm>
            <a:off x="1199994" y="5580661"/>
            <a:ext cx="1333179" cy="0"/>
          </a:xfrm>
          <a:prstGeom prst="line">
            <a:avLst/>
          </a:prstGeom>
          <a:ln w="38100">
            <a:solidFill>
              <a:srgbClr val="B41F7A"/>
            </a:solidFill>
            <a:prstDash val="sysDot"/>
          </a:ln>
        </p:spPr>
        <p:style>
          <a:lnRef idx="1">
            <a:schemeClr val="accent1"/>
          </a:lnRef>
          <a:fillRef idx="0">
            <a:schemeClr val="accent1"/>
          </a:fillRef>
          <a:effectRef idx="0">
            <a:schemeClr val="accent1"/>
          </a:effectRef>
          <a:fontRef idx="minor">
            <a:schemeClr val="tx1"/>
          </a:fontRef>
        </p:style>
      </p:cxnSp>
      <p:grpSp>
        <p:nvGrpSpPr>
          <p:cNvPr id="345" name="Group 344">
            <a:extLst>
              <a:ext uri="{FF2B5EF4-FFF2-40B4-BE49-F238E27FC236}">
                <a16:creationId xmlns:a16="http://schemas.microsoft.com/office/drawing/2014/main" id="{A2FB120B-21A7-01FD-55B2-0A09399B64DC}"/>
              </a:ext>
            </a:extLst>
          </p:cNvPr>
          <p:cNvGrpSpPr/>
          <p:nvPr/>
        </p:nvGrpSpPr>
        <p:grpSpPr>
          <a:xfrm>
            <a:off x="2523493" y="2202275"/>
            <a:ext cx="1227192" cy="1226725"/>
            <a:chOff x="-2729526" y="876905"/>
            <a:chExt cx="1446392" cy="1445841"/>
          </a:xfrm>
        </p:grpSpPr>
        <p:grpSp>
          <p:nvGrpSpPr>
            <p:cNvPr id="346" name="Graphic 8">
              <a:extLst>
                <a:ext uri="{FF2B5EF4-FFF2-40B4-BE49-F238E27FC236}">
                  <a16:creationId xmlns:a16="http://schemas.microsoft.com/office/drawing/2014/main" id="{1ABADED3-4D36-DF2D-0102-9D890B6EE699}"/>
                </a:ext>
              </a:extLst>
            </p:cNvPr>
            <p:cNvGrpSpPr/>
            <p:nvPr/>
          </p:nvGrpSpPr>
          <p:grpSpPr>
            <a:xfrm>
              <a:off x="-2729526" y="876905"/>
              <a:ext cx="1446392" cy="1445841"/>
              <a:chOff x="4817897" y="694433"/>
              <a:chExt cx="1446392" cy="1445841"/>
            </a:xfrm>
          </p:grpSpPr>
          <p:sp>
            <p:nvSpPr>
              <p:cNvPr id="354" name="Freeform 353">
                <a:extLst>
                  <a:ext uri="{FF2B5EF4-FFF2-40B4-BE49-F238E27FC236}">
                    <a16:creationId xmlns:a16="http://schemas.microsoft.com/office/drawing/2014/main" id="{3A71CD22-6141-19DF-97D9-BE636DA71715}"/>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7F1C58"/>
              </a:solidFill>
              <a:ln w="4233" cap="flat">
                <a:noFill/>
                <a:prstDash val="solid"/>
                <a:miter/>
              </a:ln>
            </p:spPr>
            <p:txBody>
              <a:bodyPr rtlCol="0" anchor="ctr"/>
              <a:lstStyle/>
              <a:p>
                <a:pPr algn="l" rtl="0"/>
                <a:endParaRPr lang="en-US" dirty="0"/>
              </a:p>
            </p:txBody>
          </p:sp>
          <p:sp>
            <p:nvSpPr>
              <p:cNvPr id="355" name="Freeform 354">
                <a:extLst>
                  <a:ext uri="{FF2B5EF4-FFF2-40B4-BE49-F238E27FC236}">
                    <a16:creationId xmlns:a16="http://schemas.microsoft.com/office/drawing/2014/main" id="{269EA91B-583E-F0F9-FAC6-336914B15FA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grpSp>
          <p:nvGrpSpPr>
            <p:cNvPr id="347" name="Graphic 3">
              <a:extLst>
                <a:ext uri="{FF2B5EF4-FFF2-40B4-BE49-F238E27FC236}">
                  <a16:creationId xmlns:a16="http://schemas.microsoft.com/office/drawing/2014/main" id="{050A0C58-1FAA-9F79-C1E8-F87A4F087D84}"/>
                </a:ext>
              </a:extLst>
            </p:cNvPr>
            <p:cNvGrpSpPr/>
            <p:nvPr/>
          </p:nvGrpSpPr>
          <p:grpSpPr>
            <a:xfrm>
              <a:off x="-2330240" y="1177786"/>
              <a:ext cx="707330" cy="798180"/>
              <a:chOff x="4643578" y="432838"/>
              <a:chExt cx="1028134" cy="1160188"/>
            </a:xfrm>
            <a:solidFill>
              <a:srgbClr val="616161"/>
            </a:solidFill>
          </p:grpSpPr>
          <p:sp>
            <p:nvSpPr>
              <p:cNvPr id="348" name="Freeform 347">
                <a:extLst>
                  <a:ext uri="{FF2B5EF4-FFF2-40B4-BE49-F238E27FC236}">
                    <a16:creationId xmlns:a16="http://schemas.microsoft.com/office/drawing/2014/main" id="{66B792AA-F05C-C459-BB8A-4437549EC115}"/>
                  </a:ext>
                </a:extLst>
              </p:cNvPr>
              <p:cNvSpPr/>
              <p:nvPr/>
            </p:nvSpPr>
            <p:spPr>
              <a:xfrm>
                <a:off x="5046765" y="465751"/>
                <a:ext cx="419643" cy="433356"/>
              </a:xfrm>
              <a:custGeom>
                <a:avLst/>
                <a:gdLst>
                  <a:gd name="connsiteX0" fmla="*/ 416901 w 419643"/>
                  <a:gd name="connsiteY0" fmla="*/ 257819 h 433356"/>
                  <a:gd name="connsiteX1" fmla="*/ 416901 w 419643"/>
                  <a:gd name="connsiteY1" fmla="*/ 433356 h 433356"/>
                  <a:gd name="connsiteX2" fmla="*/ 35656 w 419643"/>
                  <a:gd name="connsiteY2" fmla="*/ 433356 h 433356"/>
                  <a:gd name="connsiteX3" fmla="*/ 35656 w 419643"/>
                  <a:gd name="connsiteY3" fmla="*/ 301704 h 433356"/>
                  <a:gd name="connsiteX4" fmla="*/ 0 w 419643"/>
                  <a:gd name="connsiteY4" fmla="*/ 164566 h 433356"/>
                  <a:gd name="connsiteX5" fmla="*/ 0 w 419643"/>
                  <a:gd name="connsiteY5" fmla="*/ 24685 h 433356"/>
                  <a:gd name="connsiteX6" fmla="*/ 24686 w 419643"/>
                  <a:gd name="connsiteY6" fmla="*/ 0 h 433356"/>
                  <a:gd name="connsiteX7" fmla="*/ 287991 w 419643"/>
                  <a:gd name="connsiteY7" fmla="*/ 0 h 433356"/>
                  <a:gd name="connsiteX8" fmla="*/ 287991 w 419643"/>
                  <a:gd name="connsiteY8" fmla="*/ 71312 h 433356"/>
                  <a:gd name="connsiteX9" fmla="*/ 345588 w 419643"/>
                  <a:gd name="connsiteY9" fmla="*/ 128910 h 433356"/>
                  <a:gd name="connsiteX10" fmla="*/ 416901 w 419643"/>
                  <a:gd name="connsiteY10" fmla="*/ 128910 h 433356"/>
                  <a:gd name="connsiteX11" fmla="*/ 416901 w 419643"/>
                  <a:gd name="connsiteY11" fmla="*/ 178280 h 433356"/>
                  <a:gd name="connsiteX12" fmla="*/ 419643 w 419643"/>
                  <a:gd name="connsiteY12" fmla="*/ 189250 h 43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643" h="433356">
                    <a:moveTo>
                      <a:pt x="416901" y="257819"/>
                    </a:moveTo>
                    <a:lnTo>
                      <a:pt x="416901" y="433356"/>
                    </a:lnTo>
                    <a:cubicBezTo>
                      <a:pt x="381245" y="433356"/>
                      <a:pt x="74055" y="433356"/>
                      <a:pt x="35656" y="433356"/>
                    </a:cubicBezTo>
                    <a:lnTo>
                      <a:pt x="35656" y="301704"/>
                    </a:lnTo>
                    <a:cubicBezTo>
                      <a:pt x="35656" y="227649"/>
                      <a:pt x="5486" y="181022"/>
                      <a:pt x="0" y="164566"/>
                    </a:cubicBezTo>
                    <a:lnTo>
                      <a:pt x="0" y="24685"/>
                    </a:lnTo>
                    <a:cubicBezTo>
                      <a:pt x="0" y="10971"/>
                      <a:pt x="10972" y="0"/>
                      <a:pt x="24686" y="0"/>
                    </a:cubicBezTo>
                    <a:lnTo>
                      <a:pt x="287991" y="0"/>
                    </a:lnTo>
                    <a:lnTo>
                      <a:pt x="287991" y="71312"/>
                    </a:lnTo>
                    <a:cubicBezTo>
                      <a:pt x="287991" y="104225"/>
                      <a:pt x="315418" y="128910"/>
                      <a:pt x="345588" y="128910"/>
                    </a:cubicBezTo>
                    <a:lnTo>
                      <a:pt x="416901" y="128910"/>
                    </a:lnTo>
                    <a:lnTo>
                      <a:pt x="416901" y="178280"/>
                    </a:lnTo>
                    <a:cubicBezTo>
                      <a:pt x="416901" y="181022"/>
                      <a:pt x="416901" y="186508"/>
                      <a:pt x="419643" y="189250"/>
                    </a:cubicBezTo>
                  </a:path>
                </a:pathLst>
              </a:custGeom>
              <a:solidFill>
                <a:srgbClr val="7F1C58"/>
              </a:solidFill>
              <a:ln w="27426" cap="flat">
                <a:noFill/>
                <a:prstDash val="solid"/>
                <a:miter/>
              </a:ln>
            </p:spPr>
            <p:txBody>
              <a:bodyPr rtlCol="0" anchor="ctr"/>
              <a:lstStyle/>
              <a:p>
                <a:pPr algn="l" rtl="0"/>
                <a:endParaRPr lang="en-US" dirty="0"/>
              </a:p>
            </p:txBody>
          </p:sp>
          <p:grpSp>
            <p:nvGrpSpPr>
              <p:cNvPr id="349" name="Graphic 3">
                <a:extLst>
                  <a:ext uri="{FF2B5EF4-FFF2-40B4-BE49-F238E27FC236}">
                    <a16:creationId xmlns:a16="http://schemas.microsoft.com/office/drawing/2014/main" id="{501E4F31-C381-67B8-C7E9-DE45D9B9E5CF}"/>
                  </a:ext>
                </a:extLst>
              </p:cNvPr>
              <p:cNvGrpSpPr/>
              <p:nvPr/>
            </p:nvGrpSpPr>
            <p:grpSpPr>
              <a:xfrm>
                <a:off x="4643578" y="432838"/>
                <a:ext cx="1028134" cy="1160188"/>
                <a:chOff x="4643578" y="432838"/>
                <a:chExt cx="1028134" cy="1160188"/>
              </a:xfrm>
              <a:grpFill/>
            </p:grpSpPr>
            <p:sp>
              <p:nvSpPr>
                <p:cNvPr id="350" name="Freeform 349">
                  <a:extLst>
                    <a:ext uri="{FF2B5EF4-FFF2-40B4-BE49-F238E27FC236}">
                      <a16:creationId xmlns:a16="http://schemas.microsoft.com/office/drawing/2014/main" id="{7F1D0ED1-EA8B-396E-9F4F-80B19CD75779}"/>
                    </a:ext>
                  </a:extLst>
                </p:cNvPr>
                <p:cNvSpPr/>
                <p:nvPr/>
              </p:nvSpPr>
              <p:spPr>
                <a:xfrm>
                  <a:off x="5115334" y="53157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pPr algn="l" rtl="0"/>
                  <a:endParaRPr lang="en-US"/>
                </a:p>
              </p:txBody>
            </p:sp>
            <p:grpSp>
              <p:nvGrpSpPr>
                <p:cNvPr id="351" name="Graphic 3">
                  <a:extLst>
                    <a:ext uri="{FF2B5EF4-FFF2-40B4-BE49-F238E27FC236}">
                      <a16:creationId xmlns:a16="http://schemas.microsoft.com/office/drawing/2014/main" id="{8F9A0C02-3B0B-CAAC-66A1-2F60C5EF9843}"/>
                    </a:ext>
                  </a:extLst>
                </p:cNvPr>
                <p:cNvGrpSpPr/>
                <p:nvPr/>
              </p:nvGrpSpPr>
              <p:grpSpPr>
                <a:xfrm>
                  <a:off x="4643578" y="432838"/>
                  <a:ext cx="1028134" cy="1160188"/>
                  <a:chOff x="4643578" y="432838"/>
                  <a:chExt cx="1028134" cy="1160188"/>
                </a:xfrm>
                <a:grpFill/>
              </p:grpSpPr>
              <p:sp>
                <p:nvSpPr>
                  <p:cNvPr id="352" name="Freeform 351">
                    <a:extLst>
                      <a:ext uri="{FF2B5EF4-FFF2-40B4-BE49-F238E27FC236}">
                        <a16:creationId xmlns:a16="http://schemas.microsoft.com/office/drawing/2014/main" id="{F9898835-9017-F404-60BA-0FDADC6A4B3E}"/>
                      </a:ext>
                    </a:extLst>
                  </p:cNvPr>
                  <p:cNvSpPr/>
                  <p:nvPr/>
                </p:nvSpPr>
                <p:spPr>
                  <a:xfrm>
                    <a:off x="5115334" y="61111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pPr algn="l" rtl="0"/>
                    <a:endParaRPr lang="en-US"/>
                  </a:p>
                </p:txBody>
              </p:sp>
              <p:sp>
                <p:nvSpPr>
                  <p:cNvPr id="353" name="Freeform 352">
                    <a:extLst>
                      <a:ext uri="{FF2B5EF4-FFF2-40B4-BE49-F238E27FC236}">
                        <a16:creationId xmlns:a16="http://schemas.microsoft.com/office/drawing/2014/main" id="{7F3D489E-7111-E97F-B57F-B6570D981600}"/>
                      </a:ext>
                    </a:extLst>
                  </p:cNvPr>
                  <p:cNvSpPr/>
                  <p:nvPr/>
                </p:nvSpPr>
                <p:spPr>
                  <a:xfrm>
                    <a:off x="4643578" y="432838"/>
                    <a:ext cx="1028134" cy="1160188"/>
                  </a:xfrm>
                  <a:custGeom>
                    <a:avLst/>
                    <a:gdLst>
                      <a:gd name="connsiteX0" fmla="*/ 1017568 w 1028134"/>
                      <a:gd name="connsiteY0" fmla="*/ 661006 h 1160188"/>
                      <a:gd name="connsiteX1" fmla="*/ 935285 w 1028134"/>
                      <a:gd name="connsiteY1" fmla="*/ 515639 h 1160188"/>
                      <a:gd name="connsiteX2" fmla="*/ 935285 w 1028134"/>
                      <a:gd name="connsiteY2" fmla="*/ 515639 h 1160188"/>
                      <a:gd name="connsiteX3" fmla="*/ 880429 w 1028134"/>
                      <a:gd name="connsiteY3" fmla="*/ 469012 h 1160188"/>
                      <a:gd name="connsiteX4" fmla="*/ 855744 w 1028134"/>
                      <a:gd name="connsiteY4" fmla="*/ 469012 h 1160188"/>
                      <a:gd name="connsiteX5" fmla="*/ 855744 w 1028134"/>
                      <a:gd name="connsiteY5" fmla="*/ 293476 h 1160188"/>
                      <a:gd name="connsiteX6" fmla="*/ 839288 w 1028134"/>
                      <a:gd name="connsiteY6" fmla="*/ 277019 h 1160188"/>
                      <a:gd name="connsiteX7" fmla="*/ 822830 w 1028134"/>
                      <a:gd name="connsiteY7" fmla="*/ 293476 h 1160188"/>
                      <a:gd name="connsiteX8" fmla="*/ 822830 w 1028134"/>
                      <a:gd name="connsiteY8" fmla="*/ 469012 h 1160188"/>
                      <a:gd name="connsiteX9" fmla="*/ 441587 w 1028134"/>
                      <a:gd name="connsiteY9" fmla="*/ 469012 h 1160188"/>
                      <a:gd name="connsiteX10" fmla="*/ 441587 w 1028134"/>
                      <a:gd name="connsiteY10" fmla="*/ 337360 h 1160188"/>
                      <a:gd name="connsiteX11" fmla="*/ 405929 w 1028134"/>
                      <a:gd name="connsiteY11" fmla="*/ 200222 h 1160188"/>
                      <a:gd name="connsiteX12" fmla="*/ 405929 w 1028134"/>
                      <a:gd name="connsiteY12" fmla="*/ 60341 h 1160188"/>
                      <a:gd name="connsiteX13" fmla="*/ 430615 w 1028134"/>
                      <a:gd name="connsiteY13" fmla="*/ 35656 h 1160188"/>
                      <a:gd name="connsiteX14" fmla="*/ 693920 w 1028134"/>
                      <a:gd name="connsiteY14" fmla="*/ 35656 h 1160188"/>
                      <a:gd name="connsiteX15" fmla="*/ 693920 w 1028134"/>
                      <a:gd name="connsiteY15" fmla="*/ 106968 h 1160188"/>
                      <a:gd name="connsiteX16" fmla="*/ 751519 w 1028134"/>
                      <a:gd name="connsiteY16" fmla="*/ 164566 h 1160188"/>
                      <a:gd name="connsiteX17" fmla="*/ 822830 w 1028134"/>
                      <a:gd name="connsiteY17" fmla="*/ 164566 h 1160188"/>
                      <a:gd name="connsiteX18" fmla="*/ 822830 w 1028134"/>
                      <a:gd name="connsiteY18" fmla="*/ 213936 h 1160188"/>
                      <a:gd name="connsiteX19" fmla="*/ 839288 w 1028134"/>
                      <a:gd name="connsiteY19" fmla="*/ 230392 h 1160188"/>
                      <a:gd name="connsiteX20" fmla="*/ 855744 w 1028134"/>
                      <a:gd name="connsiteY20" fmla="*/ 213936 h 1160188"/>
                      <a:gd name="connsiteX21" fmla="*/ 855744 w 1028134"/>
                      <a:gd name="connsiteY21" fmla="*/ 159080 h 1160188"/>
                      <a:gd name="connsiteX22" fmla="*/ 842030 w 1028134"/>
                      <a:gd name="connsiteY22" fmla="*/ 128910 h 1160188"/>
                      <a:gd name="connsiteX23" fmla="*/ 726833 w 1028134"/>
                      <a:gd name="connsiteY23" fmla="*/ 13714 h 1160188"/>
                      <a:gd name="connsiteX24" fmla="*/ 696664 w 1028134"/>
                      <a:gd name="connsiteY24" fmla="*/ 0 h 1160188"/>
                      <a:gd name="connsiteX25" fmla="*/ 430615 w 1028134"/>
                      <a:gd name="connsiteY25" fmla="*/ 0 h 1160188"/>
                      <a:gd name="connsiteX26" fmla="*/ 373017 w 1028134"/>
                      <a:gd name="connsiteY26" fmla="*/ 57598 h 1160188"/>
                      <a:gd name="connsiteX27" fmla="*/ 373017 w 1028134"/>
                      <a:gd name="connsiteY27" fmla="*/ 120682 h 1160188"/>
                      <a:gd name="connsiteX28" fmla="*/ 329132 w 1028134"/>
                      <a:gd name="connsiteY28" fmla="*/ 24685 h 1160188"/>
                      <a:gd name="connsiteX29" fmla="*/ 255077 w 1028134"/>
                      <a:gd name="connsiteY29" fmla="*/ 24685 h 1160188"/>
                      <a:gd name="connsiteX30" fmla="*/ 200222 w 1028134"/>
                      <a:gd name="connsiteY30" fmla="*/ 145366 h 1160188"/>
                      <a:gd name="connsiteX31" fmla="*/ 200222 w 1028134"/>
                      <a:gd name="connsiteY31" fmla="*/ 145366 h 1160188"/>
                      <a:gd name="connsiteX32" fmla="*/ 142624 w 1028134"/>
                      <a:gd name="connsiteY32" fmla="*/ 334617 h 1160188"/>
                      <a:gd name="connsiteX33" fmla="*/ 142624 w 1028134"/>
                      <a:gd name="connsiteY33" fmla="*/ 466270 h 1160188"/>
                      <a:gd name="connsiteX34" fmla="*/ 57599 w 1028134"/>
                      <a:gd name="connsiteY34" fmla="*/ 466270 h 1160188"/>
                      <a:gd name="connsiteX35" fmla="*/ 2744 w 1028134"/>
                      <a:gd name="connsiteY35" fmla="*/ 512897 h 1160188"/>
                      <a:gd name="connsiteX36" fmla="*/ 0 w 1028134"/>
                      <a:gd name="connsiteY36" fmla="*/ 554038 h 1160188"/>
                      <a:gd name="connsiteX37" fmla="*/ 85027 w 1028134"/>
                      <a:gd name="connsiteY37" fmla="*/ 877684 h 1160188"/>
                      <a:gd name="connsiteX38" fmla="*/ 85027 w 1028134"/>
                      <a:gd name="connsiteY38" fmla="*/ 1044992 h 1160188"/>
                      <a:gd name="connsiteX39" fmla="*/ 41142 w 1028134"/>
                      <a:gd name="connsiteY39" fmla="*/ 1102591 h 1160188"/>
                      <a:gd name="connsiteX40" fmla="*/ 98741 w 1028134"/>
                      <a:gd name="connsiteY40" fmla="*/ 1160189 h 1160188"/>
                      <a:gd name="connsiteX41" fmla="*/ 693920 w 1028134"/>
                      <a:gd name="connsiteY41" fmla="*/ 1160189 h 1160188"/>
                      <a:gd name="connsiteX42" fmla="*/ 751519 w 1028134"/>
                      <a:gd name="connsiteY42" fmla="*/ 1102591 h 1160188"/>
                      <a:gd name="connsiteX43" fmla="*/ 707634 w 1028134"/>
                      <a:gd name="connsiteY43" fmla="*/ 1044992 h 1160188"/>
                      <a:gd name="connsiteX44" fmla="*/ 707634 w 1028134"/>
                      <a:gd name="connsiteY44" fmla="*/ 998366 h 1160188"/>
                      <a:gd name="connsiteX45" fmla="*/ 729577 w 1028134"/>
                      <a:gd name="connsiteY45" fmla="*/ 979166 h 1160188"/>
                      <a:gd name="connsiteX46" fmla="*/ 844772 w 1028134"/>
                      <a:gd name="connsiteY46" fmla="*/ 987394 h 1160188"/>
                      <a:gd name="connsiteX47" fmla="*/ 935285 w 1028134"/>
                      <a:gd name="connsiteY47" fmla="*/ 905112 h 1160188"/>
                      <a:gd name="connsiteX48" fmla="*/ 935285 w 1028134"/>
                      <a:gd name="connsiteY48" fmla="*/ 789916 h 1160188"/>
                      <a:gd name="connsiteX49" fmla="*/ 951741 w 1028134"/>
                      <a:gd name="connsiteY49" fmla="*/ 765231 h 1160188"/>
                      <a:gd name="connsiteX50" fmla="*/ 990140 w 1028134"/>
                      <a:gd name="connsiteY50" fmla="*/ 751517 h 1160188"/>
                      <a:gd name="connsiteX51" fmla="*/ 1017568 w 1028134"/>
                      <a:gd name="connsiteY51" fmla="*/ 661006 h 1160188"/>
                      <a:gd name="connsiteX52" fmla="*/ 1017568 w 1028134"/>
                      <a:gd name="connsiteY52" fmla="*/ 661006 h 1160188"/>
                      <a:gd name="connsiteX53" fmla="*/ 798146 w 1028134"/>
                      <a:gd name="connsiteY53" fmla="*/ 131653 h 1160188"/>
                      <a:gd name="connsiteX54" fmla="*/ 748775 w 1028134"/>
                      <a:gd name="connsiteY54" fmla="*/ 131653 h 1160188"/>
                      <a:gd name="connsiteX55" fmla="*/ 724091 w 1028134"/>
                      <a:gd name="connsiteY55" fmla="*/ 106968 h 1160188"/>
                      <a:gd name="connsiteX56" fmla="*/ 724091 w 1028134"/>
                      <a:gd name="connsiteY56" fmla="*/ 57598 h 1160188"/>
                      <a:gd name="connsiteX57" fmla="*/ 798146 w 1028134"/>
                      <a:gd name="connsiteY57" fmla="*/ 131653 h 1160188"/>
                      <a:gd name="connsiteX58" fmla="*/ 285248 w 1028134"/>
                      <a:gd name="connsiteY58" fmla="*/ 38399 h 1160188"/>
                      <a:gd name="connsiteX59" fmla="*/ 298962 w 1028134"/>
                      <a:gd name="connsiteY59" fmla="*/ 38399 h 1160188"/>
                      <a:gd name="connsiteX60" fmla="*/ 342846 w 1028134"/>
                      <a:gd name="connsiteY60" fmla="*/ 137138 h 1160188"/>
                      <a:gd name="connsiteX61" fmla="*/ 244107 w 1028134"/>
                      <a:gd name="connsiteY61" fmla="*/ 137138 h 1160188"/>
                      <a:gd name="connsiteX62" fmla="*/ 285248 w 1028134"/>
                      <a:gd name="connsiteY62" fmla="*/ 38399 h 1160188"/>
                      <a:gd name="connsiteX63" fmla="*/ 224907 w 1028134"/>
                      <a:gd name="connsiteY63" fmla="*/ 170051 h 1160188"/>
                      <a:gd name="connsiteX64" fmla="*/ 353818 w 1028134"/>
                      <a:gd name="connsiteY64" fmla="*/ 170051 h 1160188"/>
                      <a:gd name="connsiteX65" fmla="*/ 400445 w 1028134"/>
                      <a:gd name="connsiteY65" fmla="*/ 287990 h 1160188"/>
                      <a:gd name="connsiteX66" fmla="*/ 178280 w 1028134"/>
                      <a:gd name="connsiteY66" fmla="*/ 287990 h 1160188"/>
                      <a:gd name="connsiteX67" fmla="*/ 224907 w 1028134"/>
                      <a:gd name="connsiteY67" fmla="*/ 170051 h 1160188"/>
                      <a:gd name="connsiteX68" fmla="*/ 224907 w 1028134"/>
                      <a:gd name="connsiteY68" fmla="*/ 170051 h 1160188"/>
                      <a:gd name="connsiteX69" fmla="*/ 175538 w 1028134"/>
                      <a:gd name="connsiteY69" fmla="*/ 337360 h 1160188"/>
                      <a:gd name="connsiteX70" fmla="*/ 175538 w 1028134"/>
                      <a:gd name="connsiteY70" fmla="*/ 323646 h 1160188"/>
                      <a:gd name="connsiteX71" fmla="*/ 405929 w 1028134"/>
                      <a:gd name="connsiteY71" fmla="*/ 323646 h 1160188"/>
                      <a:gd name="connsiteX72" fmla="*/ 405929 w 1028134"/>
                      <a:gd name="connsiteY72" fmla="*/ 337360 h 1160188"/>
                      <a:gd name="connsiteX73" fmla="*/ 405929 w 1028134"/>
                      <a:gd name="connsiteY73" fmla="*/ 469012 h 1160188"/>
                      <a:gd name="connsiteX74" fmla="*/ 172794 w 1028134"/>
                      <a:gd name="connsiteY74" fmla="*/ 469012 h 1160188"/>
                      <a:gd name="connsiteX75" fmla="*/ 172794 w 1028134"/>
                      <a:gd name="connsiteY75" fmla="*/ 337360 h 1160188"/>
                      <a:gd name="connsiteX76" fmla="*/ 74055 w 1028134"/>
                      <a:gd name="connsiteY76" fmla="*/ 1105333 h 1160188"/>
                      <a:gd name="connsiteX77" fmla="*/ 98741 w 1028134"/>
                      <a:gd name="connsiteY77" fmla="*/ 1080648 h 1160188"/>
                      <a:gd name="connsiteX78" fmla="*/ 145366 w 1028134"/>
                      <a:gd name="connsiteY78" fmla="*/ 1080648 h 1160188"/>
                      <a:gd name="connsiteX79" fmla="*/ 161824 w 1028134"/>
                      <a:gd name="connsiteY79" fmla="*/ 1064192 h 1160188"/>
                      <a:gd name="connsiteX80" fmla="*/ 145366 w 1028134"/>
                      <a:gd name="connsiteY80" fmla="*/ 1047735 h 1160188"/>
                      <a:gd name="connsiteX81" fmla="*/ 117939 w 1028134"/>
                      <a:gd name="connsiteY81" fmla="*/ 1047735 h 1160188"/>
                      <a:gd name="connsiteX82" fmla="*/ 117939 w 1028134"/>
                      <a:gd name="connsiteY82" fmla="*/ 883170 h 1160188"/>
                      <a:gd name="connsiteX83" fmla="*/ 32914 w 1028134"/>
                      <a:gd name="connsiteY83" fmla="*/ 559524 h 1160188"/>
                      <a:gd name="connsiteX84" fmla="*/ 35656 w 1028134"/>
                      <a:gd name="connsiteY84" fmla="*/ 523868 h 1160188"/>
                      <a:gd name="connsiteX85" fmla="*/ 54855 w 1028134"/>
                      <a:gd name="connsiteY85" fmla="*/ 507411 h 1160188"/>
                      <a:gd name="connsiteX86" fmla="*/ 611637 w 1028134"/>
                      <a:gd name="connsiteY86" fmla="*/ 507411 h 1160188"/>
                      <a:gd name="connsiteX87" fmla="*/ 614381 w 1028134"/>
                      <a:gd name="connsiteY87" fmla="*/ 526610 h 1160188"/>
                      <a:gd name="connsiteX88" fmla="*/ 704892 w 1028134"/>
                      <a:gd name="connsiteY88" fmla="*/ 688433 h 1160188"/>
                      <a:gd name="connsiteX89" fmla="*/ 693920 w 1028134"/>
                      <a:gd name="connsiteY89" fmla="*/ 726832 h 1160188"/>
                      <a:gd name="connsiteX90" fmla="*/ 655522 w 1028134"/>
                      <a:gd name="connsiteY90" fmla="*/ 740546 h 1160188"/>
                      <a:gd name="connsiteX91" fmla="*/ 617123 w 1028134"/>
                      <a:gd name="connsiteY91" fmla="*/ 795401 h 1160188"/>
                      <a:gd name="connsiteX92" fmla="*/ 617123 w 1028134"/>
                      <a:gd name="connsiteY92" fmla="*/ 910597 h 1160188"/>
                      <a:gd name="connsiteX93" fmla="*/ 562267 w 1028134"/>
                      <a:gd name="connsiteY93" fmla="*/ 959967 h 1160188"/>
                      <a:gd name="connsiteX94" fmla="*/ 447071 w 1028134"/>
                      <a:gd name="connsiteY94" fmla="*/ 951739 h 1160188"/>
                      <a:gd name="connsiteX95" fmla="*/ 389473 w 1028134"/>
                      <a:gd name="connsiteY95" fmla="*/ 1006594 h 1160188"/>
                      <a:gd name="connsiteX96" fmla="*/ 389473 w 1028134"/>
                      <a:gd name="connsiteY96" fmla="*/ 1050478 h 1160188"/>
                      <a:gd name="connsiteX97" fmla="*/ 224907 w 1028134"/>
                      <a:gd name="connsiteY97" fmla="*/ 1050478 h 1160188"/>
                      <a:gd name="connsiteX98" fmla="*/ 208451 w 1028134"/>
                      <a:gd name="connsiteY98" fmla="*/ 1066935 h 1160188"/>
                      <a:gd name="connsiteX99" fmla="*/ 224907 w 1028134"/>
                      <a:gd name="connsiteY99" fmla="*/ 1083391 h 1160188"/>
                      <a:gd name="connsiteX100" fmla="*/ 408673 w 1028134"/>
                      <a:gd name="connsiteY100" fmla="*/ 1083391 h 1160188"/>
                      <a:gd name="connsiteX101" fmla="*/ 433357 w 1028134"/>
                      <a:gd name="connsiteY101" fmla="*/ 1108076 h 1160188"/>
                      <a:gd name="connsiteX102" fmla="*/ 408673 w 1028134"/>
                      <a:gd name="connsiteY102" fmla="*/ 1132761 h 1160188"/>
                      <a:gd name="connsiteX103" fmla="*/ 98741 w 1028134"/>
                      <a:gd name="connsiteY103" fmla="*/ 1132761 h 1160188"/>
                      <a:gd name="connsiteX104" fmla="*/ 74055 w 1028134"/>
                      <a:gd name="connsiteY104" fmla="*/ 1105333 h 1160188"/>
                      <a:gd name="connsiteX105" fmla="*/ 74055 w 1028134"/>
                      <a:gd name="connsiteY105" fmla="*/ 1105333 h 1160188"/>
                      <a:gd name="connsiteX106" fmla="*/ 718605 w 1028134"/>
                      <a:gd name="connsiteY106" fmla="*/ 1105333 h 1160188"/>
                      <a:gd name="connsiteX107" fmla="*/ 693920 w 1028134"/>
                      <a:gd name="connsiteY107" fmla="*/ 1130018 h 1160188"/>
                      <a:gd name="connsiteX108" fmla="*/ 460785 w 1028134"/>
                      <a:gd name="connsiteY108" fmla="*/ 1130018 h 1160188"/>
                      <a:gd name="connsiteX109" fmla="*/ 466270 w 1028134"/>
                      <a:gd name="connsiteY109" fmla="*/ 1105333 h 1160188"/>
                      <a:gd name="connsiteX110" fmla="*/ 460785 w 1028134"/>
                      <a:gd name="connsiteY110" fmla="*/ 1080648 h 1160188"/>
                      <a:gd name="connsiteX111" fmla="*/ 693920 w 1028134"/>
                      <a:gd name="connsiteY111" fmla="*/ 1080648 h 1160188"/>
                      <a:gd name="connsiteX112" fmla="*/ 718605 w 1028134"/>
                      <a:gd name="connsiteY112" fmla="*/ 1105333 h 1160188"/>
                      <a:gd name="connsiteX113" fmla="*/ 718605 w 1028134"/>
                      <a:gd name="connsiteY113" fmla="*/ 1105333 h 1160188"/>
                      <a:gd name="connsiteX114" fmla="*/ 976426 w 1028134"/>
                      <a:gd name="connsiteY114" fmla="*/ 721347 h 1160188"/>
                      <a:gd name="connsiteX115" fmla="*/ 938027 w 1028134"/>
                      <a:gd name="connsiteY115" fmla="*/ 735060 h 1160188"/>
                      <a:gd name="connsiteX116" fmla="*/ 899627 w 1028134"/>
                      <a:gd name="connsiteY116" fmla="*/ 789916 h 1160188"/>
                      <a:gd name="connsiteX117" fmla="*/ 899627 w 1028134"/>
                      <a:gd name="connsiteY117" fmla="*/ 905112 h 1160188"/>
                      <a:gd name="connsiteX118" fmla="*/ 844772 w 1028134"/>
                      <a:gd name="connsiteY118" fmla="*/ 954481 h 1160188"/>
                      <a:gd name="connsiteX119" fmla="*/ 729577 w 1028134"/>
                      <a:gd name="connsiteY119" fmla="*/ 946253 h 1160188"/>
                      <a:gd name="connsiteX120" fmla="*/ 671978 w 1028134"/>
                      <a:gd name="connsiteY120" fmla="*/ 1001108 h 1160188"/>
                      <a:gd name="connsiteX121" fmla="*/ 671978 w 1028134"/>
                      <a:gd name="connsiteY121" fmla="*/ 1044992 h 1160188"/>
                      <a:gd name="connsiteX122" fmla="*/ 419643 w 1028134"/>
                      <a:gd name="connsiteY122" fmla="*/ 1044992 h 1160188"/>
                      <a:gd name="connsiteX123" fmla="*/ 419643 w 1028134"/>
                      <a:gd name="connsiteY123" fmla="*/ 1001108 h 1160188"/>
                      <a:gd name="connsiteX124" fmla="*/ 441587 w 1028134"/>
                      <a:gd name="connsiteY124" fmla="*/ 981909 h 1160188"/>
                      <a:gd name="connsiteX125" fmla="*/ 556781 w 1028134"/>
                      <a:gd name="connsiteY125" fmla="*/ 990137 h 1160188"/>
                      <a:gd name="connsiteX126" fmla="*/ 647294 w 1028134"/>
                      <a:gd name="connsiteY126" fmla="*/ 907854 h 1160188"/>
                      <a:gd name="connsiteX127" fmla="*/ 647294 w 1028134"/>
                      <a:gd name="connsiteY127" fmla="*/ 792658 h 1160188"/>
                      <a:gd name="connsiteX128" fmla="*/ 663750 w 1028134"/>
                      <a:gd name="connsiteY128" fmla="*/ 767973 h 1160188"/>
                      <a:gd name="connsiteX129" fmla="*/ 702149 w 1028134"/>
                      <a:gd name="connsiteY129" fmla="*/ 754260 h 1160188"/>
                      <a:gd name="connsiteX130" fmla="*/ 729577 w 1028134"/>
                      <a:gd name="connsiteY130" fmla="*/ 663749 h 1160188"/>
                      <a:gd name="connsiteX131" fmla="*/ 647294 w 1028134"/>
                      <a:gd name="connsiteY131" fmla="*/ 518382 h 1160188"/>
                      <a:gd name="connsiteX132" fmla="*/ 644550 w 1028134"/>
                      <a:gd name="connsiteY132" fmla="*/ 504668 h 1160188"/>
                      <a:gd name="connsiteX133" fmla="*/ 877686 w 1028134"/>
                      <a:gd name="connsiteY133" fmla="*/ 504668 h 1160188"/>
                      <a:gd name="connsiteX134" fmla="*/ 896885 w 1028134"/>
                      <a:gd name="connsiteY134" fmla="*/ 521125 h 1160188"/>
                      <a:gd name="connsiteX135" fmla="*/ 896885 w 1028134"/>
                      <a:gd name="connsiteY135" fmla="*/ 521125 h 1160188"/>
                      <a:gd name="connsiteX136" fmla="*/ 987396 w 1028134"/>
                      <a:gd name="connsiteY136" fmla="*/ 682948 h 1160188"/>
                      <a:gd name="connsiteX137" fmla="*/ 976426 w 1028134"/>
                      <a:gd name="connsiteY137" fmla="*/ 721347 h 1160188"/>
                      <a:gd name="connsiteX138" fmla="*/ 976426 w 1028134"/>
                      <a:gd name="connsiteY138" fmla="*/ 721347 h 116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028134" h="1160188">
                        <a:moveTo>
                          <a:pt x="1017568" y="661006"/>
                        </a:moveTo>
                        <a:cubicBezTo>
                          <a:pt x="973682" y="592437"/>
                          <a:pt x="940769" y="567752"/>
                          <a:pt x="935285" y="515639"/>
                        </a:cubicBezTo>
                        <a:lnTo>
                          <a:pt x="935285" y="515639"/>
                        </a:lnTo>
                        <a:cubicBezTo>
                          <a:pt x="932541" y="488212"/>
                          <a:pt x="907857" y="469012"/>
                          <a:pt x="880429" y="469012"/>
                        </a:cubicBezTo>
                        <a:lnTo>
                          <a:pt x="855744" y="469012"/>
                        </a:lnTo>
                        <a:lnTo>
                          <a:pt x="855744" y="293476"/>
                        </a:lnTo>
                        <a:cubicBezTo>
                          <a:pt x="855744" y="285247"/>
                          <a:pt x="847516" y="277019"/>
                          <a:pt x="839288" y="277019"/>
                        </a:cubicBezTo>
                        <a:cubicBezTo>
                          <a:pt x="831058" y="277019"/>
                          <a:pt x="822830" y="285247"/>
                          <a:pt x="822830" y="293476"/>
                        </a:cubicBezTo>
                        <a:lnTo>
                          <a:pt x="822830" y="469012"/>
                        </a:lnTo>
                        <a:cubicBezTo>
                          <a:pt x="787175" y="469012"/>
                          <a:pt x="479984" y="469012"/>
                          <a:pt x="441587" y="469012"/>
                        </a:cubicBezTo>
                        <a:lnTo>
                          <a:pt x="441587" y="337360"/>
                        </a:lnTo>
                        <a:cubicBezTo>
                          <a:pt x="441587" y="263305"/>
                          <a:pt x="411415" y="216678"/>
                          <a:pt x="405929" y="200222"/>
                        </a:cubicBezTo>
                        <a:lnTo>
                          <a:pt x="405929" y="60341"/>
                        </a:lnTo>
                        <a:cubicBezTo>
                          <a:pt x="405929" y="46627"/>
                          <a:pt x="416901" y="35656"/>
                          <a:pt x="430615" y="35656"/>
                        </a:cubicBezTo>
                        <a:lnTo>
                          <a:pt x="693920" y="35656"/>
                        </a:lnTo>
                        <a:lnTo>
                          <a:pt x="693920" y="106968"/>
                        </a:lnTo>
                        <a:cubicBezTo>
                          <a:pt x="693920" y="139881"/>
                          <a:pt x="721348" y="164566"/>
                          <a:pt x="751519" y="164566"/>
                        </a:cubicBezTo>
                        <a:lnTo>
                          <a:pt x="822830" y="164566"/>
                        </a:lnTo>
                        <a:lnTo>
                          <a:pt x="822830" y="213936"/>
                        </a:lnTo>
                        <a:cubicBezTo>
                          <a:pt x="822830" y="222164"/>
                          <a:pt x="831058" y="230392"/>
                          <a:pt x="839288" y="230392"/>
                        </a:cubicBezTo>
                        <a:cubicBezTo>
                          <a:pt x="847516" y="230392"/>
                          <a:pt x="855744" y="222164"/>
                          <a:pt x="855744" y="213936"/>
                        </a:cubicBezTo>
                        <a:lnTo>
                          <a:pt x="855744" y="159080"/>
                        </a:lnTo>
                        <a:cubicBezTo>
                          <a:pt x="855744" y="148109"/>
                          <a:pt x="850258" y="137138"/>
                          <a:pt x="842030" y="128910"/>
                        </a:cubicBezTo>
                        <a:lnTo>
                          <a:pt x="726833" y="13714"/>
                        </a:lnTo>
                        <a:cubicBezTo>
                          <a:pt x="718605" y="5486"/>
                          <a:pt x="707634" y="0"/>
                          <a:pt x="696664" y="0"/>
                        </a:cubicBezTo>
                        <a:lnTo>
                          <a:pt x="430615" y="0"/>
                        </a:lnTo>
                        <a:cubicBezTo>
                          <a:pt x="397701" y="0"/>
                          <a:pt x="373017" y="27428"/>
                          <a:pt x="373017" y="57598"/>
                        </a:cubicBezTo>
                        <a:lnTo>
                          <a:pt x="373017" y="120682"/>
                        </a:lnTo>
                        <a:lnTo>
                          <a:pt x="329132" y="24685"/>
                        </a:lnTo>
                        <a:cubicBezTo>
                          <a:pt x="315418" y="-8228"/>
                          <a:pt x="268791" y="-8228"/>
                          <a:pt x="255077" y="24685"/>
                        </a:cubicBezTo>
                        <a:lnTo>
                          <a:pt x="200222" y="145366"/>
                        </a:lnTo>
                        <a:cubicBezTo>
                          <a:pt x="200222" y="145366"/>
                          <a:pt x="200222" y="145366"/>
                          <a:pt x="200222" y="145366"/>
                        </a:cubicBezTo>
                        <a:cubicBezTo>
                          <a:pt x="175538" y="205707"/>
                          <a:pt x="142624" y="252334"/>
                          <a:pt x="142624" y="334617"/>
                        </a:cubicBezTo>
                        <a:lnTo>
                          <a:pt x="142624" y="466270"/>
                        </a:lnTo>
                        <a:lnTo>
                          <a:pt x="57599" y="466270"/>
                        </a:lnTo>
                        <a:cubicBezTo>
                          <a:pt x="30171" y="466270"/>
                          <a:pt x="8228" y="485469"/>
                          <a:pt x="2744" y="512897"/>
                        </a:cubicBezTo>
                        <a:cubicBezTo>
                          <a:pt x="0" y="526610"/>
                          <a:pt x="0" y="540324"/>
                          <a:pt x="0" y="554038"/>
                        </a:cubicBezTo>
                        <a:cubicBezTo>
                          <a:pt x="2744" y="702147"/>
                          <a:pt x="85027" y="724089"/>
                          <a:pt x="85027" y="877684"/>
                        </a:cubicBezTo>
                        <a:lnTo>
                          <a:pt x="85027" y="1044992"/>
                        </a:lnTo>
                        <a:cubicBezTo>
                          <a:pt x="60341" y="1050478"/>
                          <a:pt x="41142" y="1075163"/>
                          <a:pt x="41142" y="1102591"/>
                        </a:cubicBezTo>
                        <a:cubicBezTo>
                          <a:pt x="41142" y="1135504"/>
                          <a:pt x="68569" y="1160189"/>
                          <a:pt x="98741" y="1160189"/>
                        </a:cubicBezTo>
                        <a:lnTo>
                          <a:pt x="693920" y="1160189"/>
                        </a:lnTo>
                        <a:cubicBezTo>
                          <a:pt x="726833" y="1160189"/>
                          <a:pt x="751519" y="1132761"/>
                          <a:pt x="751519" y="1102591"/>
                        </a:cubicBezTo>
                        <a:cubicBezTo>
                          <a:pt x="751519" y="1075163"/>
                          <a:pt x="732319" y="1053221"/>
                          <a:pt x="707634" y="1044992"/>
                        </a:cubicBezTo>
                        <a:lnTo>
                          <a:pt x="707634" y="998366"/>
                        </a:lnTo>
                        <a:cubicBezTo>
                          <a:pt x="707634" y="987394"/>
                          <a:pt x="718605" y="976423"/>
                          <a:pt x="729577" y="979166"/>
                        </a:cubicBezTo>
                        <a:lnTo>
                          <a:pt x="844772" y="987394"/>
                        </a:lnTo>
                        <a:cubicBezTo>
                          <a:pt x="894143" y="990137"/>
                          <a:pt x="935285" y="951739"/>
                          <a:pt x="935285" y="905112"/>
                        </a:cubicBezTo>
                        <a:lnTo>
                          <a:pt x="935285" y="789916"/>
                        </a:lnTo>
                        <a:cubicBezTo>
                          <a:pt x="935285" y="778945"/>
                          <a:pt x="940769" y="770716"/>
                          <a:pt x="951741" y="765231"/>
                        </a:cubicBezTo>
                        <a:lnTo>
                          <a:pt x="990140" y="751517"/>
                        </a:lnTo>
                        <a:cubicBezTo>
                          <a:pt x="1025796" y="737803"/>
                          <a:pt x="1039510" y="693919"/>
                          <a:pt x="1017568" y="661006"/>
                        </a:cubicBezTo>
                        <a:lnTo>
                          <a:pt x="1017568" y="661006"/>
                        </a:lnTo>
                        <a:close/>
                        <a:moveTo>
                          <a:pt x="798146" y="131653"/>
                        </a:moveTo>
                        <a:lnTo>
                          <a:pt x="748775" y="131653"/>
                        </a:lnTo>
                        <a:cubicBezTo>
                          <a:pt x="735061" y="131653"/>
                          <a:pt x="724091" y="120682"/>
                          <a:pt x="724091" y="106968"/>
                        </a:cubicBezTo>
                        <a:lnTo>
                          <a:pt x="724091" y="57598"/>
                        </a:lnTo>
                        <a:lnTo>
                          <a:pt x="798146" y="131653"/>
                        </a:lnTo>
                        <a:close/>
                        <a:moveTo>
                          <a:pt x="285248" y="38399"/>
                        </a:moveTo>
                        <a:cubicBezTo>
                          <a:pt x="287991" y="32913"/>
                          <a:pt x="296219" y="32913"/>
                          <a:pt x="298962" y="38399"/>
                        </a:cubicBezTo>
                        <a:lnTo>
                          <a:pt x="342846" y="137138"/>
                        </a:lnTo>
                        <a:lnTo>
                          <a:pt x="244107" y="137138"/>
                        </a:lnTo>
                        <a:lnTo>
                          <a:pt x="285248" y="38399"/>
                        </a:lnTo>
                        <a:close/>
                        <a:moveTo>
                          <a:pt x="224907" y="170051"/>
                        </a:moveTo>
                        <a:lnTo>
                          <a:pt x="353818" y="170051"/>
                        </a:lnTo>
                        <a:cubicBezTo>
                          <a:pt x="383987" y="238620"/>
                          <a:pt x="392215" y="255077"/>
                          <a:pt x="400445" y="287990"/>
                        </a:cubicBezTo>
                        <a:lnTo>
                          <a:pt x="178280" y="287990"/>
                        </a:lnTo>
                        <a:cubicBezTo>
                          <a:pt x="189252" y="246849"/>
                          <a:pt x="200222" y="227649"/>
                          <a:pt x="224907" y="170051"/>
                        </a:cubicBezTo>
                        <a:lnTo>
                          <a:pt x="224907" y="170051"/>
                        </a:lnTo>
                        <a:close/>
                        <a:moveTo>
                          <a:pt x="175538" y="337360"/>
                        </a:moveTo>
                        <a:cubicBezTo>
                          <a:pt x="175538" y="331874"/>
                          <a:pt x="175538" y="326389"/>
                          <a:pt x="175538" y="323646"/>
                        </a:cubicBezTo>
                        <a:lnTo>
                          <a:pt x="405929" y="323646"/>
                        </a:lnTo>
                        <a:cubicBezTo>
                          <a:pt x="405929" y="329131"/>
                          <a:pt x="405929" y="334617"/>
                          <a:pt x="405929" y="337360"/>
                        </a:cubicBezTo>
                        <a:lnTo>
                          <a:pt x="405929" y="469012"/>
                        </a:lnTo>
                        <a:lnTo>
                          <a:pt x="172794" y="469012"/>
                        </a:lnTo>
                        <a:lnTo>
                          <a:pt x="172794" y="337360"/>
                        </a:lnTo>
                        <a:close/>
                        <a:moveTo>
                          <a:pt x="74055" y="1105333"/>
                        </a:moveTo>
                        <a:cubicBezTo>
                          <a:pt x="74055" y="1091619"/>
                          <a:pt x="85027" y="1080648"/>
                          <a:pt x="98741" y="1080648"/>
                        </a:cubicBezTo>
                        <a:lnTo>
                          <a:pt x="145366" y="1080648"/>
                        </a:lnTo>
                        <a:cubicBezTo>
                          <a:pt x="153596" y="1080648"/>
                          <a:pt x="161824" y="1072420"/>
                          <a:pt x="161824" y="1064192"/>
                        </a:cubicBezTo>
                        <a:cubicBezTo>
                          <a:pt x="161824" y="1055964"/>
                          <a:pt x="153596" y="1047735"/>
                          <a:pt x="145366" y="1047735"/>
                        </a:cubicBezTo>
                        <a:lnTo>
                          <a:pt x="117939" y="1047735"/>
                        </a:lnTo>
                        <a:lnTo>
                          <a:pt x="117939" y="883170"/>
                        </a:lnTo>
                        <a:cubicBezTo>
                          <a:pt x="117939" y="718604"/>
                          <a:pt x="32914" y="696662"/>
                          <a:pt x="32914" y="559524"/>
                        </a:cubicBezTo>
                        <a:cubicBezTo>
                          <a:pt x="32914" y="545810"/>
                          <a:pt x="32914" y="534839"/>
                          <a:pt x="35656" y="523868"/>
                        </a:cubicBezTo>
                        <a:cubicBezTo>
                          <a:pt x="35656" y="512897"/>
                          <a:pt x="46627" y="507411"/>
                          <a:pt x="54855" y="507411"/>
                        </a:cubicBezTo>
                        <a:lnTo>
                          <a:pt x="611637" y="507411"/>
                        </a:lnTo>
                        <a:cubicBezTo>
                          <a:pt x="611637" y="512897"/>
                          <a:pt x="614381" y="518382"/>
                          <a:pt x="614381" y="526610"/>
                        </a:cubicBezTo>
                        <a:cubicBezTo>
                          <a:pt x="622609" y="592437"/>
                          <a:pt x="661008" y="622607"/>
                          <a:pt x="704892" y="688433"/>
                        </a:cubicBezTo>
                        <a:cubicBezTo>
                          <a:pt x="715863" y="702147"/>
                          <a:pt x="707634" y="721347"/>
                          <a:pt x="693920" y="726832"/>
                        </a:cubicBezTo>
                        <a:lnTo>
                          <a:pt x="655522" y="740546"/>
                        </a:lnTo>
                        <a:cubicBezTo>
                          <a:pt x="633580" y="748774"/>
                          <a:pt x="617123" y="770716"/>
                          <a:pt x="617123" y="795401"/>
                        </a:cubicBezTo>
                        <a:lnTo>
                          <a:pt x="617123" y="910597"/>
                        </a:lnTo>
                        <a:cubicBezTo>
                          <a:pt x="617123" y="940768"/>
                          <a:pt x="592439" y="962710"/>
                          <a:pt x="562267" y="959967"/>
                        </a:cubicBezTo>
                        <a:lnTo>
                          <a:pt x="447071" y="951739"/>
                        </a:lnTo>
                        <a:cubicBezTo>
                          <a:pt x="414159" y="948996"/>
                          <a:pt x="389473" y="973681"/>
                          <a:pt x="389473" y="1006594"/>
                        </a:cubicBezTo>
                        <a:lnTo>
                          <a:pt x="389473" y="1050478"/>
                        </a:lnTo>
                        <a:lnTo>
                          <a:pt x="224907" y="1050478"/>
                        </a:lnTo>
                        <a:cubicBezTo>
                          <a:pt x="216679" y="1050478"/>
                          <a:pt x="208451" y="1058706"/>
                          <a:pt x="208451" y="1066935"/>
                        </a:cubicBezTo>
                        <a:cubicBezTo>
                          <a:pt x="208451" y="1075163"/>
                          <a:pt x="216679" y="1083391"/>
                          <a:pt x="224907" y="1083391"/>
                        </a:cubicBezTo>
                        <a:lnTo>
                          <a:pt x="408673" y="1083391"/>
                        </a:lnTo>
                        <a:cubicBezTo>
                          <a:pt x="422387" y="1083391"/>
                          <a:pt x="433357" y="1094362"/>
                          <a:pt x="433357" y="1108076"/>
                        </a:cubicBezTo>
                        <a:cubicBezTo>
                          <a:pt x="433357" y="1121790"/>
                          <a:pt x="422387" y="1132761"/>
                          <a:pt x="408673" y="1132761"/>
                        </a:cubicBezTo>
                        <a:lnTo>
                          <a:pt x="98741" y="1132761"/>
                        </a:lnTo>
                        <a:cubicBezTo>
                          <a:pt x="85027" y="1130018"/>
                          <a:pt x="74055" y="1119047"/>
                          <a:pt x="74055" y="1105333"/>
                        </a:cubicBezTo>
                        <a:lnTo>
                          <a:pt x="74055" y="1105333"/>
                        </a:lnTo>
                        <a:close/>
                        <a:moveTo>
                          <a:pt x="718605" y="1105333"/>
                        </a:moveTo>
                        <a:cubicBezTo>
                          <a:pt x="718605" y="1119047"/>
                          <a:pt x="707634" y="1130018"/>
                          <a:pt x="693920" y="1130018"/>
                        </a:cubicBezTo>
                        <a:lnTo>
                          <a:pt x="460785" y="1130018"/>
                        </a:lnTo>
                        <a:cubicBezTo>
                          <a:pt x="463528" y="1121790"/>
                          <a:pt x="466270" y="1113561"/>
                          <a:pt x="466270" y="1105333"/>
                        </a:cubicBezTo>
                        <a:cubicBezTo>
                          <a:pt x="466270" y="1097105"/>
                          <a:pt x="463528" y="1088877"/>
                          <a:pt x="460785" y="1080648"/>
                        </a:cubicBezTo>
                        <a:lnTo>
                          <a:pt x="693920" y="1080648"/>
                        </a:lnTo>
                        <a:cubicBezTo>
                          <a:pt x="707634" y="1077906"/>
                          <a:pt x="718605" y="1091619"/>
                          <a:pt x="718605" y="1105333"/>
                        </a:cubicBezTo>
                        <a:lnTo>
                          <a:pt x="718605" y="1105333"/>
                        </a:lnTo>
                        <a:close/>
                        <a:moveTo>
                          <a:pt x="976426" y="721347"/>
                        </a:moveTo>
                        <a:lnTo>
                          <a:pt x="938027" y="735060"/>
                        </a:lnTo>
                        <a:cubicBezTo>
                          <a:pt x="916085" y="743289"/>
                          <a:pt x="899627" y="765231"/>
                          <a:pt x="899627" y="789916"/>
                        </a:cubicBezTo>
                        <a:lnTo>
                          <a:pt x="899627" y="905112"/>
                        </a:lnTo>
                        <a:cubicBezTo>
                          <a:pt x="899627" y="935282"/>
                          <a:pt x="874943" y="957224"/>
                          <a:pt x="844772" y="954481"/>
                        </a:cubicBezTo>
                        <a:lnTo>
                          <a:pt x="729577" y="946253"/>
                        </a:lnTo>
                        <a:cubicBezTo>
                          <a:pt x="696664" y="943510"/>
                          <a:pt x="671978" y="968195"/>
                          <a:pt x="671978" y="1001108"/>
                        </a:cubicBezTo>
                        <a:lnTo>
                          <a:pt x="671978" y="1044992"/>
                        </a:lnTo>
                        <a:lnTo>
                          <a:pt x="419643" y="1044992"/>
                        </a:lnTo>
                        <a:lnTo>
                          <a:pt x="419643" y="1001108"/>
                        </a:lnTo>
                        <a:cubicBezTo>
                          <a:pt x="419643" y="990137"/>
                          <a:pt x="430615" y="979166"/>
                          <a:pt x="441587" y="981909"/>
                        </a:cubicBezTo>
                        <a:lnTo>
                          <a:pt x="556781" y="990137"/>
                        </a:lnTo>
                        <a:cubicBezTo>
                          <a:pt x="606153" y="992880"/>
                          <a:pt x="647294" y="954481"/>
                          <a:pt x="647294" y="907854"/>
                        </a:cubicBezTo>
                        <a:lnTo>
                          <a:pt x="647294" y="792658"/>
                        </a:lnTo>
                        <a:cubicBezTo>
                          <a:pt x="647294" y="781687"/>
                          <a:pt x="652778" y="773459"/>
                          <a:pt x="663750" y="767973"/>
                        </a:cubicBezTo>
                        <a:lnTo>
                          <a:pt x="702149" y="754260"/>
                        </a:lnTo>
                        <a:cubicBezTo>
                          <a:pt x="737805" y="740546"/>
                          <a:pt x="751519" y="696662"/>
                          <a:pt x="729577" y="663749"/>
                        </a:cubicBezTo>
                        <a:cubicBezTo>
                          <a:pt x="685692" y="595180"/>
                          <a:pt x="652778" y="570495"/>
                          <a:pt x="647294" y="518382"/>
                        </a:cubicBezTo>
                        <a:cubicBezTo>
                          <a:pt x="647294" y="512897"/>
                          <a:pt x="647294" y="510154"/>
                          <a:pt x="644550" y="504668"/>
                        </a:cubicBezTo>
                        <a:lnTo>
                          <a:pt x="877686" y="504668"/>
                        </a:lnTo>
                        <a:cubicBezTo>
                          <a:pt x="888657" y="504668"/>
                          <a:pt x="896885" y="512897"/>
                          <a:pt x="896885" y="521125"/>
                        </a:cubicBezTo>
                        <a:lnTo>
                          <a:pt x="896885" y="521125"/>
                        </a:lnTo>
                        <a:cubicBezTo>
                          <a:pt x="905113" y="586951"/>
                          <a:pt x="943513" y="617122"/>
                          <a:pt x="987396" y="682948"/>
                        </a:cubicBezTo>
                        <a:cubicBezTo>
                          <a:pt x="998368" y="693919"/>
                          <a:pt x="992882" y="713118"/>
                          <a:pt x="976426" y="721347"/>
                        </a:cubicBezTo>
                        <a:lnTo>
                          <a:pt x="976426" y="721347"/>
                        </a:lnTo>
                        <a:close/>
                      </a:path>
                    </a:pathLst>
                  </a:custGeom>
                  <a:grpFill/>
                  <a:ln w="27426" cap="flat">
                    <a:noFill/>
                    <a:prstDash val="solid"/>
                    <a:miter/>
                  </a:ln>
                </p:spPr>
                <p:txBody>
                  <a:bodyPr rtlCol="0" anchor="ctr"/>
                  <a:lstStyle/>
                  <a:p>
                    <a:pPr algn="l" rtl="0"/>
                    <a:endParaRPr lang="en-US"/>
                  </a:p>
                </p:txBody>
              </p:sp>
            </p:grpSp>
          </p:grpSp>
        </p:grpSp>
      </p:grpSp>
      <p:grpSp>
        <p:nvGrpSpPr>
          <p:cNvPr id="356" name="Group 355">
            <a:extLst>
              <a:ext uri="{FF2B5EF4-FFF2-40B4-BE49-F238E27FC236}">
                <a16:creationId xmlns:a16="http://schemas.microsoft.com/office/drawing/2014/main" id="{DFDCE42E-0DF8-1112-13B7-A5573552C821}"/>
              </a:ext>
            </a:extLst>
          </p:cNvPr>
          <p:cNvGrpSpPr/>
          <p:nvPr/>
        </p:nvGrpSpPr>
        <p:grpSpPr>
          <a:xfrm>
            <a:off x="2523493" y="3639991"/>
            <a:ext cx="1227192" cy="1226725"/>
            <a:chOff x="-1521967" y="2846242"/>
            <a:chExt cx="1446392" cy="1445841"/>
          </a:xfrm>
        </p:grpSpPr>
        <p:grpSp>
          <p:nvGrpSpPr>
            <p:cNvPr id="357" name="Graphic 8">
              <a:extLst>
                <a:ext uri="{FF2B5EF4-FFF2-40B4-BE49-F238E27FC236}">
                  <a16:creationId xmlns:a16="http://schemas.microsoft.com/office/drawing/2014/main" id="{8264A561-3B60-49AA-15C9-72B822FABDE3}"/>
                </a:ext>
              </a:extLst>
            </p:cNvPr>
            <p:cNvGrpSpPr/>
            <p:nvPr/>
          </p:nvGrpSpPr>
          <p:grpSpPr>
            <a:xfrm>
              <a:off x="-1521967" y="2846242"/>
              <a:ext cx="1446392" cy="1445841"/>
              <a:chOff x="4817897" y="694433"/>
              <a:chExt cx="1446392" cy="1445841"/>
            </a:xfrm>
          </p:grpSpPr>
          <p:sp>
            <p:nvSpPr>
              <p:cNvPr id="375" name="Freeform 374">
                <a:extLst>
                  <a:ext uri="{FF2B5EF4-FFF2-40B4-BE49-F238E27FC236}">
                    <a16:creationId xmlns:a16="http://schemas.microsoft.com/office/drawing/2014/main" id="{2822B5CF-BAC2-077F-FF16-F40948539B0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pPr algn="l" rtl="0"/>
                <a:endParaRPr lang="en-US" dirty="0"/>
              </a:p>
            </p:txBody>
          </p:sp>
          <p:sp>
            <p:nvSpPr>
              <p:cNvPr id="376" name="Freeform 375">
                <a:extLst>
                  <a:ext uri="{FF2B5EF4-FFF2-40B4-BE49-F238E27FC236}">
                    <a16:creationId xmlns:a16="http://schemas.microsoft.com/office/drawing/2014/main" id="{185E77B6-B1B4-A58F-6B2F-790D082E836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grpSp>
          <p:nvGrpSpPr>
            <p:cNvPr id="358" name="Graphic 3">
              <a:extLst>
                <a:ext uri="{FF2B5EF4-FFF2-40B4-BE49-F238E27FC236}">
                  <a16:creationId xmlns:a16="http://schemas.microsoft.com/office/drawing/2014/main" id="{B1B0EEA2-561B-18C8-6126-A6A64BC56277}"/>
                </a:ext>
              </a:extLst>
            </p:cNvPr>
            <p:cNvGrpSpPr/>
            <p:nvPr/>
          </p:nvGrpSpPr>
          <p:grpSpPr>
            <a:xfrm>
              <a:off x="-1144054" y="3178996"/>
              <a:ext cx="690566" cy="763372"/>
              <a:chOff x="2811409" y="3683011"/>
              <a:chExt cx="858485" cy="948995"/>
            </a:xfrm>
            <a:solidFill>
              <a:srgbClr val="616161"/>
            </a:solidFill>
          </p:grpSpPr>
          <p:sp>
            <p:nvSpPr>
              <p:cNvPr id="359" name="Freeform 358">
                <a:extLst>
                  <a:ext uri="{FF2B5EF4-FFF2-40B4-BE49-F238E27FC236}">
                    <a16:creationId xmlns:a16="http://schemas.microsoft.com/office/drawing/2014/main" id="{B4924793-1A60-A2DB-BC6C-87B93EFB5FB9}"/>
                  </a:ext>
                </a:extLst>
              </p:cNvPr>
              <p:cNvSpPr/>
              <p:nvPr/>
            </p:nvSpPr>
            <p:spPr>
              <a:xfrm>
                <a:off x="3071972" y="3702210"/>
                <a:ext cx="340103" cy="441584"/>
              </a:xfrm>
              <a:custGeom>
                <a:avLst/>
                <a:gdLst>
                  <a:gd name="connsiteX0" fmla="*/ 0 w 340103"/>
                  <a:gd name="connsiteY0" fmla="*/ 153594 h 441584"/>
                  <a:gd name="connsiteX1" fmla="*/ 54855 w 340103"/>
                  <a:gd name="connsiteY1" fmla="*/ 43884 h 441584"/>
                  <a:gd name="connsiteX2" fmla="*/ 170052 w 340103"/>
                  <a:gd name="connsiteY2" fmla="*/ 0 h 441584"/>
                  <a:gd name="connsiteX3" fmla="*/ 340104 w 340103"/>
                  <a:gd name="connsiteY3" fmla="*/ 170051 h 441584"/>
                  <a:gd name="connsiteX4" fmla="*/ 309932 w 340103"/>
                  <a:gd name="connsiteY4" fmla="*/ 268791 h 441584"/>
                  <a:gd name="connsiteX5" fmla="*/ 309932 w 340103"/>
                  <a:gd name="connsiteY5" fmla="*/ 268791 h 441584"/>
                  <a:gd name="connsiteX6" fmla="*/ 222163 w 340103"/>
                  <a:gd name="connsiteY6" fmla="*/ 408671 h 441584"/>
                  <a:gd name="connsiteX7" fmla="*/ 219421 w 340103"/>
                  <a:gd name="connsiteY7" fmla="*/ 416900 h 441584"/>
                  <a:gd name="connsiteX8" fmla="*/ 219421 w 340103"/>
                  <a:gd name="connsiteY8" fmla="*/ 436099 h 441584"/>
                  <a:gd name="connsiteX9" fmla="*/ 213936 w 340103"/>
                  <a:gd name="connsiteY9" fmla="*/ 441584 h 441584"/>
                  <a:gd name="connsiteX10" fmla="*/ 213936 w 340103"/>
                  <a:gd name="connsiteY10" fmla="*/ 441584 h 441584"/>
                  <a:gd name="connsiteX11" fmla="*/ 222163 w 340103"/>
                  <a:gd name="connsiteY11" fmla="*/ 290733 h 441584"/>
                  <a:gd name="connsiteX12" fmla="*/ 238621 w 340103"/>
                  <a:gd name="connsiteY12" fmla="*/ 290733 h 441584"/>
                  <a:gd name="connsiteX13" fmla="*/ 279763 w 340103"/>
                  <a:gd name="connsiteY13" fmla="*/ 249591 h 441584"/>
                  <a:gd name="connsiteX14" fmla="*/ 279763 w 340103"/>
                  <a:gd name="connsiteY14" fmla="*/ 246849 h 441584"/>
                  <a:gd name="connsiteX15" fmla="*/ 238621 w 340103"/>
                  <a:gd name="connsiteY15" fmla="*/ 205707 h 441584"/>
                  <a:gd name="connsiteX16" fmla="*/ 197480 w 340103"/>
                  <a:gd name="connsiteY16" fmla="*/ 244106 h 441584"/>
                  <a:gd name="connsiteX17" fmla="*/ 197480 w 340103"/>
                  <a:gd name="connsiteY17" fmla="*/ 260562 h 441584"/>
                  <a:gd name="connsiteX18" fmla="*/ 148110 w 340103"/>
                  <a:gd name="connsiteY18" fmla="*/ 260562 h 441584"/>
                  <a:gd name="connsiteX19" fmla="*/ 148110 w 340103"/>
                  <a:gd name="connsiteY19" fmla="*/ 244106 h 441584"/>
                  <a:gd name="connsiteX20" fmla="*/ 106969 w 340103"/>
                  <a:gd name="connsiteY20" fmla="*/ 205707 h 441584"/>
                  <a:gd name="connsiteX21" fmla="*/ 65827 w 340103"/>
                  <a:gd name="connsiteY21" fmla="*/ 246849 h 441584"/>
                  <a:gd name="connsiteX22" fmla="*/ 65827 w 340103"/>
                  <a:gd name="connsiteY22" fmla="*/ 249591 h 441584"/>
                  <a:gd name="connsiteX23" fmla="*/ 106969 w 340103"/>
                  <a:gd name="connsiteY23" fmla="*/ 290733 h 441584"/>
                  <a:gd name="connsiteX24" fmla="*/ 123425 w 340103"/>
                  <a:gd name="connsiteY24" fmla="*/ 290733 h 441584"/>
                  <a:gd name="connsiteX25" fmla="*/ 131653 w 340103"/>
                  <a:gd name="connsiteY25" fmla="*/ 441584 h 441584"/>
                  <a:gd name="connsiteX26" fmla="*/ 126167 w 340103"/>
                  <a:gd name="connsiteY26" fmla="*/ 436099 h 441584"/>
                  <a:gd name="connsiteX27" fmla="*/ 126167 w 340103"/>
                  <a:gd name="connsiteY27" fmla="*/ 416900 h 441584"/>
                  <a:gd name="connsiteX28" fmla="*/ 123425 w 340103"/>
                  <a:gd name="connsiteY28" fmla="*/ 408671 h 441584"/>
                  <a:gd name="connsiteX29" fmla="*/ 35656 w 340103"/>
                  <a:gd name="connsiteY29" fmla="*/ 268791 h 441584"/>
                  <a:gd name="connsiteX30" fmla="*/ 35656 w 340103"/>
                  <a:gd name="connsiteY30" fmla="*/ 268791 h 441584"/>
                  <a:gd name="connsiteX31" fmla="*/ 8228 w 340103"/>
                  <a:gd name="connsiteY31" fmla="*/ 208450 h 4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0103" h="441584">
                    <a:moveTo>
                      <a:pt x="0" y="153594"/>
                    </a:moveTo>
                    <a:cubicBezTo>
                      <a:pt x="2742" y="112453"/>
                      <a:pt x="24686" y="71312"/>
                      <a:pt x="54855" y="43884"/>
                    </a:cubicBezTo>
                    <a:cubicBezTo>
                      <a:pt x="87769" y="13714"/>
                      <a:pt x="126167" y="0"/>
                      <a:pt x="170052" y="0"/>
                    </a:cubicBezTo>
                    <a:cubicBezTo>
                      <a:pt x="263305" y="0"/>
                      <a:pt x="340104" y="76797"/>
                      <a:pt x="340104" y="170051"/>
                    </a:cubicBezTo>
                    <a:cubicBezTo>
                      <a:pt x="340104" y="205707"/>
                      <a:pt x="329132" y="238620"/>
                      <a:pt x="309932" y="268791"/>
                    </a:cubicBezTo>
                    <a:cubicBezTo>
                      <a:pt x="309932" y="268791"/>
                      <a:pt x="309932" y="268791"/>
                      <a:pt x="309932" y="268791"/>
                    </a:cubicBezTo>
                    <a:lnTo>
                      <a:pt x="222163" y="408671"/>
                    </a:lnTo>
                    <a:cubicBezTo>
                      <a:pt x="219421" y="411414"/>
                      <a:pt x="219421" y="414157"/>
                      <a:pt x="219421" y="416900"/>
                    </a:cubicBezTo>
                    <a:lnTo>
                      <a:pt x="219421" y="436099"/>
                    </a:lnTo>
                    <a:cubicBezTo>
                      <a:pt x="219421" y="438842"/>
                      <a:pt x="216679" y="441584"/>
                      <a:pt x="213936" y="441584"/>
                    </a:cubicBezTo>
                    <a:lnTo>
                      <a:pt x="213936" y="441584"/>
                    </a:lnTo>
                    <a:lnTo>
                      <a:pt x="222163" y="290733"/>
                    </a:lnTo>
                    <a:lnTo>
                      <a:pt x="238621" y="290733"/>
                    </a:lnTo>
                    <a:cubicBezTo>
                      <a:pt x="260563" y="290733"/>
                      <a:pt x="279763" y="271533"/>
                      <a:pt x="279763" y="249591"/>
                    </a:cubicBezTo>
                    <a:lnTo>
                      <a:pt x="279763" y="246849"/>
                    </a:lnTo>
                    <a:cubicBezTo>
                      <a:pt x="279763" y="224906"/>
                      <a:pt x="260563" y="205707"/>
                      <a:pt x="238621" y="205707"/>
                    </a:cubicBezTo>
                    <a:cubicBezTo>
                      <a:pt x="216679" y="205707"/>
                      <a:pt x="197480" y="222163"/>
                      <a:pt x="197480" y="244106"/>
                    </a:cubicBezTo>
                    <a:lnTo>
                      <a:pt x="197480" y="260562"/>
                    </a:lnTo>
                    <a:lnTo>
                      <a:pt x="148110" y="260562"/>
                    </a:lnTo>
                    <a:lnTo>
                      <a:pt x="148110" y="244106"/>
                    </a:lnTo>
                    <a:cubicBezTo>
                      <a:pt x="148110" y="222163"/>
                      <a:pt x="128910" y="205707"/>
                      <a:pt x="106969" y="205707"/>
                    </a:cubicBezTo>
                    <a:cubicBezTo>
                      <a:pt x="85025" y="205707"/>
                      <a:pt x="65827" y="224906"/>
                      <a:pt x="65827" y="246849"/>
                    </a:cubicBezTo>
                    <a:lnTo>
                      <a:pt x="65827" y="249591"/>
                    </a:lnTo>
                    <a:cubicBezTo>
                      <a:pt x="65827" y="271533"/>
                      <a:pt x="85025" y="290733"/>
                      <a:pt x="106969" y="290733"/>
                    </a:cubicBezTo>
                    <a:lnTo>
                      <a:pt x="123425" y="290733"/>
                    </a:lnTo>
                    <a:lnTo>
                      <a:pt x="131653" y="441584"/>
                    </a:lnTo>
                    <a:cubicBezTo>
                      <a:pt x="128910" y="441584"/>
                      <a:pt x="126167" y="438842"/>
                      <a:pt x="126167" y="436099"/>
                    </a:cubicBezTo>
                    <a:lnTo>
                      <a:pt x="126167" y="416900"/>
                    </a:lnTo>
                    <a:cubicBezTo>
                      <a:pt x="126167" y="414157"/>
                      <a:pt x="126167" y="411414"/>
                      <a:pt x="123425" y="408671"/>
                    </a:cubicBezTo>
                    <a:lnTo>
                      <a:pt x="35656" y="268791"/>
                    </a:lnTo>
                    <a:cubicBezTo>
                      <a:pt x="35656" y="268791"/>
                      <a:pt x="35656" y="268791"/>
                      <a:pt x="35656" y="268791"/>
                    </a:cubicBezTo>
                    <a:cubicBezTo>
                      <a:pt x="21942" y="249591"/>
                      <a:pt x="13714" y="230392"/>
                      <a:pt x="8228" y="208450"/>
                    </a:cubicBezTo>
                  </a:path>
                </a:pathLst>
              </a:custGeom>
              <a:solidFill>
                <a:srgbClr val="F16924"/>
              </a:solidFill>
              <a:ln w="27426" cap="flat">
                <a:noFill/>
                <a:prstDash val="solid"/>
                <a:miter/>
              </a:ln>
            </p:spPr>
            <p:txBody>
              <a:bodyPr rtlCol="0" anchor="ctr"/>
              <a:lstStyle/>
              <a:p>
                <a:pPr algn="l" rtl="0"/>
                <a:endParaRPr lang="en-US"/>
              </a:p>
            </p:txBody>
          </p:sp>
          <p:grpSp>
            <p:nvGrpSpPr>
              <p:cNvPr id="360" name="Graphic 3">
                <a:extLst>
                  <a:ext uri="{FF2B5EF4-FFF2-40B4-BE49-F238E27FC236}">
                    <a16:creationId xmlns:a16="http://schemas.microsoft.com/office/drawing/2014/main" id="{3D7C6934-B6D2-F0EE-201D-886F86FA7B02}"/>
                  </a:ext>
                </a:extLst>
              </p:cNvPr>
              <p:cNvGrpSpPr/>
              <p:nvPr/>
            </p:nvGrpSpPr>
            <p:grpSpPr>
              <a:xfrm>
                <a:off x="2811409" y="3683011"/>
                <a:ext cx="858485" cy="948995"/>
                <a:chOff x="2811409" y="3683011"/>
                <a:chExt cx="858485" cy="948995"/>
              </a:xfrm>
              <a:grpFill/>
            </p:grpSpPr>
            <p:sp>
              <p:nvSpPr>
                <p:cNvPr id="361" name="Freeform 360">
                  <a:extLst>
                    <a:ext uri="{FF2B5EF4-FFF2-40B4-BE49-F238E27FC236}">
                      <a16:creationId xmlns:a16="http://schemas.microsoft.com/office/drawing/2014/main" id="{24FB4559-0FA1-F612-3C97-1E8E191F5E1D}"/>
                    </a:ext>
                  </a:extLst>
                </p:cNvPr>
                <p:cNvSpPr/>
                <p:nvPr/>
              </p:nvSpPr>
              <p:spPr>
                <a:xfrm>
                  <a:off x="2811409" y="3998429"/>
                  <a:ext cx="858485" cy="633577"/>
                </a:xfrm>
                <a:custGeom>
                  <a:avLst/>
                  <a:gdLst>
                    <a:gd name="connsiteX0" fmla="*/ 828316 w 858485"/>
                    <a:gd name="connsiteY0" fmla="*/ 35656 h 633577"/>
                    <a:gd name="connsiteX1" fmla="*/ 770717 w 858485"/>
                    <a:gd name="connsiteY1" fmla="*/ 35656 h 633577"/>
                    <a:gd name="connsiteX2" fmla="*/ 770717 w 858485"/>
                    <a:gd name="connsiteY2" fmla="*/ 30170 h 633577"/>
                    <a:gd name="connsiteX3" fmla="*/ 743289 w 858485"/>
                    <a:gd name="connsiteY3" fmla="*/ 2743 h 633577"/>
                    <a:gd name="connsiteX4" fmla="*/ 630837 w 858485"/>
                    <a:gd name="connsiteY4" fmla="*/ 2743 h 633577"/>
                    <a:gd name="connsiteX5" fmla="*/ 617123 w 858485"/>
                    <a:gd name="connsiteY5" fmla="*/ 16456 h 633577"/>
                    <a:gd name="connsiteX6" fmla="*/ 630837 w 858485"/>
                    <a:gd name="connsiteY6" fmla="*/ 30170 h 633577"/>
                    <a:gd name="connsiteX7" fmla="*/ 743289 w 858485"/>
                    <a:gd name="connsiteY7" fmla="*/ 30170 h 633577"/>
                    <a:gd name="connsiteX8" fmla="*/ 743289 w 858485"/>
                    <a:gd name="connsiteY8" fmla="*/ 30170 h 633577"/>
                    <a:gd name="connsiteX9" fmla="*/ 743289 w 858485"/>
                    <a:gd name="connsiteY9" fmla="*/ 200221 h 633577"/>
                    <a:gd name="connsiteX10" fmla="*/ 757003 w 858485"/>
                    <a:gd name="connsiteY10" fmla="*/ 213935 h 633577"/>
                    <a:gd name="connsiteX11" fmla="*/ 770717 w 858485"/>
                    <a:gd name="connsiteY11" fmla="*/ 200221 h 633577"/>
                    <a:gd name="connsiteX12" fmla="*/ 770717 w 858485"/>
                    <a:gd name="connsiteY12" fmla="*/ 65826 h 633577"/>
                    <a:gd name="connsiteX13" fmla="*/ 828316 w 858485"/>
                    <a:gd name="connsiteY13" fmla="*/ 65826 h 633577"/>
                    <a:gd name="connsiteX14" fmla="*/ 831058 w 858485"/>
                    <a:gd name="connsiteY14" fmla="*/ 68569 h 633577"/>
                    <a:gd name="connsiteX15" fmla="*/ 831058 w 858485"/>
                    <a:gd name="connsiteY15" fmla="*/ 554038 h 633577"/>
                    <a:gd name="connsiteX16" fmla="*/ 773461 w 858485"/>
                    <a:gd name="connsiteY16" fmla="*/ 611636 h 633577"/>
                    <a:gd name="connsiteX17" fmla="*/ 85025 w 858485"/>
                    <a:gd name="connsiteY17" fmla="*/ 611636 h 633577"/>
                    <a:gd name="connsiteX18" fmla="*/ 27428 w 858485"/>
                    <a:gd name="connsiteY18" fmla="*/ 554038 h 633577"/>
                    <a:gd name="connsiteX19" fmla="*/ 27428 w 858485"/>
                    <a:gd name="connsiteY19" fmla="*/ 65826 h 633577"/>
                    <a:gd name="connsiteX20" fmla="*/ 30170 w 858485"/>
                    <a:gd name="connsiteY20" fmla="*/ 63083 h 633577"/>
                    <a:gd name="connsiteX21" fmla="*/ 87769 w 858485"/>
                    <a:gd name="connsiteY21" fmla="*/ 63083 h 633577"/>
                    <a:gd name="connsiteX22" fmla="*/ 87769 w 858485"/>
                    <a:gd name="connsiteY22" fmla="*/ 540324 h 633577"/>
                    <a:gd name="connsiteX23" fmla="*/ 123425 w 858485"/>
                    <a:gd name="connsiteY23" fmla="*/ 575980 h 633577"/>
                    <a:gd name="connsiteX24" fmla="*/ 735061 w 858485"/>
                    <a:gd name="connsiteY24" fmla="*/ 575980 h 633577"/>
                    <a:gd name="connsiteX25" fmla="*/ 770717 w 858485"/>
                    <a:gd name="connsiteY25" fmla="*/ 540324 h 633577"/>
                    <a:gd name="connsiteX26" fmla="*/ 770717 w 858485"/>
                    <a:gd name="connsiteY26" fmla="*/ 257819 h 633577"/>
                    <a:gd name="connsiteX27" fmla="*/ 757003 w 858485"/>
                    <a:gd name="connsiteY27" fmla="*/ 244106 h 633577"/>
                    <a:gd name="connsiteX28" fmla="*/ 743289 w 858485"/>
                    <a:gd name="connsiteY28" fmla="*/ 257819 h 633577"/>
                    <a:gd name="connsiteX29" fmla="*/ 743289 w 858485"/>
                    <a:gd name="connsiteY29" fmla="*/ 458041 h 633577"/>
                    <a:gd name="connsiteX30" fmla="*/ 518384 w 858485"/>
                    <a:gd name="connsiteY30" fmla="*/ 458041 h 633577"/>
                    <a:gd name="connsiteX31" fmla="*/ 444329 w 858485"/>
                    <a:gd name="connsiteY31" fmla="*/ 490954 h 633577"/>
                    <a:gd name="connsiteX32" fmla="*/ 444329 w 858485"/>
                    <a:gd name="connsiteY32" fmla="*/ 309932 h 633577"/>
                    <a:gd name="connsiteX33" fmla="*/ 430615 w 858485"/>
                    <a:gd name="connsiteY33" fmla="*/ 296218 h 633577"/>
                    <a:gd name="connsiteX34" fmla="*/ 416901 w 858485"/>
                    <a:gd name="connsiteY34" fmla="*/ 309932 h 633577"/>
                    <a:gd name="connsiteX35" fmla="*/ 416901 w 858485"/>
                    <a:gd name="connsiteY35" fmla="*/ 490954 h 633577"/>
                    <a:gd name="connsiteX36" fmla="*/ 342846 w 858485"/>
                    <a:gd name="connsiteY36" fmla="*/ 458041 h 633577"/>
                    <a:gd name="connsiteX37" fmla="*/ 279763 w 858485"/>
                    <a:gd name="connsiteY37" fmla="*/ 458041 h 633577"/>
                    <a:gd name="connsiteX38" fmla="*/ 266049 w 858485"/>
                    <a:gd name="connsiteY38" fmla="*/ 471755 h 633577"/>
                    <a:gd name="connsiteX39" fmla="*/ 279763 w 858485"/>
                    <a:gd name="connsiteY39" fmla="*/ 485469 h 633577"/>
                    <a:gd name="connsiteX40" fmla="*/ 342846 w 858485"/>
                    <a:gd name="connsiteY40" fmla="*/ 485469 h 633577"/>
                    <a:gd name="connsiteX41" fmla="*/ 416901 w 858485"/>
                    <a:gd name="connsiteY41" fmla="*/ 545810 h 633577"/>
                    <a:gd name="connsiteX42" fmla="*/ 123425 w 858485"/>
                    <a:gd name="connsiteY42" fmla="*/ 545810 h 633577"/>
                    <a:gd name="connsiteX43" fmla="*/ 115197 w 858485"/>
                    <a:gd name="connsiteY43" fmla="*/ 537581 h 633577"/>
                    <a:gd name="connsiteX44" fmla="*/ 115197 w 858485"/>
                    <a:gd name="connsiteY44" fmla="*/ 485469 h 633577"/>
                    <a:gd name="connsiteX45" fmla="*/ 216679 w 858485"/>
                    <a:gd name="connsiteY45" fmla="*/ 485469 h 633577"/>
                    <a:gd name="connsiteX46" fmla="*/ 230393 w 858485"/>
                    <a:gd name="connsiteY46" fmla="*/ 471755 h 633577"/>
                    <a:gd name="connsiteX47" fmla="*/ 216679 w 858485"/>
                    <a:gd name="connsiteY47" fmla="*/ 458041 h 633577"/>
                    <a:gd name="connsiteX48" fmla="*/ 115197 w 858485"/>
                    <a:gd name="connsiteY48" fmla="*/ 458041 h 633577"/>
                    <a:gd name="connsiteX49" fmla="*/ 115197 w 858485"/>
                    <a:gd name="connsiteY49" fmla="*/ 27428 h 633577"/>
                    <a:gd name="connsiteX50" fmla="*/ 115197 w 858485"/>
                    <a:gd name="connsiteY50" fmla="*/ 27428 h 633577"/>
                    <a:gd name="connsiteX51" fmla="*/ 227649 w 858485"/>
                    <a:gd name="connsiteY51" fmla="*/ 27428 h 633577"/>
                    <a:gd name="connsiteX52" fmla="*/ 241363 w 858485"/>
                    <a:gd name="connsiteY52" fmla="*/ 13714 h 633577"/>
                    <a:gd name="connsiteX53" fmla="*/ 227649 w 858485"/>
                    <a:gd name="connsiteY53" fmla="*/ 0 h 633577"/>
                    <a:gd name="connsiteX54" fmla="*/ 115197 w 858485"/>
                    <a:gd name="connsiteY54" fmla="*/ 0 h 633577"/>
                    <a:gd name="connsiteX55" fmla="*/ 87769 w 858485"/>
                    <a:gd name="connsiteY55" fmla="*/ 27428 h 633577"/>
                    <a:gd name="connsiteX56" fmla="*/ 87769 w 858485"/>
                    <a:gd name="connsiteY56" fmla="*/ 32913 h 633577"/>
                    <a:gd name="connsiteX57" fmla="*/ 30170 w 858485"/>
                    <a:gd name="connsiteY57" fmla="*/ 32913 h 633577"/>
                    <a:gd name="connsiteX58" fmla="*/ 0 w 858485"/>
                    <a:gd name="connsiteY58" fmla="*/ 63083 h 633577"/>
                    <a:gd name="connsiteX59" fmla="*/ 0 w 858485"/>
                    <a:gd name="connsiteY59" fmla="*/ 548552 h 633577"/>
                    <a:gd name="connsiteX60" fmla="*/ 85025 w 858485"/>
                    <a:gd name="connsiteY60" fmla="*/ 633578 h 633577"/>
                    <a:gd name="connsiteX61" fmla="*/ 773461 w 858485"/>
                    <a:gd name="connsiteY61" fmla="*/ 633578 h 633577"/>
                    <a:gd name="connsiteX62" fmla="*/ 858486 w 858485"/>
                    <a:gd name="connsiteY62" fmla="*/ 548552 h 633577"/>
                    <a:gd name="connsiteX63" fmla="*/ 858486 w 858485"/>
                    <a:gd name="connsiteY63" fmla="*/ 65826 h 633577"/>
                    <a:gd name="connsiteX64" fmla="*/ 828316 w 858485"/>
                    <a:gd name="connsiteY64" fmla="*/ 35656 h 633577"/>
                    <a:gd name="connsiteX65" fmla="*/ 828316 w 858485"/>
                    <a:gd name="connsiteY65" fmla="*/ 35656 h 633577"/>
                    <a:gd name="connsiteX66" fmla="*/ 518384 w 858485"/>
                    <a:gd name="connsiteY66" fmla="*/ 485469 h 633577"/>
                    <a:gd name="connsiteX67" fmla="*/ 743289 w 858485"/>
                    <a:gd name="connsiteY67" fmla="*/ 485469 h 633577"/>
                    <a:gd name="connsiteX68" fmla="*/ 743289 w 858485"/>
                    <a:gd name="connsiteY68" fmla="*/ 537581 h 633577"/>
                    <a:gd name="connsiteX69" fmla="*/ 735061 w 858485"/>
                    <a:gd name="connsiteY69" fmla="*/ 545810 h 633577"/>
                    <a:gd name="connsiteX70" fmla="*/ 444329 w 858485"/>
                    <a:gd name="connsiteY70" fmla="*/ 545810 h 633577"/>
                    <a:gd name="connsiteX71" fmla="*/ 518384 w 858485"/>
                    <a:gd name="connsiteY71" fmla="*/ 485469 h 633577"/>
                    <a:gd name="connsiteX72" fmla="*/ 518384 w 858485"/>
                    <a:gd name="connsiteY72" fmla="*/ 485469 h 633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58485" h="633577">
                      <a:moveTo>
                        <a:pt x="828316" y="35656"/>
                      </a:moveTo>
                      <a:lnTo>
                        <a:pt x="770717" y="35656"/>
                      </a:lnTo>
                      <a:lnTo>
                        <a:pt x="770717" y="30170"/>
                      </a:lnTo>
                      <a:cubicBezTo>
                        <a:pt x="770717" y="13714"/>
                        <a:pt x="757003" y="2743"/>
                        <a:pt x="743289" y="2743"/>
                      </a:cubicBezTo>
                      <a:lnTo>
                        <a:pt x="630837" y="2743"/>
                      </a:lnTo>
                      <a:cubicBezTo>
                        <a:pt x="622609" y="2743"/>
                        <a:pt x="617123" y="8228"/>
                        <a:pt x="617123" y="16456"/>
                      </a:cubicBezTo>
                      <a:cubicBezTo>
                        <a:pt x="617123" y="24685"/>
                        <a:pt x="622609" y="30170"/>
                        <a:pt x="630837" y="30170"/>
                      </a:cubicBezTo>
                      <a:lnTo>
                        <a:pt x="743289" y="30170"/>
                      </a:lnTo>
                      <a:cubicBezTo>
                        <a:pt x="743289" y="30170"/>
                        <a:pt x="743289" y="30170"/>
                        <a:pt x="743289" y="30170"/>
                      </a:cubicBezTo>
                      <a:lnTo>
                        <a:pt x="743289" y="200221"/>
                      </a:lnTo>
                      <a:cubicBezTo>
                        <a:pt x="743289" y="208450"/>
                        <a:pt x="748775" y="213935"/>
                        <a:pt x="757003" y="213935"/>
                      </a:cubicBezTo>
                      <a:cubicBezTo>
                        <a:pt x="765233" y="213935"/>
                        <a:pt x="770717" y="208450"/>
                        <a:pt x="770717" y="200221"/>
                      </a:cubicBezTo>
                      <a:lnTo>
                        <a:pt x="770717" y="65826"/>
                      </a:lnTo>
                      <a:lnTo>
                        <a:pt x="828316" y="65826"/>
                      </a:lnTo>
                      <a:cubicBezTo>
                        <a:pt x="831058" y="65826"/>
                        <a:pt x="831058" y="68569"/>
                        <a:pt x="831058" y="68569"/>
                      </a:cubicBezTo>
                      <a:lnTo>
                        <a:pt x="831058" y="554038"/>
                      </a:lnTo>
                      <a:cubicBezTo>
                        <a:pt x="831058" y="586951"/>
                        <a:pt x="806374" y="611636"/>
                        <a:pt x="773461" y="611636"/>
                      </a:cubicBezTo>
                      <a:lnTo>
                        <a:pt x="85025" y="611636"/>
                      </a:lnTo>
                      <a:cubicBezTo>
                        <a:pt x="52113" y="611636"/>
                        <a:pt x="27428" y="586951"/>
                        <a:pt x="27428" y="554038"/>
                      </a:cubicBezTo>
                      <a:lnTo>
                        <a:pt x="27428" y="65826"/>
                      </a:lnTo>
                      <a:cubicBezTo>
                        <a:pt x="27428" y="63083"/>
                        <a:pt x="30170" y="63083"/>
                        <a:pt x="30170" y="63083"/>
                      </a:cubicBezTo>
                      <a:lnTo>
                        <a:pt x="87769" y="63083"/>
                      </a:lnTo>
                      <a:lnTo>
                        <a:pt x="87769" y="540324"/>
                      </a:lnTo>
                      <a:cubicBezTo>
                        <a:pt x="87769" y="559523"/>
                        <a:pt x="104225" y="575980"/>
                        <a:pt x="123425" y="575980"/>
                      </a:cubicBezTo>
                      <a:lnTo>
                        <a:pt x="735061" y="575980"/>
                      </a:lnTo>
                      <a:cubicBezTo>
                        <a:pt x="754261" y="575980"/>
                        <a:pt x="770717" y="559523"/>
                        <a:pt x="770717" y="540324"/>
                      </a:cubicBezTo>
                      <a:lnTo>
                        <a:pt x="770717" y="257819"/>
                      </a:lnTo>
                      <a:cubicBezTo>
                        <a:pt x="770717" y="249591"/>
                        <a:pt x="765233" y="244106"/>
                        <a:pt x="757003" y="244106"/>
                      </a:cubicBezTo>
                      <a:cubicBezTo>
                        <a:pt x="748775" y="244106"/>
                        <a:pt x="743289" y="249591"/>
                        <a:pt x="743289" y="257819"/>
                      </a:cubicBezTo>
                      <a:lnTo>
                        <a:pt x="743289" y="458041"/>
                      </a:lnTo>
                      <a:lnTo>
                        <a:pt x="518384" y="458041"/>
                      </a:lnTo>
                      <a:cubicBezTo>
                        <a:pt x="488212" y="458041"/>
                        <a:pt x="463528" y="469012"/>
                        <a:pt x="444329" y="490954"/>
                      </a:cubicBezTo>
                      <a:lnTo>
                        <a:pt x="444329" y="309932"/>
                      </a:lnTo>
                      <a:cubicBezTo>
                        <a:pt x="444329" y="301704"/>
                        <a:pt x="438843" y="296218"/>
                        <a:pt x="430615" y="296218"/>
                      </a:cubicBezTo>
                      <a:cubicBezTo>
                        <a:pt x="422387" y="296218"/>
                        <a:pt x="416901" y="301704"/>
                        <a:pt x="416901" y="309932"/>
                      </a:cubicBezTo>
                      <a:lnTo>
                        <a:pt x="416901" y="490954"/>
                      </a:lnTo>
                      <a:cubicBezTo>
                        <a:pt x="397701" y="471755"/>
                        <a:pt x="373016" y="458041"/>
                        <a:pt x="342846" y="458041"/>
                      </a:cubicBezTo>
                      <a:lnTo>
                        <a:pt x="279763" y="458041"/>
                      </a:lnTo>
                      <a:cubicBezTo>
                        <a:pt x="271535" y="458041"/>
                        <a:pt x="266049" y="463527"/>
                        <a:pt x="266049" y="471755"/>
                      </a:cubicBezTo>
                      <a:cubicBezTo>
                        <a:pt x="266049" y="479983"/>
                        <a:pt x="271535" y="485469"/>
                        <a:pt x="279763" y="485469"/>
                      </a:cubicBezTo>
                      <a:lnTo>
                        <a:pt x="342846" y="485469"/>
                      </a:lnTo>
                      <a:cubicBezTo>
                        <a:pt x="378502" y="485469"/>
                        <a:pt x="408673" y="512896"/>
                        <a:pt x="416901" y="545810"/>
                      </a:cubicBezTo>
                      <a:lnTo>
                        <a:pt x="123425" y="545810"/>
                      </a:lnTo>
                      <a:cubicBezTo>
                        <a:pt x="117939" y="545810"/>
                        <a:pt x="115197" y="543067"/>
                        <a:pt x="115197" y="537581"/>
                      </a:cubicBezTo>
                      <a:lnTo>
                        <a:pt x="115197" y="485469"/>
                      </a:lnTo>
                      <a:lnTo>
                        <a:pt x="216679" y="485469"/>
                      </a:lnTo>
                      <a:cubicBezTo>
                        <a:pt x="224907" y="485469"/>
                        <a:pt x="230393" y="479983"/>
                        <a:pt x="230393" y="471755"/>
                      </a:cubicBezTo>
                      <a:cubicBezTo>
                        <a:pt x="230393" y="463527"/>
                        <a:pt x="224907" y="458041"/>
                        <a:pt x="216679" y="458041"/>
                      </a:cubicBezTo>
                      <a:lnTo>
                        <a:pt x="115197" y="458041"/>
                      </a:lnTo>
                      <a:lnTo>
                        <a:pt x="115197" y="27428"/>
                      </a:lnTo>
                      <a:cubicBezTo>
                        <a:pt x="115197" y="27428"/>
                        <a:pt x="115197" y="27428"/>
                        <a:pt x="115197" y="27428"/>
                      </a:cubicBezTo>
                      <a:lnTo>
                        <a:pt x="227649" y="27428"/>
                      </a:lnTo>
                      <a:cubicBezTo>
                        <a:pt x="235877" y="27428"/>
                        <a:pt x="241363" y="21942"/>
                        <a:pt x="241363" y="13714"/>
                      </a:cubicBezTo>
                      <a:cubicBezTo>
                        <a:pt x="241363" y="5485"/>
                        <a:pt x="235877" y="0"/>
                        <a:pt x="227649" y="0"/>
                      </a:cubicBezTo>
                      <a:lnTo>
                        <a:pt x="115197" y="0"/>
                      </a:lnTo>
                      <a:cubicBezTo>
                        <a:pt x="98739" y="0"/>
                        <a:pt x="87769" y="13714"/>
                        <a:pt x="87769" y="27428"/>
                      </a:cubicBezTo>
                      <a:lnTo>
                        <a:pt x="87769" y="32913"/>
                      </a:lnTo>
                      <a:lnTo>
                        <a:pt x="30170" y="32913"/>
                      </a:lnTo>
                      <a:cubicBezTo>
                        <a:pt x="13714" y="32913"/>
                        <a:pt x="0" y="46627"/>
                        <a:pt x="0" y="63083"/>
                      </a:cubicBezTo>
                      <a:lnTo>
                        <a:pt x="0" y="548552"/>
                      </a:lnTo>
                      <a:cubicBezTo>
                        <a:pt x="0" y="595179"/>
                        <a:pt x="38399" y="633578"/>
                        <a:pt x="85025" y="633578"/>
                      </a:cubicBezTo>
                      <a:lnTo>
                        <a:pt x="773461" y="633578"/>
                      </a:lnTo>
                      <a:cubicBezTo>
                        <a:pt x="820088" y="633578"/>
                        <a:pt x="858486" y="595179"/>
                        <a:pt x="858486" y="548552"/>
                      </a:cubicBezTo>
                      <a:lnTo>
                        <a:pt x="858486" y="65826"/>
                      </a:lnTo>
                      <a:cubicBezTo>
                        <a:pt x="858486" y="49369"/>
                        <a:pt x="844772" y="35656"/>
                        <a:pt x="828316" y="35656"/>
                      </a:cubicBezTo>
                      <a:lnTo>
                        <a:pt x="828316" y="35656"/>
                      </a:lnTo>
                      <a:close/>
                      <a:moveTo>
                        <a:pt x="518384" y="485469"/>
                      </a:moveTo>
                      <a:lnTo>
                        <a:pt x="743289" y="485469"/>
                      </a:lnTo>
                      <a:lnTo>
                        <a:pt x="743289" y="537581"/>
                      </a:lnTo>
                      <a:cubicBezTo>
                        <a:pt x="743289" y="543067"/>
                        <a:pt x="740547" y="545810"/>
                        <a:pt x="735061" y="545810"/>
                      </a:cubicBezTo>
                      <a:lnTo>
                        <a:pt x="444329" y="545810"/>
                      </a:lnTo>
                      <a:cubicBezTo>
                        <a:pt x="452557" y="512896"/>
                        <a:pt x="482726" y="485469"/>
                        <a:pt x="518384" y="485469"/>
                      </a:cubicBezTo>
                      <a:lnTo>
                        <a:pt x="518384" y="485469"/>
                      </a:lnTo>
                      <a:close/>
                    </a:path>
                  </a:pathLst>
                </a:custGeom>
                <a:grpFill/>
                <a:ln w="27426" cap="flat">
                  <a:noFill/>
                  <a:prstDash val="solid"/>
                  <a:miter/>
                </a:ln>
              </p:spPr>
              <p:txBody>
                <a:bodyPr rtlCol="0" anchor="ctr"/>
                <a:lstStyle/>
                <a:p>
                  <a:pPr algn="l" rtl="0"/>
                  <a:endParaRPr lang="en-US"/>
                </a:p>
              </p:txBody>
            </p:sp>
            <p:sp>
              <p:nvSpPr>
                <p:cNvPr id="362" name="Freeform 361">
                  <a:extLst>
                    <a:ext uri="{FF2B5EF4-FFF2-40B4-BE49-F238E27FC236}">
                      <a16:creationId xmlns:a16="http://schemas.microsoft.com/office/drawing/2014/main" id="{F51E2D18-922A-FB0E-A0DB-D09F81DA3896}"/>
                    </a:ext>
                  </a:extLst>
                </p:cNvPr>
                <p:cNvSpPr/>
                <p:nvPr/>
              </p:nvSpPr>
              <p:spPr>
                <a:xfrm>
                  <a:off x="3043831" y="3683011"/>
                  <a:ext cx="398414" cy="562266"/>
                </a:xfrm>
                <a:custGeom>
                  <a:avLst/>
                  <a:gdLst>
                    <a:gd name="connsiteX0" fmla="*/ 11685 w 398414"/>
                    <a:gd name="connsiteY0" fmla="*/ 200221 h 562266"/>
                    <a:gd name="connsiteX1" fmla="*/ 28141 w 398414"/>
                    <a:gd name="connsiteY1" fmla="*/ 186508 h 562266"/>
                    <a:gd name="connsiteX2" fmla="*/ 82996 w 398414"/>
                    <a:gd name="connsiteY2" fmla="*/ 76797 h 562266"/>
                    <a:gd name="connsiteX3" fmla="*/ 198193 w 398414"/>
                    <a:gd name="connsiteY3" fmla="*/ 32913 h 562266"/>
                    <a:gd name="connsiteX4" fmla="*/ 368245 w 398414"/>
                    <a:gd name="connsiteY4" fmla="*/ 202964 h 562266"/>
                    <a:gd name="connsiteX5" fmla="*/ 338073 w 398414"/>
                    <a:gd name="connsiteY5" fmla="*/ 301704 h 562266"/>
                    <a:gd name="connsiteX6" fmla="*/ 338073 w 398414"/>
                    <a:gd name="connsiteY6" fmla="*/ 301704 h 562266"/>
                    <a:gd name="connsiteX7" fmla="*/ 250304 w 398414"/>
                    <a:gd name="connsiteY7" fmla="*/ 441584 h 562266"/>
                    <a:gd name="connsiteX8" fmla="*/ 247562 w 398414"/>
                    <a:gd name="connsiteY8" fmla="*/ 449813 h 562266"/>
                    <a:gd name="connsiteX9" fmla="*/ 247562 w 398414"/>
                    <a:gd name="connsiteY9" fmla="*/ 469012 h 562266"/>
                    <a:gd name="connsiteX10" fmla="*/ 242076 w 398414"/>
                    <a:gd name="connsiteY10" fmla="*/ 474498 h 562266"/>
                    <a:gd name="connsiteX11" fmla="*/ 242076 w 398414"/>
                    <a:gd name="connsiteY11" fmla="*/ 474498 h 562266"/>
                    <a:gd name="connsiteX12" fmla="*/ 250304 w 398414"/>
                    <a:gd name="connsiteY12" fmla="*/ 323646 h 562266"/>
                    <a:gd name="connsiteX13" fmla="*/ 266762 w 398414"/>
                    <a:gd name="connsiteY13" fmla="*/ 323646 h 562266"/>
                    <a:gd name="connsiteX14" fmla="*/ 307904 w 398414"/>
                    <a:gd name="connsiteY14" fmla="*/ 282504 h 562266"/>
                    <a:gd name="connsiteX15" fmla="*/ 307904 w 398414"/>
                    <a:gd name="connsiteY15" fmla="*/ 279762 h 562266"/>
                    <a:gd name="connsiteX16" fmla="*/ 266762 w 398414"/>
                    <a:gd name="connsiteY16" fmla="*/ 238620 h 562266"/>
                    <a:gd name="connsiteX17" fmla="*/ 225621 w 398414"/>
                    <a:gd name="connsiteY17" fmla="*/ 277019 h 562266"/>
                    <a:gd name="connsiteX18" fmla="*/ 225621 w 398414"/>
                    <a:gd name="connsiteY18" fmla="*/ 293475 h 562266"/>
                    <a:gd name="connsiteX19" fmla="*/ 176251 w 398414"/>
                    <a:gd name="connsiteY19" fmla="*/ 293475 h 562266"/>
                    <a:gd name="connsiteX20" fmla="*/ 176251 w 398414"/>
                    <a:gd name="connsiteY20" fmla="*/ 277019 h 562266"/>
                    <a:gd name="connsiteX21" fmla="*/ 135110 w 398414"/>
                    <a:gd name="connsiteY21" fmla="*/ 238620 h 562266"/>
                    <a:gd name="connsiteX22" fmla="*/ 93968 w 398414"/>
                    <a:gd name="connsiteY22" fmla="*/ 279762 h 562266"/>
                    <a:gd name="connsiteX23" fmla="*/ 93968 w 398414"/>
                    <a:gd name="connsiteY23" fmla="*/ 282504 h 562266"/>
                    <a:gd name="connsiteX24" fmla="*/ 135110 w 398414"/>
                    <a:gd name="connsiteY24" fmla="*/ 323646 h 562266"/>
                    <a:gd name="connsiteX25" fmla="*/ 151565 w 398414"/>
                    <a:gd name="connsiteY25" fmla="*/ 323646 h 562266"/>
                    <a:gd name="connsiteX26" fmla="*/ 159793 w 398414"/>
                    <a:gd name="connsiteY26" fmla="*/ 474498 h 562266"/>
                    <a:gd name="connsiteX27" fmla="*/ 154308 w 398414"/>
                    <a:gd name="connsiteY27" fmla="*/ 469012 h 562266"/>
                    <a:gd name="connsiteX28" fmla="*/ 154308 w 398414"/>
                    <a:gd name="connsiteY28" fmla="*/ 449813 h 562266"/>
                    <a:gd name="connsiteX29" fmla="*/ 151565 w 398414"/>
                    <a:gd name="connsiteY29" fmla="*/ 441584 h 562266"/>
                    <a:gd name="connsiteX30" fmla="*/ 63797 w 398414"/>
                    <a:gd name="connsiteY30" fmla="*/ 301704 h 562266"/>
                    <a:gd name="connsiteX31" fmla="*/ 63797 w 398414"/>
                    <a:gd name="connsiteY31" fmla="*/ 301704 h 562266"/>
                    <a:gd name="connsiteX32" fmla="*/ 36369 w 398414"/>
                    <a:gd name="connsiteY32" fmla="*/ 241363 h 562266"/>
                    <a:gd name="connsiteX33" fmla="*/ 19913 w 398414"/>
                    <a:gd name="connsiteY33" fmla="*/ 230392 h 562266"/>
                    <a:gd name="connsiteX34" fmla="*/ 8941 w 398414"/>
                    <a:gd name="connsiteY34" fmla="*/ 246849 h 562266"/>
                    <a:gd name="connsiteX35" fmla="*/ 39113 w 398414"/>
                    <a:gd name="connsiteY35" fmla="*/ 315418 h 562266"/>
                    <a:gd name="connsiteX36" fmla="*/ 126880 w 398414"/>
                    <a:gd name="connsiteY36" fmla="*/ 449813 h 562266"/>
                    <a:gd name="connsiteX37" fmla="*/ 126880 w 398414"/>
                    <a:gd name="connsiteY37" fmla="*/ 463527 h 562266"/>
                    <a:gd name="connsiteX38" fmla="*/ 146080 w 398414"/>
                    <a:gd name="connsiteY38" fmla="*/ 493697 h 562266"/>
                    <a:gd name="connsiteX39" fmla="*/ 146080 w 398414"/>
                    <a:gd name="connsiteY39" fmla="*/ 518382 h 562266"/>
                    <a:gd name="connsiteX40" fmla="*/ 189965 w 398414"/>
                    <a:gd name="connsiteY40" fmla="*/ 562266 h 562266"/>
                    <a:gd name="connsiteX41" fmla="*/ 211907 w 398414"/>
                    <a:gd name="connsiteY41" fmla="*/ 562266 h 562266"/>
                    <a:gd name="connsiteX42" fmla="*/ 255790 w 398414"/>
                    <a:gd name="connsiteY42" fmla="*/ 518382 h 562266"/>
                    <a:gd name="connsiteX43" fmla="*/ 255790 w 398414"/>
                    <a:gd name="connsiteY43" fmla="*/ 493697 h 562266"/>
                    <a:gd name="connsiteX44" fmla="*/ 274990 w 398414"/>
                    <a:gd name="connsiteY44" fmla="*/ 463527 h 562266"/>
                    <a:gd name="connsiteX45" fmla="*/ 274990 w 398414"/>
                    <a:gd name="connsiteY45" fmla="*/ 449813 h 562266"/>
                    <a:gd name="connsiteX46" fmla="*/ 362759 w 398414"/>
                    <a:gd name="connsiteY46" fmla="*/ 315418 h 562266"/>
                    <a:gd name="connsiteX47" fmla="*/ 398415 w 398414"/>
                    <a:gd name="connsiteY47" fmla="*/ 200221 h 562266"/>
                    <a:gd name="connsiteX48" fmla="*/ 198193 w 398414"/>
                    <a:gd name="connsiteY48" fmla="*/ 0 h 562266"/>
                    <a:gd name="connsiteX49" fmla="*/ 63797 w 398414"/>
                    <a:gd name="connsiteY49" fmla="*/ 52112 h 562266"/>
                    <a:gd name="connsiteX50" fmla="*/ 713 w 398414"/>
                    <a:gd name="connsiteY50" fmla="*/ 181022 h 562266"/>
                    <a:gd name="connsiteX51" fmla="*/ 11685 w 398414"/>
                    <a:gd name="connsiteY51" fmla="*/ 200221 h 562266"/>
                    <a:gd name="connsiteX52" fmla="*/ 11685 w 398414"/>
                    <a:gd name="connsiteY52" fmla="*/ 200221 h 562266"/>
                    <a:gd name="connsiteX53" fmla="*/ 250304 w 398414"/>
                    <a:gd name="connsiteY53" fmla="*/ 279762 h 562266"/>
                    <a:gd name="connsiteX54" fmla="*/ 264018 w 398414"/>
                    <a:gd name="connsiteY54" fmla="*/ 266048 h 562266"/>
                    <a:gd name="connsiteX55" fmla="*/ 277732 w 398414"/>
                    <a:gd name="connsiteY55" fmla="*/ 279762 h 562266"/>
                    <a:gd name="connsiteX56" fmla="*/ 277732 w 398414"/>
                    <a:gd name="connsiteY56" fmla="*/ 282504 h 562266"/>
                    <a:gd name="connsiteX57" fmla="*/ 264018 w 398414"/>
                    <a:gd name="connsiteY57" fmla="*/ 296218 h 562266"/>
                    <a:gd name="connsiteX58" fmla="*/ 247562 w 398414"/>
                    <a:gd name="connsiteY58" fmla="*/ 296218 h 562266"/>
                    <a:gd name="connsiteX59" fmla="*/ 250304 w 398414"/>
                    <a:gd name="connsiteY59" fmla="*/ 279762 h 562266"/>
                    <a:gd name="connsiteX60" fmla="*/ 129624 w 398414"/>
                    <a:gd name="connsiteY60" fmla="*/ 293475 h 562266"/>
                    <a:gd name="connsiteX61" fmla="*/ 115910 w 398414"/>
                    <a:gd name="connsiteY61" fmla="*/ 279762 h 562266"/>
                    <a:gd name="connsiteX62" fmla="*/ 115910 w 398414"/>
                    <a:gd name="connsiteY62" fmla="*/ 277019 h 562266"/>
                    <a:gd name="connsiteX63" fmla="*/ 129624 w 398414"/>
                    <a:gd name="connsiteY63" fmla="*/ 263305 h 562266"/>
                    <a:gd name="connsiteX64" fmla="*/ 143338 w 398414"/>
                    <a:gd name="connsiteY64" fmla="*/ 277019 h 562266"/>
                    <a:gd name="connsiteX65" fmla="*/ 143338 w 398414"/>
                    <a:gd name="connsiteY65" fmla="*/ 293475 h 562266"/>
                    <a:gd name="connsiteX66" fmla="*/ 129624 w 398414"/>
                    <a:gd name="connsiteY66" fmla="*/ 293475 h 562266"/>
                    <a:gd name="connsiteX67" fmla="*/ 220135 w 398414"/>
                    <a:gd name="connsiteY67" fmla="*/ 323646 h 562266"/>
                    <a:gd name="connsiteX68" fmla="*/ 211907 w 398414"/>
                    <a:gd name="connsiteY68" fmla="*/ 474498 h 562266"/>
                    <a:gd name="connsiteX69" fmla="*/ 184479 w 398414"/>
                    <a:gd name="connsiteY69" fmla="*/ 474498 h 562266"/>
                    <a:gd name="connsiteX70" fmla="*/ 176251 w 398414"/>
                    <a:gd name="connsiteY70" fmla="*/ 323646 h 562266"/>
                    <a:gd name="connsiteX71" fmla="*/ 220135 w 398414"/>
                    <a:gd name="connsiteY71" fmla="*/ 323646 h 562266"/>
                    <a:gd name="connsiteX72" fmla="*/ 225621 w 398414"/>
                    <a:gd name="connsiteY72" fmla="*/ 521125 h 562266"/>
                    <a:gd name="connsiteX73" fmla="*/ 209163 w 398414"/>
                    <a:gd name="connsiteY73" fmla="*/ 537581 h 562266"/>
                    <a:gd name="connsiteX74" fmla="*/ 187221 w 398414"/>
                    <a:gd name="connsiteY74" fmla="*/ 537581 h 562266"/>
                    <a:gd name="connsiteX75" fmla="*/ 170765 w 398414"/>
                    <a:gd name="connsiteY75" fmla="*/ 521125 h 562266"/>
                    <a:gd name="connsiteX76" fmla="*/ 170765 w 398414"/>
                    <a:gd name="connsiteY76" fmla="*/ 499183 h 562266"/>
                    <a:gd name="connsiteX77" fmla="*/ 225621 w 398414"/>
                    <a:gd name="connsiteY77" fmla="*/ 499183 h 562266"/>
                    <a:gd name="connsiteX78" fmla="*/ 225621 w 398414"/>
                    <a:gd name="connsiteY78" fmla="*/ 521125 h 562266"/>
                    <a:gd name="connsiteX79" fmla="*/ 225621 w 398414"/>
                    <a:gd name="connsiteY79" fmla="*/ 521125 h 56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98414" h="562266">
                      <a:moveTo>
                        <a:pt x="11685" y="200221"/>
                      </a:moveTo>
                      <a:cubicBezTo>
                        <a:pt x="19913" y="200221"/>
                        <a:pt x="25399" y="194736"/>
                        <a:pt x="28141" y="186508"/>
                      </a:cubicBezTo>
                      <a:cubicBezTo>
                        <a:pt x="30883" y="145366"/>
                        <a:pt x="52827" y="104225"/>
                        <a:pt x="82996" y="76797"/>
                      </a:cubicBezTo>
                      <a:cubicBezTo>
                        <a:pt x="115910" y="46627"/>
                        <a:pt x="154308" y="32913"/>
                        <a:pt x="198193" y="32913"/>
                      </a:cubicBezTo>
                      <a:cubicBezTo>
                        <a:pt x="291446" y="32913"/>
                        <a:pt x="368245" y="109710"/>
                        <a:pt x="368245" y="202964"/>
                      </a:cubicBezTo>
                      <a:cubicBezTo>
                        <a:pt x="368245" y="238620"/>
                        <a:pt x="357273" y="271533"/>
                        <a:pt x="338073" y="301704"/>
                      </a:cubicBezTo>
                      <a:cubicBezTo>
                        <a:pt x="338073" y="301704"/>
                        <a:pt x="338073" y="301704"/>
                        <a:pt x="338073" y="301704"/>
                      </a:cubicBezTo>
                      <a:lnTo>
                        <a:pt x="250304" y="441584"/>
                      </a:lnTo>
                      <a:cubicBezTo>
                        <a:pt x="247562" y="444327"/>
                        <a:pt x="247562" y="447070"/>
                        <a:pt x="247562" y="449813"/>
                      </a:cubicBezTo>
                      <a:lnTo>
                        <a:pt x="247562" y="469012"/>
                      </a:lnTo>
                      <a:cubicBezTo>
                        <a:pt x="247562" y="471755"/>
                        <a:pt x="244820" y="474498"/>
                        <a:pt x="242076" y="474498"/>
                      </a:cubicBezTo>
                      <a:lnTo>
                        <a:pt x="242076" y="474498"/>
                      </a:lnTo>
                      <a:lnTo>
                        <a:pt x="250304" y="323646"/>
                      </a:lnTo>
                      <a:lnTo>
                        <a:pt x="266762" y="323646"/>
                      </a:lnTo>
                      <a:cubicBezTo>
                        <a:pt x="288704" y="323646"/>
                        <a:pt x="307904" y="304446"/>
                        <a:pt x="307904" y="282504"/>
                      </a:cubicBezTo>
                      <a:lnTo>
                        <a:pt x="307904" y="279762"/>
                      </a:lnTo>
                      <a:cubicBezTo>
                        <a:pt x="307904" y="257819"/>
                        <a:pt x="288704" y="238620"/>
                        <a:pt x="266762" y="238620"/>
                      </a:cubicBezTo>
                      <a:cubicBezTo>
                        <a:pt x="244820" y="238620"/>
                        <a:pt x="225621" y="255077"/>
                        <a:pt x="225621" y="277019"/>
                      </a:cubicBezTo>
                      <a:lnTo>
                        <a:pt x="225621" y="293475"/>
                      </a:lnTo>
                      <a:lnTo>
                        <a:pt x="176251" y="293475"/>
                      </a:lnTo>
                      <a:lnTo>
                        <a:pt x="176251" y="277019"/>
                      </a:lnTo>
                      <a:cubicBezTo>
                        <a:pt x="176251" y="255077"/>
                        <a:pt x="157051" y="238620"/>
                        <a:pt x="135110" y="238620"/>
                      </a:cubicBezTo>
                      <a:cubicBezTo>
                        <a:pt x="113166" y="238620"/>
                        <a:pt x="93968" y="257819"/>
                        <a:pt x="93968" y="279762"/>
                      </a:cubicBezTo>
                      <a:lnTo>
                        <a:pt x="93968" y="282504"/>
                      </a:lnTo>
                      <a:cubicBezTo>
                        <a:pt x="93968" y="304446"/>
                        <a:pt x="113166" y="323646"/>
                        <a:pt x="135110" y="323646"/>
                      </a:cubicBezTo>
                      <a:lnTo>
                        <a:pt x="151565" y="323646"/>
                      </a:lnTo>
                      <a:lnTo>
                        <a:pt x="159793" y="474498"/>
                      </a:lnTo>
                      <a:cubicBezTo>
                        <a:pt x="157051" y="474498"/>
                        <a:pt x="154308" y="471755"/>
                        <a:pt x="154308" y="469012"/>
                      </a:cubicBezTo>
                      <a:lnTo>
                        <a:pt x="154308" y="449813"/>
                      </a:lnTo>
                      <a:cubicBezTo>
                        <a:pt x="154308" y="447070"/>
                        <a:pt x="154308" y="444327"/>
                        <a:pt x="151565" y="441584"/>
                      </a:cubicBezTo>
                      <a:lnTo>
                        <a:pt x="63797" y="301704"/>
                      </a:lnTo>
                      <a:cubicBezTo>
                        <a:pt x="63797" y="301704"/>
                        <a:pt x="63797" y="301704"/>
                        <a:pt x="63797" y="301704"/>
                      </a:cubicBezTo>
                      <a:cubicBezTo>
                        <a:pt x="50083" y="282504"/>
                        <a:pt x="41855" y="263305"/>
                        <a:pt x="36369" y="241363"/>
                      </a:cubicBezTo>
                      <a:cubicBezTo>
                        <a:pt x="33627" y="233135"/>
                        <a:pt x="28141" y="230392"/>
                        <a:pt x="19913" y="230392"/>
                      </a:cubicBezTo>
                      <a:cubicBezTo>
                        <a:pt x="11685" y="233135"/>
                        <a:pt x="8941" y="238620"/>
                        <a:pt x="8941" y="246849"/>
                      </a:cubicBezTo>
                      <a:cubicBezTo>
                        <a:pt x="14427" y="271533"/>
                        <a:pt x="25399" y="296218"/>
                        <a:pt x="39113" y="315418"/>
                      </a:cubicBezTo>
                      <a:lnTo>
                        <a:pt x="126880" y="449813"/>
                      </a:lnTo>
                      <a:lnTo>
                        <a:pt x="126880" y="463527"/>
                      </a:lnTo>
                      <a:cubicBezTo>
                        <a:pt x="126880" y="477240"/>
                        <a:pt x="135110" y="490954"/>
                        <a:pt x="146080" y="493697"/>
                      </a:cubicBezTo>
                      <a:lnTo>
                        <a:pt x="146080" y="518382"/>
                      </a:lnTo>
                      <a:cubicBezTo>
                        <a:pt x="146080" y="543067"/>
                        <a:pt x="165279" y="562266"/>
                        <a:pt x="189965" y="562266"/>
                      </a:cubicBezTo>
                      <a:lnTo>
                        <a:pt x="211907" y="562266"/>
                      </a:lnTo>
                      <a:cubicBezTo>
                        <a:pt x="236591" y="562266"/>
                        <a:pt x="255790" y="543067"/>
                        <a:pt x="255790" y="518382"/>
                      </a:cubicBezTo>
                      <a:lnTo>
                        <a:pt x="255790" y="493697"/>
                      </a:lnTo>
                      <a:cubicBezTo>
                        <a:pt x="266762" y="488211"/>
                        <a:pt x="274990" y="477240"/>
                        <a:pt x="274990" y="463527"/>
                      </a:cubicBezTo>
                      <a:lnTo>
                        <a:pt x="274990" y="449813"/>
                      </a:lnTo>
                      <a:lnTo>
                        <a:pt x="362759" y="315418"/>
                      </a:lnTo>
                      <a:cubicBezTo>
                        <a:pt x="387443" y="282504"/>
                        <a:pt x="398415" y="241363"/>
                        <a:pt x="398415" y="200221"/>
                      </a:cubicBezTo>
                      <a:cubicBezTo>
                        <a:pt x="398415" y="90511"/>
                        <a:pt x="307904" y="0"/>
                        <a:pt x="198193" y="0"/>
                      </a:cubicBezTo>
                      <a:cubicBezTo>
                        <a:pt x="148823" y="0"/>
                        <a:pt x="99452" y="19199"/>
                        <a:pt x="63797" y="52112"/>
                      </a:cubicBezTo>
                      <a:cubicBezTo>
                        <a:pt x="28141" y="85025"/>
                        <a:pt x="3455" y="131652"/>
                        <a:pt x="713" y="181022"/>
                      </a:cubicBezTo>
                      <a:cubicBezTo>
                        <a:pt x="-2029" y="191993"/>
                        <a:pt x="3455" y="197479"/>
                        <a:pt x="11685" y="200221"/>
                      </a:cubicBezTo>
                      <a:lnTo>
                        <a:pt x="11685" y="200221"/>
                      </a:lnTo>
                      <a:close/>
                      <a:moveTo>
                        <a:pt x="250304" y="279762"/>
                      </a:moveTo>
                      <a:cubicBezTo>
                        <a:pt x="250304" y="271533"/>
                        <a:pt x="255790" y="266048"/>
                        <a:pt x="264018" y="266048"/>
                      </a:cubicBezTo>
                      <a:cubicBezTo>
                        <a:pt x="272248" y="266048"/>
                        <a:pt x="277732" y="271533"/>
                        <a:pt x="277732" y="279762"/>
                      </a:cubicBezTo>
                      <a:lnTo>
                        <a:pt x="277732" y="282504"/>
                      </a:lnTo>
                      <a:cubicBezTo>
                        <a:pt x="277732" y="290733"/>
                        <a:pt x="272248" y="296218"/>
                        <a:pt x="264018" y="296218"/>
                      </a:cubicBezTo>
                      <a:lnTo>
                        <a:pt x="247562" y="296218"/>
                      </a:lnTo>
                      <a:lnTo>
                        <a:pt x="250304" y="279762"/>
                      </a:lnTo>
                      <a:close/>
                      <a:moveTo>
                        <a:pt x="129624" y="293475"/>
                      </a:moveTo>
                      <a:cubicBezTo>
                        <a:pt x="121396" y="293475"/>
                        <a:pt x="115910" y="287990"/>
                        <a:pt x="115910" y="279762"/>
                      </a:cubicBezTo>
                      <a:lnTo>
                        <a:pt x="115910" y="277019"/>
                      </a:lnTo>
                      <a:cubicBezTo>
                        <a:pt x="115910" y="268790"/>
                        <a:pt x="121396" y="263305"/>
                        <a:pt x="129624" y="263305"/>
                      </a:cubicBezTo>
                      <a:cubicBezTo>
                        <a:pt x="137852" y="263305"/>
                        <a:pt x="143338" y="268790"/>
                        <a:pt x="143338" y="277019"/>
                      </a:cubicBezTo>
                      <a:lnTo>
                        <a:pt x="143338" y="293475"/>
                      </a:lnTo>
                      <a:lnTo>
                        <a:pt x="129624" y="293475"/>
                      </a:lnTo>
                      <a:close/>
                      <a:moveTo>
                        <a:pt x="220135" y="323646"/>
                      </a:moveTo>
                      <a:lnTo>
                        <a:pt x="211907" y="474498"/>
                      </a:lnTo>
                      <a:lnTo>
                        <a:pt x="184479" y="474498"/>
                      </a:lnTo>
                      <a:lnTo>
                        <a:pt x="176251" y="323646"/>
                      </a:lnTo>
                      <a:lnTo>
                        <a:pt x="220135" y="323646"/>
                      </a:lnTo>
                      <a:close/>
                      <a:moveTo>
                        <a:pt x="225621" y="521125"/>
                      </a:moveTo>
                      <a:cubicBezTo>
                        <a:pt x="225621" y="529353"/>
                        <a:pt x="217393" y="537581"/>
                        <a:pt x="209163" y="537581"/>
                      </a:cubicBezTo>
                      <a:lnTo>
                        <a:pt x="187221" y="537581"/>
                      </a:lnTo>
                      <a:cubicBezTo>
                        <a:pt x="178993" y="537581"/>
                        <a:pt x="170765" y="529353"/>
                        <a:pt x="170765" y="521125"/>
                      </a:cubicBezTo>
                      <a:lnTo>
                        <a:pt x="170765" y="499183"/>
                      </a:lnTo>
                      <a:lnTo>
                        <a:pt x="225621" y="499183"/>
                      </a:lnTo>
                      <a:lnTo>
                        <a:pt x="225621" y="521125"/>
                      </a:lnTo>
                      <a:lnTo>
                        <a:pt x="225621" y="521125"/>
                      </a:lnTo>
                      <a:close/>
                    </a:path>
                  </a:pathLst>
                </a:custGeom>
                <a:grpFill/>
                <a:ln w="27426" cap="flat">
                  <a:noFill/>
                  <a:prstDash val="solid"/>
                  <a:miter/>
                </a:ln>
              </p:spPr>
              <p:txBody>
                <a:bodyPr rtlCol="0" anchor="ctr"/>
                <a:lstStyle/>
                <a:p>
                  <a:pPr algn="l" rtl="0"/>
                  <a:endParaRPr lang="en-US"/>
                </a:p>
              </p:txBody>
            </p:sp>
            <p:sp>
              <p:nvSpPr>
                <p:cNvPr id="363" name="Freeform 362">
                  <a:extLst>
                    <a:ext uri="{FF2B5EF4-FFF2-40B4-BE49-F238E27FC236}">
                      <a16:creationId xmlns:a16="http://schemas.microsoft.com/office/drawing/2014/main" id="{742CCF50-F413-BED1-732A-958A05E90A8C}"/>
                    </a:ext>
                  </a:extLst>
                </p:cNvPr>
                <p:cNvSpPr/>
                <p:nvPr/>
              </p:nvSpPr>
              <p:spPr>
                <a:xfrm>
                  <a:off x="3471045" y="3739238"/>
                  <a:ext cx="57598" cy="53483"/>
                </a:xfrm>
                <a:custGeom>
                  <a:avLst/>
                  <a:gdLst>
                    <a:gd name="connsiteX0" fmla="*/ 15084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4 w 57598"/>
                    <a:gd name="connsiteY4" fmla="*/ 4114 h 53483"/>
                    <a:gd name="connsiteX5" fmla="*/ 4114 w 57598"/>
                    <a:gd name="connsiteY5" fmla="*/ 31542 h 53483"/>
                    <a:gd name="connsiteX6" fmla="*/ 4114 w 57598"/>
                    <a:gd name="connsiteY6" fmla="*/ 50741 h 53483"/>
                    <a:gd name="connsiteX7" fmla="*/ 15084 w 57598"/>
                    <a:gd name="connsiteY7" fmla="*/ 53484 h 53483"/>
                    <a:gd name="connsiteX8" fmla="*/ 15084 w 57598"/>
                    <a:gd name="connsiteY8"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3483">
                      <a:moveTo>
                        <a:pt x="15084" y="53484"/>
                      </a:moveTo>
                      <a:cubicBezTo>
                        <a:pt x="17828" y="53484"/>
                        <a:pt x="20570" y="53484"/>
                        <a:pt x="23314" y="50741"/>
                      </a:cubicBezTo>
                      <a:lnTo>
                        <a:pt x="53484" y="23313"/>
                      </a:lnTo>
                      <a:cubicBezTo>
                        <a:pt x="58970" y="17828"/>
                        <a:pt x="58970" y="9600"/>
                        <a:pt x="53484" y="4114"/>
                      </a:cubicBezTo>
                      <a:cubicBezTo>
                        <a:pt x="47998" y="-1371"/>
                        <a:pt x="39770" y="-1371"/>
                        <a:pt x="34284" y="4114"/>
                      </a:cubicBezTo>
                      <a:lnTo>
                        <a:pt x="4114" y="31542"/>
                      </a:lnTo>
                      <a:cubicBezTo>
                        <a:pt x="-1371" y="37027"/>
                        <a:pt x="-1371" y="45256"/>
                        <a:pt x="4114" y="50741"/>
                      </a:cubicBezTo>
                      <a:cubicBezTo>
                        <a:pt x="6857" y="50741"/>
                        <a:pt x="9600" y="53484"/>
                        <a:pt x="15084" y="53484"/>
                      </a:cubicBezTo>
                      <a:lnTo>
                        <a:pt x="15084" y="53484"/>
                      </a:lnTo>
                      <a:close/>
                    </a:path>
                  </a:pathLst>
                </a:custGeom>
                <a:grpFill/>
                <a:ln w="27426" cap="flat">
                  <a:noFill/>
                  <a:prstDash val="solid"/>
                  <a:miter/>
                </a:ln>
              </p:spPr>
              <p:txBody>
                <a:bodyPr rtlCol="0" anchor="ctr"/>
                <a:lstStyle/>
                <a:p>
                  <a:pPr algn="l" rtl="0"/>
                  <a:endParaRPr lang="en-US"/>
                </a:p>
              </p:txBody>
            </p:sp>
            <p:sp>
              <p:nvSpPr>
                <p:cNvPr id="364" name="Freeform 363">
                  <a:extLst>
                    <a:ext uri="{FF2B5EF4-FFF2-40B4-BE49-F238E27FC236}">
                      <a16:creationId xmlns:a16="http://schemas.microsoft.com/office/drawing/2014/main" id="{4446AF75-70A0-4944-9EAA-6E64712355FC}"/>
                    </a:ext>
                  </a:extLst>
                </p:cNvPr>
                <p:cNvSpPr/>
                <p:nvPr/>
              </p:nvSpPr>
              <p:spPr>
                <a:xfrm>
                  <a:off x="3471045" y="3851691"/>
                  <a:ext cx="57598" cy="56226"/>
                </a:xfrm>
                <a:custGeom>
                  <a:avLst/>
                  <a:gdLst>
                    <a:gd name="connsiteX0" fmla="*/ 4114 w 57598"/>
                    <a:gd name="connsiteY0" fmla="*/ 26056 h 56226"/>
                    <a:gd name="connsiteX1" fmla="*/ 34284 w 57598"/>
                    <a:gd name="connsiteY1" fmla="*/ 53484 h 56226"/>
                    <a:gd name="connsiteX2" fmla="*/ 42512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 name="connsiteX8" fmla="*/ 4114 w 57598"/>
                    <a:gd name="connsiteY8"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6226">
                      <a:moveTo>
                        <a:pt x="4114" y="26056"/>
                      </a:moveTo>
                      <a:lnTo>
                        <a:pt x="34284" y="53484"/>
                      </a:lnTo>
                      <a:cubicBezTo>
                        <a:pt x="37028" y="56227"/>
                        <a:pt x="39770" y="56227"/>
                        <a:pt x="42512" y="56227"/>
                      </a:cubicBezTo>
                      <a:cubicBezTo>
                        <a:pt x="45256" y="56227"/>
                        <a:pt x="50742" y="53484"/>
                        <a:pt x="53484" y="50741"/>
                      </a:cubicBezTo>
                      <a:cubicBezTo>
                        <a:pt x="58970" y="45256"/>
                        <a:pt x="58970" y="37028"/>
                        <a:pt x="53484" y="31542"/>
                      </a:cubicBezTo>
                      <a:lnTo>
                        <a:pt x="23314" y="4114"/>
                      </a:lnTo>
                      <a:cubicBezTo>
                        <a:pt x="17828" y="-1371"/>
                        <a:pt x="9600" y="-1371"/>
                        <a:pt x="4114" y="4114"/>
                      </a:cubicBezTo>
                      <a:cubicBezTo>
                        <a:pt x="-1371" y="12342"/>
                        <a:pt x="-1371" y="20571"/>
                        <a:pt x="4114" y="26056"/>
                      </a:cubicBezTo>
                      <a:lnTo>
                        <a:pt x="4114" y="26056"/>
                      </a:lnTo>
                      <a:close/>
                    </a:path>
                  </a:pathLst>
                </a:custGeom>
                <a:grpFill/>
                <a:ln w="27426" cap="flat">
                  <a:noFill/>
                  <a:prstDash val="solid"/>
                  <a:miter/>
                </a:ln>
              </p:spPr>
              <p:txBody>
                <a:bodyPr rtlCol="0" anchor="ctr"/>
                <a:lstStyle/>
                <a:p>
                  <a:pPr algn="l" rtl="0"/>
                  <a:endParaRPr lang="en-US"/>
                </a:p>
              </p:txBody>
            </p:sp>
            <p:sp>
              <p:nvSpPr>
                <p:cNvPr id="365" name="Freeform 364">
                  <a:extLst>
                    <a:ext uri="{FF2B5EF4-FFF2-40B4-BE49-F238E27FC236}">
                      <a16:creationId xmlns:a16="http://schemas.microsoft.com/office/drawing/2014/main" id="{455EAA4C-0CF5-FFF3-9AC6-C1A8990829CE}"/>
                    </a:ext>
                  </a:extLst>
                </p:cNvPr>
                <p:cNvSpPr/>
                <p:nvPr/>
              </p:nvSpPr>
              <p:spPr>
                <a:xfrm>
                  <a:off x="2952661" y="3736495"/>
                  <a:ext cx="57598" cy="56226"/>
                </a:xfrm>
                <a:custGeom>
                  <a:avLst/>
                  <a:gdLst>
                    <a:gd name="connsiteX0" fmla="*/ 4114 w 57598"/>
                    <a:gd name="connsiteY0" fmla="*/ 26056 h 56226"/>
                    <a:gd name="connsiteX1" fmla="*/ 34286 w 57598"/>
                    <a:gd name="connsiteY1" fmla="*/ 53484 h 56226"/>
                    <a:gd name="connsiteX2" fmla="*/ 42514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6226">
                      <a:moveTo>
                        <a:pt x="4114" y="26056"/>
                      </a:moveTo>
                      <a:lnTo>
                        <a:pt x="34286" y="53484"/>
                      </a:lnTo>
                      <a:cubicBezTo>
                        <a:pt x="37028" y="56227"/>
                        <a:pt x="39770" y="56227"/>
                        <a:pt x="42514" y="56227"/>
                      </a:cubicBezTo>
                      <a:cubicBezTo>
                        <a:pt x="45256" y="56227"/>
                        <a:pt x="50742" y="53484"/>
                        <a:pt x="53484" y="50741"/>
                      </a:cubicBezTo>
                      <a:cubicBezTo>
                        <a:pt x="58970" y="45256"/>
                        <a:pt x="58970" y="37027"/>
                        <a:pt x="53484" y="31542"/>
                      </a:cubicBezTo>
                      <a:lnTo>
                        <a:pt x="23314" y="4114"/>
                      </a:lnTo>
                      <a:cubicBezTo>
                        <a:pt x="17828" y="-1371"/>
                        <a:pt x="9600" y="-1371"/>
                        <a:pt x="4114" y="4114"/>
                      </a:cubicBezTo>
                      <a:cubicBezTo>
                        <a:pt x="-1371" y="12342"/>
                        <a:pt x="-1371" y="20571"/>
                        <a:pt x="4114" y="26056"/>
                      </a:cubicBezTo>
                      <a:close/>
                    </a:path>
                  </a:pathLst>
                </a:custGeom>
                <a:grpFill/>
                <a:ln w="27426" cap="flat">
                  <a:noFill/>
                  <a:prstDash val="solid"/>
                  <a:miter/>
                </a:ln>
              </p:spPr>
              <p:txBody>
                <a:bodyPr rtlCol="0" anchor="ctr"/>
                <a:lstStyle/>
                <a:p>
                  <a:pPr algn="l" rtl="0"/>
                  <a:endParaRPr lang="en-US"/>
                </a:p>
              </p:txBody>
            </p:sp>
            <p:sp>
              <p:nvSpPr>
                <p:cNvPr id="366" name="Freeform 365">
                  <a:extLst>
                    <a:ext uri="{FF2B5EF4-FFF2-40B4-BE49-F238E27FC236}">
                      <a16:creationId xmlns:a16="http://schemas.microsoft.com/office/drawing/2014/main" id="{68A10029-DFD3-7230-841B-4760597A2B9D}"/>
                    </a:ext>
                  </a:extLst>
                </p:cNvPr>
                <p:cNvSpPr/>
                <p:nvPr/>
              </p:nvSpPr>
              <p:spPr>
                <a:xfrm>
                  <a:off x="2952661" y="3854434"/>
                  <a:ext cx="57598" cy="53483"/>
                </a:xfrm>
                <a:custGeom>
                  <a:avLst/>
                  <a:gdLst>
                    <a:gd name="connsiteX0" fmla="*/ 15086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6 w 57598"/>
                    <a:gd name="connsiteY4" fmla="*/ 4114 h 53483"/>
                    <a:gd name="connsiteX5" fmla="*/ 4114 w 57598"/>
                    <a:gd name="connsiteY5" fmla="*/ 31542 h 53483"/>
                    <a:gd name="connsiteX6" fmla="*/ 4114 w 57598"/>
                    <a:gd name="connsiteY6" fmla="*/ 50741 h 53483"/>
                    <a:gd name="connsiteX7" fmla="*/ 15086 w 57598"/>
                    <a:gd name="connsiteY7"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3483">
                      <a:moveTo>
                        <a:pt x="15086" y="53484"/>
                      </a:moveTo>
                      <a:cubicBezTo>
                        <a:pt x="17828" y="53484"/>
                        <a:pt x="20572" y="53484"/>
                        <a:pt x="23314" y="50741"/>
                      </a:cubicBezTo>
                      <a:lnTo>
                        <a:pt x="53484" y="23313"/>
                      </a:lnTo>
                      <a:cubicBezTo>
                        <a:pt x="58970" y="17828"/>
                        <a:pt x="58970" y="9600"/>
                        <a:pt x="53484" y="4114"/>
                      </a:cubicBezTo>
                      <a:cubicBezTo>
                        <a:pt x="48000" y="-1371"/>
                        <a:pt x="39770" y="-1371"/>
                        <a:pt x="34286" y="4114"/>
                      </a:cubicBezTo>
                      <a:lnTo>
                        <a:pt x="4114" y="31542"/>
                      </a:lnTo>
                      <a:cubicBezTo>
                        <a:pt x="-1371" y="37027"/>
                        <a:pt x="-1371" y="45256"/>
                        <a:pt x="4114" y="50741"/>
                      </a:cubicBezTo>
                      <a:cubicBezTo>
                        <a:pt x="6858" y="50741"/>
                        <a:pt x="9600" y="53484"/>
                        <a:pt x="15086" y="53484"/>
                      </a:cubicBezTo>
                      <a:close/>
                    </a:path>
                  </a:pathLst>
                </a:custGeom>
                <a:grpFill/>
                <a:ln w="27426" cap="flat">
                  <a:noFill/>
                  <a:prstDash val="solid"/>
                  <a:miter/>
                </a:ln>
              </p:spPr>
              <p:txBody>
                <a:bodyPr rtlCol="0" anchor="ctr"/>
                <a:lstStyle/>
                <a:p>
                  <a:pPr algn="l" rtl="0"/>
                  <a:endParaRPr lang="en-US"/>
                </a:p>
              </p:txBody>
            </p:sp>
            <p:sp>
              <p:nvSpPr>
                <p:cNvPr id="367" name="Freeform 366">
                  <a:extLst>
                    <a:ext uri="{FF2B5EF4-FFF2-40B4-BE49-F238E27FC236}">
                      <a16:creationId xmlns:a16="http://schemas.microsoft.com/office/drawing/2014/main" id="{86C04508-E709-4C1F-A747-3B59464342AF}"/>
                    </a:ext>
                  </a:extLst>
                </p:cNvPr>
                <p:cNvSpPr/>
                <p:nvPr/>
              </p:nvSpPr>
              <p:spPr>
                <a:xfrm>
                  <a:off x="2954034"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pPr algn="l" rtl="0"/>
                  <a:endParaRPr lang="en-US"/>
                </a:p>
              </p:txBody>
            </p:sp>
            <p:sp>
              <p:nvSpPr>
                <p:cNvPr id="368" name="Freeform 367">
                  <a:extLst>
                    <a:ext uri="{FF2B5EF4-FFF2-40B4-BE49-F238E27FC236}">
                      <a16:creationId xmlns:a16="http://schemas.microsoft.com/office/drawing/2014/main" id="{615B2DDD-FA31-B445-DA8A-584000CD9249}"/>
                    </a:ext>
                  </a:extLst>
                </p:cNvPr>
                <p:cNvSpPr/>
                <p:nvPr/>
              </p:nvSpPr>
              <p:spPr>
                <a:xfrm>
                  <a:off x="2978717" y="4226078"/>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pPr algn="l" rtl="0"/>
                  <a:endParaRPr lang="en-US"/>
                </a:p>
              </p:txBody>
            </p:sp>
            <p:sp>
              <p:nvSpPr>
                <p:cNvPr id="369" name="Freeform 368">
                  <a:extLst>
                    <a:ext uri="{FF2B5EF4-FFF2-40B4-BE49-F238E27FC236}">
                      <a16:creationId xmlns:a16="http://schemas.microsoft.com/office/drawing/2014/main" id="{C2D0C332-E5FB-09E2-C886-401C1BB226FA}"/>
                    </a:ext>
                  </a:extLst>
                </p:cNvPr>
                <p:cNvSpPr/>
                <p:nvPr/>
              </p:nvSpPr>
              <p:spPr>
                <a:xfrm>
                  <a:off x="2978717" y="4294647"/>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pPr algn="l" rtl="0"/>
                  <a:endParaRPr lang="en-US"/>
                </a:p>
              </p:txBody>
            </p:sp>
            <p:sp>
              <p:nvSpPr>
                <p:cNvPr id="370" name="Freeform 369">
                  <a:extLst>
                    <a:ext uri="{FF2B5EF4-FFF2-40B4-BE49-F238E27FC236}">
                      <a16:creationId xmlns:a16="http://schemas.microsoft.com/office/drawing/2014/main" id="{565BE0B4-505A-5A8C-5162-9DF10F9BDC69}"/>
                    </a:ext>
                  </a:extLst>
                </p:cNvPr>
                <p:cNvSpPr/>
                <p:nvPr/>
              </p:nvSpPr>
              <p:spPr>
                <a:xfrm>
                  <a:off x="2978717" y="4363216"/>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pPr algn="l" rtl="0"/>
                  <a:endParaRPr lang="en-US"/>
                </a:p>
              </p:txBody>
            </p:sp>
            <p:sp>
              <p:nvSpPr>
                <p:cNvPr id="371" name="Freeform 370">
                  <a:extLst>
                    <a:ext uri="{FF2B5EF4-FFF2-40B4-BE49-F238E27FC236}">
                      <a16:creationId xmlns:a16="http://schemas.microsoft.com/office/drawing/2014/main" id="{1B09C768-2A91-375B-5398-AB51EA4C2031}"/>
                    </a:ext>
                  </a:extLst>
                </p:cNvPr>
                <p:cNvSpPr/>
                <p:nvPr/>
              </p:nvSpPr>
              <p:spPr>
                <a:xfrm>
                  <a:off x="3365449"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pPr algn="l" rtl="0"/>
                  <a:endParaRPr lang="en-US"/>
                </a:p>
              </p:txBody>
            </p:sp>
            <p:sp>
              <p:nvSpPr>
                <p:cNvPr id="372" name="Freeform 371">
                  <a:extLst>
                    <a:ext uri="{FF2B5EF4-FFF2-40B4-BE49-F238E27FC236}">
                      <a16:creationId xmlns:a16="http://schemas.microsoft.com/office/drawing/2014/main" id="{8C5E28DB-F999-3C67-DBF7-6EE66407907F}"/>
                    </a:ext>
                  </a:extLst>
                </p:cNvPr>
                <p:cNvSpPr/>
                <p:nvPr/>
              </p:nvSpPr>
              <p:spPr>
                <a:xfrm>
                  <a:off x="3324307" y="4226078"/>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pPr algn="l" rtl="0"/>
                  <a:endParaRPr lang="en-US"/>
                </a:p>
              </p:txBody>
            </p:sp>
            <p:sp>
              <p:nvSpPr>
                <p:cNvPr id="373" name="Freeform 372">
                  <a:extLst>
                    <a:ext uri="{FF2B5EF4-FFF2-40B4-BE49-F238E27FC236}">
                      <a16:creationId xmlns:a16="http://schemas.microsoft.com/office/drawing/2014/main" id="{F6F1F7DB-9E49-A320-D545-4EAEEE1378F1}"/>
                    </a:ext>
                  </a:extLst>
                </p:cNvPr>
                <p:cNvSpPr/>
                <p:nvPr/>
              </p:nvSpPr>
              <p:spPr>
                <a:xfrm>
                  <a:off x="3324307" y="4294647"/>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pPr algn="l" rtl="0"/>
                  <a:endParaRPr lang="en-US"/>
                </a:p>
              </p:txBody>
            </p:sp>
            <p:sp>
              <p:nvSpPr>
                <p:cNvPr id="374" name="Freeform 373">
                  <a:extLst>
                    <a:ext uri="{FF2B5EF4-FFF2-40B4-BE49-F238E27FC236}">
                      <a16:creationId xmlns:a16="http://schemas.microsoft.com/office/drawing/2014/main" id="{B31E027A-4810-8F5E-DB59-B425EEA3329D}"/>
                    </a:ext>
                  </a:extLst>
                </p:cNvPr>
                <p:cNvSpPr/>
                <p:nvPr/>
              </p:nvSpPr>
              <p:spPr>
                <a:xfrm>
                  <a:off x="3324307" y="4363216"/>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pPr algn="l" rtl="0"/>
                  <a:endParaRPr lang="en-US"/>
                </a:p>
              </p:txBody>
            </p:sp>
          </p:grpSp>
        </p:grpSp>
      </p:grpSp>
      <p:grpSp>
        <p:nvGrpSpPr>
          <p:cNvPr id="377" name="Group 376">
            <a:extLst>
              <a:ext uri="{FF2B5EF4-FFF2-40B4-BE49-F238E27FC236}">
                <a16:creationId xmlns:a16="http://schemas.microsoft.com/office/drawing/2014/main" id="{A2160A31-8AF2-936D-DFE8-3AE14A4B758A}"/>
              </a:ext>
            </a:extLst>
          </p:cNvPr>
          <p:cNvGrpSpPr/>
          <p:nvPr/>
        </p:nvGrpSpPr>
        <p:grpSpPr>
          <a:xfrm>
            <a:off x="2523493" y="5130136"/>
            <a:ext cx="1227192" cy="1226725"/>
            <a:chOff x="-2575239" y="4990792"/>
            <a:chExt cx="1446392" cy="1445841"/>
          </a:xfrm>
        </p:grpSpPr>
        <p:grpSp>
          <p:nvGrpSpPr>
            <p:cNvPr id="378" name="Graphic 8">
              <a:extLst>
                <a:ext uri="{FF2B5EF4-FFF2-40B4-BE49-F238E27FC236}">
                  <a16:creationId xmlns:a16="http://schemas.microsoft.com/office/drawing/2014/main" id="{201F1300-BC7A-6622-4802-A3131A58094F}"/>
                </a:ext>
              </a:extLst>
            </p:cNvPr>
            <p:cNvGrpSpPr/>
            <p:nvPr/>
          </p:nvGrpSpPr>
          <p:grpSpPr>
            <a:xfrm>
              <a:off x="-2575239" y="4990792"/>
              <a:ext cx="1446392" cy="1445841"/>
              <a:chOff x="4817897" y="694433"/>
              <a:chExt cx="1446392" cy="1445841"/>
            </a:xfrm>
          </p:grpSpPr>
          <p:sp>
            <p:nvSpPr>
              <p:cNvPr id="408" name="Freeform 407">
                <a:extLst>
                  <a:ext uri="{FF2B5EF4-FFF2-40B4-BE49-F238E27FC236}">
                    <a16:creationId xmlns:a16="http://schemas.microsoft.com/office/drawing/2014/main" id="{48E6D72A-19D7-1D34-8080-0910DE13CE7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B41F7A"/>
              </a:solidFill>
              <a:ln w="4233" cap="flat">
                <a:noFill/>
                <a:prstDash val="solid"/>
                <a:miter/>
              </a:ln>
            </p:spPr>
            <p:txBody>
              <a:bodyPr rtlCol="0" anchor="ctr"/>
              <a:lstStyle/>
              <a:p>
                <a:pPr algn="l" rtl="0"/>
                <a:endParaRPr lang="en-US" dirty="0"/>
              </a:p>
            </p:txBody>
          </p:sp>
          <p:sp>
            <p:nvSpPr>
              <p:cNvPr id="409" name="Freeform 408">
                <a:extLst>
                  <a:ext uri="{FF2B5EF4-FFF2-40B4-BE49-F238E27FC236}">
                    <a16:creationId xmlns:a16="http://schemas.microsoft.com/office/drawing/2014/main" id="{BD3EF3E4-973D-4956-F736-E6DBBA2320D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pPr algn="l" rtl="0"/>
                <a:endParaRPr lang="en-US"/>
              </a:p>
            </p:txBody>
          </p:sp>
        </p:grpSp>
        <p:grpSp>
          <p:nvGrpSpPr>
            <p:cNvPr id="379" name="Graphic 3">
              <a:extLst>
                <a:ext uri="{FF2B5EF4-FFF2-40B4-BE49-F238E27FC236}">
                  <a16:creationId xmlns:a16="http://schemas.microsoft.com/office/drawing/2014/main" id="{37ED7F75-D67C-96A1-431B-97A2FA68A42A}"/>
                </a:ext>
              </a:extLst>
            </p:cNvPr>
            <p:cNvGrpSpPr/>
            <p:nvPr/>
          </p:nvGrpSpPr>
          <p:grpSpPr>
            <a:xfrm>
              <a:off x="-2217060" y="5375108"/>
              <a:ext cx="730034" cy="730950"/>
              <a:chOff x="6601914" y="3685068"/>
              <a:chExt cx="1090935" cy="1092304"/>
            </a:xfrm>
            <a:solidFill>
              <a:srgbClr val="616161"/>
            </a:solidFill>
          </p:grpSpPr>
          <p:sp>
            <p:nvSpPr>
              <p:cNvPr id="380" name="Freeform 379">
                <a:extLst>
                  <a:ext uri="{FF2B5EF4-FFF2-40B4-BE49-F238E27FC236}">
                    <a16:creationId xmlns:a16="http://schemas.microsoft.com/office/drawing/2014/main" id="{034C5884-0D48-C846-9A08-71FC4554CE26}"/>
                  </a:ext>
                </a:extLst>
              </p:cNvPr>
              <p:cNvSpPr/>
              <p:nvPr/>
            </p:nvSpPr>
            <p:spPr>
              <a:xfrm>
                <a:off x="7504284" y="3891461"/>
                <a:ext cx="49369" cy="469012"/>
              </a:xfrm>
              <a:custGeom>
                <a:avLst/>
                <a:gdLst>
                  <a:gd name="connsiteX0" fmla="*/ -1 w 49369"/>
                  <a:gd name="connsiteY0" fmla="*/ 0 h 469012"/>
                  <a:gd name="connsiteX1" fmla="*/ 49369 w 49369"/>
                  <a:gd name="connsiteY1" fmla="*/ 0 h 469012"/>
                  <a:gd name="connsiteX2" fmla="*/ 49369 w 49369"/>
                  <a:gd name="connsiteY2" fmla="*/ 469012 h 469012"/>
                  <a:gd name="connsiteX3" fmla="*/ -1 w 49369"/>
                  <a:gd name="connsiteY3" fmla="*/ 469012 h 469012"/>
                </a:gdLst>
                <a:ahLst/>
                <a:cxnLst>
                  <a:cxn ang="0">
                    <a:pos x="connsiteX0" y="connsiteY0"/>
                  </a:cxn>
                  <a:cxn ang="0">
                    <a:pos x="connsiteX1" y="connsiteY1"/>
                  </a:cxn>
                  <a:cxn ang="0">
                    <a:pos x="connsiteX2" y="connsiteY2"/>
                  </a:cxn>
                  <a:cxn ang="0">
                    <a:pos x="connsiteX3" y="connsiteY3"/>
                  </a:cxn>
                </a:cxnLst>
                <a:rect l="l" t="t" r="r" b="b"/>
                <a:pathLst>
                  <a:path w="49369" h="469012">
                    <a:moveTo>
                      <a:pt x="-1" y="0"/>
                    </a:moveTo>
                    <a:lnTo>
                      <a:pt x="49369" y="0"/>
                    </a:lnTo>
                    <a:lnTo>
                      <a:pt x="49369" y="469012"/>
                    </a:lnTo>
                    <a:lnTo>
                      <a:pt x="-1" y="469012"/>
                    </a:lnTo>
                    <a:close/>
                  </a:path>
                </a:pathLst>
              </a:custGeom>
              <a:solidFill>
                <a:srgbClr val="B41F7A"/>
              </a:solidFill>
              <a:ln w="27426" cap="flat">
                <a:noFill/>
                <a:prstDash val="solid"/>
                <a:miter/>
              </a:ln>
            </p:spPr>
            <p:txBody>
              <a:bodyPr rtlCol="0" anchor="ctr"/>
              <a:lstStyle/>
              <a:p>
                <a:pPr algn="l" rtl="0"/>
                <a:endParaRPr lang="en-US"/>
              </a:p>
            </p:txBody>
          </p:sp>
          <p:sp>
            <p:nvSpPr>
              <p:cNvPr id="381" name="Freeform 380">
                <a:extLst>
                  <a:ext uri="{FF2B5EF4-FFF2-40B4-BE49-F238E27FC236}">
                    <a16:creationId xmlns:a16="http://schemas.microsoft.com/office/drawing/2014/main" id="{B5CAC43B-83B4-EED4-A630-044A45D312E7}"/>
                  </a:ext>
                </a:extLst>
              </p:cNvPr>
              <p:cNvSpPr/>
              <p:nvPr/>
            </p:nvSpPr>
            <p:spPr>
              <a:xfrm>
                <a:off x="6708882" y="3822892"/>
                <a:ext cx="230392" cy="255076"/>
              </a:xfrm>
              <a:custGeom>
                <a:avLst/>
                <a:gdLst>
                  <a:gd name="connsiteX0" fmla="*/ -1 w 230392"/>
                  <a:gd name="connsiteY0" fmla="*/ 0 h 255076"/>
                  <a:gd name="connsiteX1" fmla="*/ 230392 w 230392"/>
                  <a:gd name="connsiteY1" fmla="*/ 0 h 255076"/>
                  <a:gd name="connsiteX2" fmla="*/ 230392 w 230392"/>
                  <a:gd name="connsiteY2" fmla="*/ 255077 h 255076"/>
                  <a:gd name="connsiteX3" fmla="*/ -1 w 230392"/>
                  <a:gd name="connsiteY3" fmla="*/ 255077 h 255076"/>
                </a:gdLst>
                <a:ahLst/>
                <a:cxnLst>
                  <a:cxn ang="0">
                    <a:pos x="connsiteX0" y="connsiteY0"/>
                  </a:cxn>
                  <a:cxn ang="0">
                    <a:pos x="connsiteX1" y="connsiteY1"/>
                  </a:cxn>
                  <a:cxn ang="0">
                    <a:pos x="connsiteX2" y="connsiteY2"/>
                  </a:cxn>
                  <a:cxn ang="0">
                    <a:pos x="connsiteX3" y="connsiteY3"/>
                  </a:cxn>
                </a:cxnLst>
                <a:rect l="l" t="t" r="r" b="b"/>
                <a:pathLst>
                  <a:path w="230392" h="255076">
                    <a:moveTo>
                      <a:pt x="-1" y="0"/>
                    </a:moveTo>
                    <a:lnTo>
                      <a:pt x="230392" y="0"/>
                    </a:lnTo>
                    <a:lnTo>
                      <a:pt x="230392" y="255077"/>
                    </a:lnTo>
                    <a:lnTo>
                      <a:pt x="-1" y="255077"/>
                    </a:lnTo>
                    <a:close/>
                  </a:path>
                </a:pathLst>
              </a:custGeom>
              <a:solidFill>
                <a:srgbClr val="B41F7A"/>
              </a:solidFill>
              <a:ln w="27426" cap="flat">
                <a:noFill/>
                <a:prstDash val="solid"/>
                <a:miter/>
              </a:ln>
            </p:spPr>
            <p:txBody>
              <a:bodyPr rtlCol="0" anchor="ctr"/>
              <a:lstStyle/>
              <a:p>
                <a:pPr algn="l" rtl="0"/>
                <a:endParaRPr lang="en-US"/>
              </a:p>
            </p:txBody>
          </p:sp>
          <p:grpSp>
            <p:nvGrpSpPr>
              <p:cNvPr id="382" name="Graphic 3">
                <a:extLst>
                  <a:ext uri="{FF2B5EF4-FFF2-40B4-BE49-F238E27FC236}">
                    <a16:creationId xmlns:a16="http://schemas.microsoft.com/office/drawing/2014/main" id="{539DC99A-B936-AD76-0744-17509A62C7C4}"/>
                  </a:ext>
                </a:extLst>
              </p:cNvPr>
              <p:cNvGrpSpPr/>
              <p:nvPr/>
            </p:nvGrpSpPr>
            <p:grpSpPr>
              <a:xfrm>
                <a:off x="6601914" y="3685068"/>
                <a:ext cx="1090935" cy="1092304"/>
                <a:chOff x="6601914" y="3685068"/>
                <a:chExt cx="1090935" cy="1092304"/>
              </a:xfrm>
              <a:grpFill/>
            </p:grpSpPr>
            <p:sp>
              <p:nvSpPr>
                <p:cNvPr id="383" name="Freeform 382">
                  <a:extLst>
                    <a:ext uri="{FF2B5EF4-FFF2-40B4-BE49-F238E27FC236}">
                      <a16:creationId xmlns:a16="http://schemas.microsoft.com/office/drawing/2014/main" id="{B460697D-9FF3-0E6F-08B1-3115BAA13E23}"/>
                    </a:ext>
                  </a:extLst>
                </p:cNvPr>
                <p:cNvSpPr/>
                <p:nvPr/>
              </p:nvSpPr>
              <p:spPr>
                <a:xfrm>
                  <a:off x="7136754" y="4173965"/>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pPr algn="l" rtl="0"/>
                  <a:endParaRPr lang="en-US"/>
                </a:p>
              </p:txBody>
            </p:sp>
            <p:sp>
              <p:nvSpPr>
                <p:cNvPr id="384" name="Freeform 383">
                  <a:extLst>
                    <a:ext uri="{FF2B5EF4-FFF2-40B4-BE49-F238E27FC236}">
                      <a16:creationId xmlns:a16="http://schemas.microsoft.com/office/drawing/2014/main" id="{BCD61794-A453-9413-86F4-F80006F62F51}"/>
                    </a:ext>
                  </a:extLst>
                </p:cNvPr>
                <p:cNvSpPr/>
                <p:nvPr/>
              </p:nvSpPr>
              <p:spPr>
                <a:xfrm>
                  <a:off x="7136754" y="4126625"/>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6" y="22656"/>
                        <a:pt x="0" y="17170"/>
                        <a:pt x="0" y="11684"/>
                      </a:cubicBezTo>
                      <a:cubicBezTo>
                        <a:pt x="0" y="6199"/>
                        <a:pt x="5486" y="714"/>
                        <a:pt x="10970" y="714"/>
                      </a:cubicBezTo>
                      <a:cubicBezTo>
                        <a:pt x="19200" y="-2029"/>
                        <a:pt x="21942" y="3456"/>
                        <a:pt x="21942" y="11684"/>
                      </a:cubicBezTo>
                      <a:lnTo>
                        <a:pt x="21942" y="11684"/>
                      </a:lnTo>
                      <a:close/>
                    </a:path>
                  </a:pathLst>
                </a:custGeom>
                <a:grpFill/>
                <a:ln w="27426" cap="flat">
                  <a:noFill/>
                  <a:prstDash val="solid"/>
                  <a:miter/>
                </a:ln>
              </p:spPr>
              <p:txBody>
                <a:bodyPr rtlCol="0" anchor="ctr"/>
                <a:lstStyle/>
                <a:p>
                  <a:pPr algn="l" rtl="0"/>
                  <a:endParaRPr lang="en-US"/>
                </a:p>
              </p:txBody>
            </p:sp>
            <p:grpSp>
              <p:nvGrpSpPr>
                <p:cNvPr id="385" name="Graphic 3">
                  <a:extLst>
                    <a:ext uri="{FF2B5EF4-FFF2-40B4-BE49-F238E27FC236}">
                      <a16:creationId xmlns:a16="http://schemas.microsoft.com/office/drawing/2014/main" id="{34E848DC-F1AE-F1E1-04C4-9E04C8BA3F8F}"/>
                    </a:ext>
                  </a:extLst>
                </p:cNvPr>
                <p:cNvGrpSpPr/>
                <p:nvPr/>
              </p:nvGrpSpPr>
              <p:grpSpPr>
                <a:xfrm>
                  <a:off x="6601914" y="3685068"/>
                  <a:ext cx="1090935" cy="1092304"/>
                  <a:chOff x="6601914" y="3685068"/>
                  <a:chExt cx="1090935" cy="1092304"/>
                </a:xfrm>
                <a:grpFill/>
              </p:grpSpPr>
              <p:sp>
                <p:nvSpPr>
                  <p:cNvPr id="406" name="Freeform 405">
                    <a:extLst>
                      <a:ext uri="{FF2B5EF4-FFF2-40B4-BE49-F238E27FC236}">
                        <a16:creationId xmlns:a16="http://schemas.microsoft.com/office/drawing/2014/main" id="{225E4DFA-0F10-801E-0AD2-F9A9FC6C00EC}"/>
                      </a:ext>
                    </a:extLst>
                  </p:cNvPr>
                  <p:cNvSpPr/>
                  <p:nvPr/>
                </p:nvSpPr>
                <p:spPr>
                  <a:xfrm>
                    <a:off x="7136754" y="4077969"/>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pPr algn="l" rtl="0"/>
                    <a:endParaRPr lang="en-US"/>
                  </a:p>
                </p:txBody>
              </p:sp>
              <p:sp>
                <p:nvSpPr>
                  <p:cNvPr id="407" name="Freeform 406">
                    <a:extLst>
                      <a:ext uri="{FF2B5EF4-FFF2-40B4-BE49-F238E27FC236}">
                        <a16:creationId xmlns:a16="http://schemas.microsoft.com/office/drawing/2014/main" id="{689A2C05-A6FD-854C-C8F4-7942E5A42FEB}"/>
                      </a:ext>
                    </a:extLst>
                  </p:cNvPr>
                  <p:cNvSpPr/>
                  <p:nvPr/>
                </p:nvSpPr>
                <p:spPr>
                  <a:xfrm>
                    <a:off x="6601914" y="3685068"/>
                    <a:ext cx="1090935" cy="1092304"/>
                  </a:xfrm>
                  <a:custGeom>
                    <a:avLst/>
                    <a:gdLst>
                      <a:gd name="connsiteX0" fmla="*/ 1088879 w 1090935"/>
                      <a:gd name="connsiteY0" fmla="*/ 102168 h 1092304"/>
                      <a:gd name="connsiteX1" fmla="*/ 1028538 w 1090935"/>
                      <a:gd name="connsiteY1" fmla="*/ 6171 h 1092304"/>
                      <a:gd name="connsiteX2" fmla="*/ 1009338 w 1090935"/>
                      <a:gd name="connsiteY2" fmla="*/ 6171 h 1092304"/>
                      <a:gd name="connsiteX3" fmla="*/ 948997 w 1090935"/>
                      <a:gd name="connsiteY3" fmla="*/ 102168 h 1092304"/>
                      <a:gd name="connsiteX4" fmla="*/ 946255 w 1090935"/>
                      <a:gd name="connsiteY4" fmla="*/ 107654 h 1092304"/>
                      <a:gd name="connsiteX5" fmla="*/ 946255 w 1090935"/>
                      <a:gd name="connsiteY5" fmla="*/ 332560 h 1092304"/>
                      <a:gd name="connsiteX6" fmla="*/ 614379 w 1090935"/>
                      <a:gd name="connsiteY6" fmla="*/ 332560 h 1092304"/>
                      <a:gd name="connsiteX7" fmla="*/ 655520 w 1090935"/>
                      <a:gd name="connsiteY7" fmla="*/ 272219 h 1092304"/>
                      <a:gd name="connsiteX8" fmla="*/ 671978 w 1090935"/>
                      <a:gd name="connsiteY8" fmla="*/ 272219 h 1092304"/>
                      <a:gd name="connsiteX9" fmla="*/ 682948 w 1090935"/>
                      <a:gd name="connsiteY9" fmla="*/ 266733 h 1092304"/>
                      <a:gd name="connsiteX10" fmla="*/ 682948 w 1090935"/>
                      <a:gd name="connsiteY10" fmla="*/ 255762 h 1092304"/>
                      <a:gd name="connsiteX11" fmla="*/ 661006 w 1090935"/>
                      <a:gd name="connsiteY11" fmla="*/ 198164 h 1092304"/>
                      <a:gd name="connsiteX12" fmla="*/ 661006 w 1090935"/>
                      <a:gd name="connsiteY12" fmla="*/ 187193 h 1092304"/>
                      <a:gd name="connsiteX13" fmla="*/ 696662 w 1090935"/>
                      <a:gd name="connsiteY13" fmla="*/ 140567 h 1092304"/>
                      <a:gd name="connsiteX14" fmla="*/ 696662 w 1090935"/>
                      <a:gd name="connsiteY14" fmla="*/ 115881 h 1092304"/>
                      <a:gd name="connsiteX15" fmla="*/ 685692 w 1090935"/>
                      <a:gd name="connsiteY15" fmla="*/ 104911 h 1092304"/>
                      <a:gd name="connsiteX16" fmla="*/ 482726 w 1090935"/>
                      <a:gd name="connsiteY16" fmla="*/ 104911 h 1092304"/>
                      <a:gd name="connsiteX17" fmla="*/ 422385 w 1090935"/>
                      <a:gd name="connsiteY17" fmla="*/ 165251 h 1092304"/>
                      <a:gd name="connsiteX18" fmla="*/ 422385 w 1090935"/>
                      <a:gd name="connsiteY18" fmla="*/ 231078 h 1092304"/>
                      <a:gd name="connsiteX19" fmla="*/ 471756 w 1090935"/>
                      <a:gd name="connsiteY19" fmla="*/ 329817 h 1092304"/>
                      <a:gd name="connsiteX20" fmla="*/ 397701 w 1090935"/>
                      <a:gd name="connsiteY20" fmla="*/ 329817 h 1092304"/>
                      <a:gd name="connsiteX21" fmla="*/ 400443 w 1090935"/>
                      <a:gd name="connsiteY21" fmla="*/ 318846 h 1092304"/>
                      <a:gd name="connsiteX22" fmla="*/ 400443 w 1090935"/>
                      <a:gd name="connsiteY22" fmla="*/ 11657 h 1092304"/>
                      <a:gd name="connsiteX23" fmla="*/ 389473 w 1090935"/>
                      <a:gd name="connsiteY23" fmla="*/ 686 h 1092304"/>
                      <a:gd name="connsiteX24" fmla="*/ 10970 w 1090935"/>
                      <a:gd name="connsiteY24" fmla="*/ 686 h 1092304"/>
                      <a:gd name="connsiteX25" fmla="*/ 0 w 1090935"/>
                      <a:gd name="connsiteY25" fmla="*/ 11657 h 1092304"/>
                      <a:gd name="connsiteX26" fmla="*/ 0 w 1090935"/>
                      <a:gd name="connsiteY26" fmla="*/ 318846 h 1092304"/>
                      <a:gd name="connsiteX27" fmla="*/ 35656 w 1090935"/>
                      <a:gd name="connsiteY27" fmla="*/ 354502 h 1092304"/>
                      <a:gd name="connsiteX28" fmla="*/ 117939 w 1090935"/>
                      <a:gd name="connsiteY28" fmla="*/ 354502 h 1092304"/>
                      <a:gd name="connsiteX29" fmla="*/ 117939 w 1090935"/>
                      <a:gd name="connsiteY29" fmla="*/ 379187 h 1092304"/>
                      <a:gd name="connsiteX30" fmla="*/ 178280 w 1090935"/>
                      <a:gd name="connsiteY30" fmla="*/ 439527 h 1092304"/>
                      <a:gd name="connsiteX31" fmla="*/ 414157 w 1090935"/>
                      <a:gd name="connsiteY31" fmla="*/ 439527 h 1092304"/>
                      <a:gd name="connsiteX32" fmla="*/ 414157 w 1090935"/>
                      <a:gd name="connsiteY32" fmla="*/ 664434 h 1092304"/>
                      <a:gd name="connsiteX33" fmla="*/ 320904 w 1090935"/>
                      <a:gd name="connsiteY33" fmla="*/ 999051 h 1092304"/>
                      <a:gd name="connsiteX34" fmla="*/ 246849 w 1090935"/>
                      <a:gd name="connsiteY34" fmla="*/ 1081334 h 1092304"/>
                      <a:gd name="connsiteX35" fmla="*/ 257819 w 1090935"/>
                      <a:gd name="connsiteY35" fmla="*/ 1092305 h 1092304"/>
                      <a:gd name="connsiteX36" fmla="*/ 471756 w 1090935"/>
                      <a:gd name="connsiteY36" fmla="*/ 1092305 h 1092304"/>
                      <a:gd name="connsiteX37" fmla="*/ 482726 w 1090935"/>
                      <a:gd name="connsiteY37" fmla="*/ 1081334 h 1092304"/>
                      <a:gd name="connsiteX38" fmla="*/ 482726 w 1090935"/>
                      <a:gd name="connsiteY38" fmla="*/ 1010022 h 1092304"/>
                      <a:gd name="connsiteX39" fmla="*/ 543068 w 1090935"/>
                      <a:gd name="connsiteY39" fmla="*/ 774144 h 1092304"/>
                      <a:gd name="connsiteX40" fmla="*/ 603409 w 1090935"/>
                      <a:gd name="connsiteY40" fmla="*/ 1010022 h 1092304"/>
                      <a:gd name="connsiteX41" fmla="*/ 603409 w 1090935"/>
                      <a:gd name="connsiteY41" fmla="*/ 1078591 h 1092304"/>
                      <a:gd name="connsiteX42" fmla="*/ 614379 w 1090935"/>
                      <a:gd name="connsiteY42" fmla="*/ 1089562 h 1092304"/>
                      <a:gd name="connsiteX43" fmla="*/ 828316 w 1090935"/>
                      <a:gd name="connsiteY43" fmla="*/ 1089562 h 1092304"/>
                      <a:gd name="connsiteX44" fmla="*/ 839286 w 1090935"/>
                      <a:gd name="connsiteY44" fmla="*/ 1078591 h 1092304"/>
                      <a:gd name="connsiteX45" fmla="*/ 757003 w 1090935"/>
                      <a:gd name="connsiteY45" fmla="*/ 996308 h 1092304"/>
                      <a:gd name="connsiteX46" fmla="*/ 754261 w 1090935"/>
                      <a:gd name="connsiteY46" fmla="*/ 996308 h 1092304"/>
                      <a:gd name="connsiteX47" fmla="*/ 674720 w 1090935"/>
                      <a:gd name="connsiteY47" fmla="*/ 661691 h 1092304"/>
                      <a:gd name="connsiteX48" fmla="*/ 674720 w 1090935"/>
                      <a:gd name="connsiteY48" fmla="*/ 436785 h 1092304"/>
                      <a:gd name="connsiteX49" fmla="*/ 910599 w 1090935"/>
                      <a:gd name="connsiteY49" fmla="*/ 436785 h 1092304"/>
                      <a:gd name="connsiteX50" fmla="*/ 946255 w 1090935"/>
                      <a:gd name="connsiteY50" fmla="*/ 425814 h 1092304"/>
                      <a:gd name="connsiteX51" fmla="*/ 946255 w 1090935"/>
                      <a:gd name="connsiteY51" fmla="*/ 521810 h 1092304"/>
                      <a:gd name="connsiteX52" fmla="*/ 957225 w 1090935"/>
                      <a:gd name="connsiteY52" fmla="*/ 532782 h 1092304"/>
                      <a:gd name="connsiteX53" fmla="*/ 968197 w 1090935"/>
                      <a:gd name="connsiteY53" fmla="*/ 521810 h 1092304"/>
                      <a:gd name="connsiteX54" fmla="*/ 968197 w 1090935"/>
                      <a:gd name="connsiteY54" fmla="*/ 118624 h 1092304"/>
                      <a:gd name="connsiteX55" fmla="*/ 1014824 w 1090935"/>
                      <a:gd name="connsiteY55" fmla="*/ 118624 h 1092304"/>
                      <a:gd name="connsiteX56" fmla="*/ 1014824 w 1090935"/>
                      <a:gd name="connsiteY56" fmla="*/ 250277 h 1092304"/>
                      <a:gd name="connsiteX57" fmla="*/ 1025794 w 1090935"/>
                      <a:gd name="connsiteY57" fmla="*/ 261248 h 1092304"/>
                      <a:gd name="connsiteX58" fmla="*/ 1036766 w 1090935"/>
                      <a:gd name="connsiteY58" fmla="*/ 250277 h 1092304"/>
                      <a:gd name="connsiteX59" fmla="*/ 1036766 w 1090935"/>
                      <a:gd name="connsiteY59" fmla="*/ 118624 h 1092304"/>
                      <a:gd name="connsiteX60" fmla="*/ 1061451 w 1090935"/>
                      <a:gd name="connsiteY60" fmla="*/ 118624 h 1092304"/>
                      <a:gd name="connsiteX61" fmla="*/ 1061451 w 1090935"/>
                      <a:gd name="connsiteY61" fmla="*/ 557466 h 1092304"/>
                      <a:gd name="connsiteX62" fmla="*/ 954483 w 1090935"/>
                      <a:gd name="connsiteY62" fmla="*/ 557466 h 1092304"/>
                      <a:gd name="connsiteX63" fmla="*/ 943511 w 1090935"/>
                      <a:gd name="connsiteY63" fmla="*/ 568437 h 1092304"/>
                      <a:gd name="connsiteX64" fmla="*/ 943511 w 1090935"/>
                      <a:gd name="connsiteY64" fmla="*/ 650720 h 1092304"/>
                      <a:gd name="connsiteX65" fmla="*/ 1003852 w 1090935"/>
                      <a:gd name="connsiteY65" fmla="*/ 711061 h 1092304"/>
                      <a:gd name="connsiteX66" fmla="*/ 1028538 w 1090935"/>
                      <a:gd name="connsiteY66" fmla="*/ 711061 h 1092304"/>
                      <a:gd name="connsiteX67" fmla="*/ 1088879 w 1090935"/>
                      <a:gd name="connsiteY67" fmla="*/ 650720 h 1092304"/>
                      <a:gd name="connsiteX68" fmla="*/ 1088879 w 1090935"/>
                      <a:gd name="connsiteY68" fmla="*/ 104911 h 1092304"/>
                      <a:gd name="connsiteX69" fmla="*/ 1088879 w 1090935"/>
                      <a:gd name="connsiteY69" fmla="*/ 102168 h 1092304"/>
                      <a:gd name="connsiteX70" fmla="*/ 1088879 w 1090935"/>
                      <a:gd name="connsiteY70" fmla="*/ 102168 h 1092304"/>
                      <a:gd name="connsiteX71" fmla="*/ 452557 w 1090935"/>
                      <a:gd name="connsiteY71" fmla="*/ 167994 h 1092304"/>
                      <a:gd name="connsiteX72" fmla="*/ 488212 w 1090935"/>
                      <a:gd name="connsiteY72" fmla="*/ 132338 h 1092304"/>
                      <a:gd name="connsiteX73" fmla="*/ 677464 w 1090935"/>
                      <a:gd name="connsiteY73" fmla="*/ 132338 h 1092304"/>
                      <a:gd name="connsiteX74" fmla="*/ 677464 w 1090935"/>
                      <a:gd name="connsiteY74" fmla="*/ 143309 h 1092304"/>
                      <a:gd name="connsiteX75" fmla="*/ 652778 w 1090935"/>
                      <a:gd name="connsiteY75" fmla="*/ 167994 h 1092304"/>
                      <a:gd name="connsiteX76" fmla="*/ 499184 w 1090935"/>
                      <a:gd name="connsiteY76" fmla="*/ 167994 h 1092304"/>
                      <a:gd name="connsiteX77" fmla="*/ 488212 w 1090935"/>
                      <a:gd name="connsiteY77" fmla="*/ 178965 h 1092304"/>
                      <a:gd name="connsiteX78" fmla="*/ 488212 w 1090935"/>
                      <a:gd name="connsiteY78" fmla="*/ 189936 h 1092304"/>
                      <a:gd name="connsiteX79" fmla="*/ 452557 w 1090935"/>
                      <a:gd name="connsiteY79" fmla="*/ 225592 h 1092304"/>
                      <a:gd name="connsiteX80" fmla="*/ 452557 w 1090935"/>
                      <a:gd name="connsiteY80" fmla="*/ 167994 h 1092304"/>
                      <a:gd name="connsiteX81" fmla="*/ 452557 w 1090935"/>
                      <a:gd name="connsiteY81" fmla="*/ 250277 h 1092304"/>
                      <a:gd name="connsiteX82" fmla="*/ 510154 w 1090935"/>
                      <a:gd name="connsiteY82" fmla="*/ 189936 h 1092304"/>
                      <a:gd name="connsiteX83" fmla="*/ 641807 w 1090935"/>
                      <a:gd name="connsiteY83" fmla="*/ 189936 h 1092304"/>
                      <a:gd name="connsiteX84" fmla="*/ 641807 w 1090935"/>
                      <a:gd name="connsiteY84" fmla="*/ 200907 h 1092304"/>
                      <a:gd name="connsiteX85" fmla="*/ 641807 w 1090935"/>
                      <a:gd name="connsiteY85" fmla="*/ 206393 h 1092304"/>
                      <a:gd name="connsiteX86" fmla="*/ 658264 w 1090935"/>
                      <a:gd name="connsiteY86" fmla="*/ 250277 h 1092304"/>
                      <a:gd name="connsiteX87" fmla="*/ 650036 w 1090935"/>
                      <a:gd name="connsiteY87" fmla="*/ 250277 h 1092304"/>
                      <a:gd name="connsiteX88" fmla="*/ 639064 w 1090935"/>
                      <a:gd name="connsiteY88" fmla="*/ 258505 h 1092304"/>
                      <a:gd name="connsiteX89" fmla="*/ 543068 w 1090935"/>
                      <a:gd name="connsiteY89" fmla="*/ 332560 h 1092304"/>
                      <a:gd name="connsiteX90" fmla="*/ 452557 w 1090935"/>
                      <a:gd name="connsiteY90" fmla="*/ 250277 h 1092304"/>
                      <a:gd name="connsiteX91" fmla="*/ 452557 w 1090935"/>
                      <a:gd name="connsiteY91" fmla="*/ 250277 h 1092304"/>
                      <a:gd name="connsiteX92" fmla="*/ 1020310 w 1090935"/>
                      <a:gd name="connsiteY92" fmla="*/ 36342 h 1092304"/>
                      <a:gd name="connsiteX93" fmla="*/ 1058708 w 1090935"/>
                      <a:gd name="connsiteY93" fmla="*/ 96682 h 1092304"/>
                      <a:gd name="connsiteX94" fmla="*/ 981910 w 1090935"/>
                      <a:gd name="connsiteY94" fmla="*/ 96682 h 1092304"/>
                      <a:gd name="connsiteX95" fmla="*/ 1020310 w 1090935"/>
                      <a:gd name="connsiteY95" fmla="*/ 36342 h 1092304"/>
                      <a:gd name="connsiteX96" fmla="*/ 381244 w 1090935"/>
                      <a:gd name="connsiteY96" fmla="*/ 285933 h 1092304"/>
                      <a:gd name="connsiteX97" fmla="*/ 213936 w 1090935"/>
                      <a:gd name="connsiteY97" fmla="*/ 285933 h 1092304"/>
                      <a:gd name="connsiteX98" fmla="*/ 213936 w 1090935"/>
                      <a:gd name="connsiteY98" fmla="*/ 25371 h 1092304"/>
                      <a:gd name="connsiteX99" fmla="*/ 381244 w 1090935"/>
                      <a:gd name="connsiteY99" fmla="*/ 25371 h 1092304"/>
                      <a:gd name="connsiteX100" fmla="*/ 381244 w 1090935"/>
                      <a:gd name="connsiteY100" fmla="*/ 285933 h 1092304"/>
                      <a:gd name="connsiteX101" fmla="*/ 24684 w 1090935"/>
                      <a:gd name="connsiteY101" fmla="*/ 321589 h 1092304"/>
                      <a:gd name="connsiteX102" fmla="*/ 24684 w 1090935"/>
                      <a:gd name="connsiteY102" fmla="*/ 25371 h 1092304"/>
                      <a:gd name="connsiteX103" fmla="*/ 191994 w 1090935"/>
                      <a:gd name="connsiteY103" fmla="*/ 25371 h 1092304"/>
                      <a:gd name="connsiteX104" fmla="*/ 191994 w 1090935"/>
                      <a:gd name="connsiteY104" fmla="*/ 285933 h 1092304"/>
                      <a:gd name="connsiteX105" fmla="*/ 60341 w 1090935"/>
                      <a:gd name="connsiteY105" fmla="*/ 285933 h 1092304"/>
                      <a:gd name="connsiteX106" fmla="*/ 49369 w 1090935"/>
                      <a:gd name="connsiteY106" fmla="*/ 296904 h 1092304"/>
                      <a:gd name="connsiteX107" fmla="*/ 60341 w 1090935"/>
                      <a:gd name="connsiteY107" fmla="*/ 307875 h 1092304"/>
                      <a:gd name="connsiteX108" fmla="*/ 381244 w 1090935"/>
                      <a:gd name="connsiteY108" fmla="*/ 307875 h 1092304"/>
                      <a:gd name="connsiteX109" fmla="*/ 381244 w 1090935"/>
                      <a:gd name="connsiteY109" fmla="*/ 318846 h 1092304"/>
                      <a:gd name="connsiteX110" fmla="*/ 370274 w 1090935"/>
                      <a:gd name="connsiteY110" fmla="*/ 329817 h 1092304"/>
                      <a:gd name="connsiteX111" fmla="*/ 35656 w 1090935"/>
                      <a:gd name="connsiteY111" fmla="*/ 329817 h 1092304"/>
                      <a:gd name="connsiteX112" fmla="*/ 24684 w 1090935"/>
                      <a:gd name="connsiteY112" fmla="*/ 321589 h 1092304"/>
                      <a:gd name="connsiteX113" fmla="*/ 24684 w 1090935"/>
                      <a:gd name="connsiteY113" fmla="*/ 321589 h 1092304"/>
                      <a:gd name="connsiteX114" fmla="*/ 142624 w 1090935"/>
                      <a:gd name="connsiteY114" fmla="*/ 381930 h 1092304"/>
                      <a:gd name="connsiteX115" fmla="*/ 142624 w 1090935"/>
                      <a:gd name="connsiteY115" fmla="*/ 357245 h 1092304"/>
                      <a:gd name="connsiteX116" fmla="*/ 178280 w 1090935"/>
                      <a:gd name="connsiteY116" fmla="*/ 357245 h 1092304"/>
                      <a:gd name="connsiteX117" fmla="*/ 178280 w 1090935"/>
                      <a:gd name="connsiteY117" fmla="*/ 417585 h 1092304"/>
                      <a:gd name="connsiteX118" fmla="*/ 142624 w 1090935"/>
                      <a:gd name="connsiteY118" fmla="*/ 381930 h 1092304"/>
                      <a:gd name="connsiteX119" fmla="*/ 142624 w 1090935"/>
                      <a:gd name="connsiteY119" fmla="*/ 381930 h 1092304"/>
                      <a:gd name="connsiteX120" fmla="*/ 463527 w 1090935"/>
                      <a:gd name="connsiteY120" fmla="*/ 1067620 h 1092304"/>
                      <a:gd name="connsiteX121" fmla="*/ 274277 w 1090935"/>
                      <a:gd name="connsiteY121" fmla="*/ 1067620 h 1092304"/>
                      <a:gd name="connsiteX122" fmla="*/ 331874 w 1090935"/>
                      <a:gd name="connsiteY122" fmla="*/ 1020993 h 1092304"/>
                      <a:gd name="connsiteX123" fmla="*/ 463527 w 1090935"/>
                      <a:gd name="connsiteY123" fmla="*/ 1020993 h 1092304"/>
                      <a:gd name="connsiteX124" fmla="*/ 463527 w 1090935"/>
                      <a:gd name="connsiteY124" fmla="*/ 1067620 h 1092304"/>
                      <a:gd name="connsiteX125" fmla="*/ 817344 w 1090935"/>
                      <a:gd name="connsiteY125" fmla="*/ 1067620 h 1092304"/>
                      <a:gd name="connsiteX126" fmla="*/ 628093 w 1090935"/>
                      <a:gd name="connsiteY126" fmla="*/ 1067620 h 1092304"/>
                      <a:gd name="connsiteX127" fmla="*/ 628093 w 1090935"/>
                      <a:gd name="connsiteY127" fmla="*/ 1020993 h 1092304"/>
                      <a:gd name="connsiteX128" fmla="*/ 759747 w 1090935"/>
                      <a:gd name="connsiteY128" fmla="*/ 1020993 h 1092304"/>
                      <a:gd name="connsiteX129" fmla="*/ 817344 w 1090935"/>
                      <a:gd name="connsiteY129" fmla="*/ 1067620 h 1092304"/>
                      <a:gd name="connsiteX130" fmla="*/ 817344 w 1090935"/>
                      <a:gd name="connsiteY130" fmla="*/ 1067620 h 1092304"/>
                      <a:gd name="connsiteX131" fmla="*/ 663750 w 1090935"/>
                      <a:gd name="connsiteY131" fmla="*/ 417585 h 1092304"/>
                      <a:gd name="connsiteX132" fmla="*/ 652778 w 1090935"/>
                      <a:gd name="connsiteY132" fmla="*/ 428557 h 1092304"/>
                      <a:gd name="connsiteX133" fmla="*/ 652778 w 1090935"/>
                      <a:gd name="connsiteY133" fmla="*/ 631521 h 1092304"/>
                      <a:gd name="connsiteX134" fmla="*/ 474498 w 1090935"/>
                      <a:gd name="connsiteY134" fmla="*/ 631521 h 1092304"/>
                      <a:gd name="connsiteX135" fmla="*/ 463527 w 1090935"/>
                      <a:gd name="connsiteY135" fmla="*/ 642492 h 1092304"/>
                      <a:gd name="connsiteX136" fmla="*/ 474498 w 1090935"/>
                      <a:gd name="connsiteY136" fmla="*/ 653463 h 1092304"/>
                      <a:gd name="connsiteX137" fmla="*/ 652778 w 1090935"/>
                      <a:gd name="connsiteY137" fmla="*/ 653463 h 1092304"/>
                      <a:gd name="connsiteX138" fmla="*/ 652778 w 1090935"/>
                      <a:gd name="connsiteY138" fmla="*/ 664434 h 1092304"/>
                      <a:gd name="connsiteX139" fmla="*/ 652778 w 1090935"/>
                      <a:gd name="connsiteY139" fmla="*/ 667177 h 1092304"/>
                      <a:gd name="connsiteX140" fmla="*/ 732319 w 1090935"/>
                      <a:gd name="connsiteY140" fmla="*/ 996308 h 1092304"/>
                      <a:gd name="connsiteX141" fmla="*/ 625351 w 1090935"/>
                      <a:gd name="connsiteY141" fmla="*/ 996308 h 1092304"/>
                      <a:gd name="connsiteX142" fmla="*/ 556781 w 1090935"/>
                      <a:gd name="connsiteY142" fmla="*/ 722032 h 1092304"/>
                      <a:gd name="connsiteX143" fmla="*/ 545810 w 1090935"/>
                      <a:gd name="connsiteY143" fmla="*/ 713804 h 1092304"/>
                      <a:gd name="connsiteX144" fmla="*/ 534840 w 1090935"/>
                      <a:gd name="connsiteY144" fmla="*/ 722032 h 1092304"/>
                      <a:gd name="connsiteX145" fmla="*/ 466270 w 1090935"/>
                      <a:gd name="connsiteY145" fmla="*/ 996308 h 1092304"/>
                      <a:gd name="connsiteX146" fmla="*/ 348332 w 1090935"/>
                      <a:gd name="connsiteY146" fmla="*/ 996308 h 1092304"/>
                      <a:gd name="connsiteX147" fmla="*/ 438843 w 1090935"/>
                      <a:gd name="connsiteY147" fmla="*/ 667177 h 1092304"/>
                      <a:gd name="connsiteX148" fmla="*/ 438843 w 1090935"/>
                      <a:gd name="connsiteY148" fmla="*/ 664434 h 1092304"/>
                      <a:gd name="connsiteX149" fmla="*/ 438843 w 1090935"/>
                      <a:gd name="connsiteY149" fmla="*/ 428557 h 1092304"/>
                      <a:gd name="connsiteX150" fmla="*/ 427871 w 1090935"/>
                      <a:gd name="connsiteY150" fmla="*/ 417585 h 1092304"/>
                      <a:gd name="connsiteX151" fmla="*/ 202964 w 1090935"/>
                      <a:gd name="connsiteY151" fmla="*/ 417585 h 1092304"/>
                      <a:gd name="connsiteX152" fmla="*/ 202964 w 1090935"/>
                      <a:gd name="connsiteY152" fmla="*/ 357245 h 1092304"/>
                      <a:gd name="connsiteX153" fmla="*/ 891399 w 1090935"/>
                      <a:gd name="connsiteY153" fmla="*/ 357245 h 1092304"/>
                      <a:gd name="connsiteX154" fmla="*/ 891399 w 1090935"/>
                      <a:gd name="connsiteY154" fmla="*/ 417585 h 1092304"/>
                      <a:gd name="connsiteX155" fmla="*/ 663750 w 1090935"/>
                      <a:gd name="connsiteY155" fmla="*/ 417585 h 1092304"/>
                      <a:gd name="connsiteX156" fmla="*/ 913341 w 1090935"/>
                      <a:gd name="connsiteY156" fmla="*/ 417585 h 1092304"/>
                      <a:gd name="connsiteX157" fmla="*/ 913341 w 1090935"/>
                      <a:gd name="connsiteY157" fmla="*/ 357245 h 1092304"/>
                      <a:gd name="connsiteX158" fmla="*/ 948997 w 1090935"/>
                      <a:gd name="connsiteY158" fmla="*/ 357245 h 1092304"/>
                      <a:gd name="connsiteX159" fmla="*/ 948997 w 1090935"/>
                      <a:gd name="connsiteY159" fmla="*/ 381930 h 1092304"/>
                      <a:gd name="connsiteX160" fmla="*/ 913341 w 1090935"/>
                      <a:gd name="connsiteY160" fmla="*/ 417585 h 1092304"/>
                      <a:gd name="connsiteX161" fmla="*/ 913341 w 1090935"/>
                      <a:gd name="connsiteY161" fmla="*/ 417585 h 1092304"/>
                      <a:gd name="connsiteX162" fmla="*/ 1066936 w 1090935"/>
                      <a:gd name="connsiteY162" fmla="*/ 582151 h 1092304"/>
                      <a:gd name="connsiteX163" fmla="*/ 1066936 w 1090935"/>
                      <a:gd name="connsiteY163" fmla="*/ 606836 h 1092304"/>
                      <a:gd name="connsiteX164" fmla="*/ 970939 w 1090935"/>
                      <a:gd name="connsiteY164" fmla="*/ 606836 h 1092304"/>
                      <a:gd name="connsiteX165" fmla="*/ 970939 w 1090935"/>
                      <a:gd name="connsiteY165" fmla="*/ 582151 h 1092304"/>
                      <a:gd name="connsiteX166" fmla="*/ 1066936 w 1090935"/>
                      <a:gd name="connsiteY166" fmla="*/ 582151 h 1092304"/>
                      <a:gd name="connsiteX167" fmla="*/ 1031280 w 1090935"/>
                      <a:gd name="connsiteY167" fmla="*/ 689119 h 1092304"/>
                      <a:gd name="connsiteX168" fmla="*/ 1006596 w 1090935"/>
                      <a:gd name="connsiteY168" fmla="*/ 689119 h 1092304"/>
                      <a:gd name="connsiteX169" fmla="*/ 970939 w 1090935"/>
                      <a:gd name="connsiteY169" fmla="*/ 653463 h 1092304"/>
                      <a:gd name="connsiteX170" fmla="*/ 970939 w 1090935"/>
                      <a:gd name="connsiteY170" fmla="*/ 628778 h 1092304"/>
                      <a:gd name="connsiteX171" fmla="*/ 1066936 w 1090935"/>
                      <a:gd name="connsiteY171" fmla="*/ 628778 h 1092304"/>
                      <a:gd name="connsiteX172" fmla="*/ 1066936 w 1090935"/>
                      <a:gd name="connsiteY172" fmla="*/ 653463 h 1092304"/>
                      <a:gd name="connsiteX173" fmla="*/ 1031280 w 1090935"/>
                      <a:gd name="connsiteY173" fmla="*/ 689119 h 1092304"/>
                      <a:gd name="connsiteX174" fmla="*/ 1031280 w 1090935"/>
                      <a:gd name="connsiteY174" fmla="*/ 689119 h 109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90935" h="1092304">
                        <a:moveTo>
                          <a:pt x="1088879" y="102168"/>
                        </a:moveTo>
                        <a:lnTo>
                          <a:pt x="1028538" y="6171"/>
                        </a:lnTo>
                        <a:cubicBezTo>
                          <a:pt x="1023052" y="-2057"/>
                          <a:pt x="1012080" y="-2057"/>
                          <a:pt x="1009338" y="6171"/>
                        </a:cubicBezTo>
                        <a:lnTo>
                          <a:pt x="948997" y="102168"/>
                        </a:lnTo>
                        <a:cubicBezTo>
                          <a:pt x="948997" y="104911"/>
                          <a:pt x="946255" y="104911"/>
                          <a:pt x="946255" y="107654"/>
                        </a:cubicBezTo>
                        <a:lnTo>
                          <a:pt x="946255" y="332560"/>
                        </a:lnTo>
                        <a:lnTo>
                          <a:pt x="614379" y="332560"/>
                        </a:lnTo>
                        <a:cubicBezTo>
                          <a:pt x="633579" y="318846"/>
                          <a:pt x="650036" y="296904"/>
                          <a:pt x="655520" y="272219"/>
                        </a:cubicBezTo>
                        <a:lnTo>
                          <a:pt x="671978" y="272219"/>
                        </a:lnTo>
                        <a:cubicBezTo>
                          <a:pt x="674720" y="272219"/>
                          <a:pt x="680206" y="269476"/>
                          <a:pt x="682948" y="266733"/>
                        </a:cubicBezTo>
                        <a:cubicBezTo>
                          <a:pt x="685692" y="263991"/>
                          <a:pt x="685692" y="258505"/>
                          <a:pt x="682948" y="255762"/>
                        </a:cubicBezTo>
                        <a:lnTo>
                          <a:pt x="661006" y="198164"/>
                        </a:lnTo>
                        <a:lnTo>
                          <a:pt x="661006" y="187193"/>
                        </a:lnTo>
                        <a:cubicBezTo>
                          <a:pt x="680206" y="181708"/>
                          <a:pt x="696662" y="162509"/>
                          <a:pt x="696662" y="140567"/>
                        </a:cubicBezTo>
                        <a:lnTo>
                          <a:pt x="696662" y="115881"/>
                        </a:lnTo>
                        <a:cubicBezTo>
                          <a:pt x="696662" y="110396"/>
                          <a:pt x="691178" y="104911"/>
                          <a:pt x="685692" y="104911"/>
                        </a:cubicBezTo>
                        <a:lnTo>
                          <a:pt x="482726" y="104911"/>
                        </a:lnTo>
                        <a:cubicBezTo>
                          <a:pt x="449813" y="104911"/>
                          <a:pt x="422385" y="132338"/>
                          <a:pt x="422385" y="165251"/>
                        </a:cubicBezTo>
                        <a:lnTo>
                          <a:pt x="422385" y="231078"/>
                        </a:lnTo>
                        <a:cubicBezTo>
                          <a:pt x="422385" y="272219"/>
                          <a:pt x="441585" y="307875"/>
                          <a:pt x="471756" y="329817"/>
                        </a:cubicBezTo>
                        <a:lnTo>
                          <a:pt x="397701" y="329817"/>
                        </a:lnTo>
                        <a:cubicBezTo>
                          <a:pt x="397701" y="327074"/>
                          <a:pt x="400443" y="321589"/>
                          <a:pt x="400443" y="318846"/>
                        </a:cubicBezTo>
                        <a:lnTo>
                          <a:pt x="400443" y="11657"/>
                        </a:lnTo>
                        <a:cubicBezTo>
                          <a:pt x="400443" y="6171"/>
                          <a:pt x="394958" y="686"/>
                          <a:pt x="389473" y="686"/>
                        </a:cubicBezTo>
                        <a:lnTo>
                          <a:pt x="10970" y="686"/>
                        </a:lnTo>
                        <a:cubicBezTo>
                          <a:pt x="5486" y="686"/>
                          <a:pt x="0" y="6171"/>
                          <a:pt x="0" y="11657"/>
                        </a:cubicBezTo>
                        <a:lnTo>
                          <a:pt x="0" y="318846"/>
                        </a:lnTo>
                        <a:cubicBezTo>
                          <a:pt x="0" y="338045"/>
                          <a:pt x="16456" y="354502"/>
                          <a:pt x="35656" y="354502"/>
                        </a:cubicBezTo>
                        <a:lnTo>
                          <a:pt x="117939" y="354502"/>
                        </a:lnTo>
                        <a:lnTo>
                          <a:pt x="117939" y="379187"/>
                        </a:lnTo>
                        <a:cubicBezTo>
                          <a:pt x="117939" y="412100"/>
                          <a:pt x="145366" y="439527"/>
                          <a:pt x="178280" y="439527"/>
                        </a:cubicBezTo>
                        <a:lnTo>
                          <a:pt x="414157" y="439527"/>
                        </a:lnTo>
                        <a:lnTo>
                          <a:pt x="414157" y="664434"/>
                        </a:lnTo>
                        <a:lnTo>
                          <a:pt x="320904" y="999051"/>
                        </a:lnTo>
                        <a:cubicBezTo>
                          <a:pt x="279763" y="1004537"/>
                          <a:pt x="246849" y="1040193"/>
                          <a:pt x="246849" y="1081334"/>
                        </a:cubicBezTo>
                        <a:cubicBezTo>
                          <a:pt x="246849" y="1086820"/>
                          <a:pt x="252335" y="1092305"/>
                          <a:pt x="257819" y="1092305"/>
                        </a:cubicBezTo>
                        <a:lnTo>
                          <a:pt x="471756" y="1092305"/>
                        </a:lnTo>
                        <a:cubicBezTo>
                          <a:pt x="477241" y="1092305"/>
                          <a:pt x="482726" y="1086820"/>
                          <a:pt x="482726" y="1081334"/>
                        </a:cubicBezTo>
                        <a:lnTo>
                          <a:pt x="482726" y="1010022"/>
                        </a:lnTo>
                        <a:lnTo>
                          <a:pt x="543068" y="774144"/>
                        </a:lnTo>
                        <a:lnTo>
                          <a:pt x="603409" y="1010022"/>
                        </a:lnTo>
                        <a:lnTo>
                          <a:pt x="603409" y="1078591"/>
                        </a:lnTo>
                        <a:cubicBezTo>
                          <a:pt x="603409" y="1084077"/>
                          <a:pt x="608895" y="1089562"/>
                          <a:pt x="614379" y="1089562"/>
                        </a:cubicBezTo>
                        <a:lnTo>
                          <a:pt x="828316" y="1089562"/>
                        </a:lnTo>
                        <a:cubicBezTo>
                          <a:pt x="833800" y="1089562"/>
                          <a:pt x="839286" y="1084077"/>
                          <a:pt x="839286" y="1078591"/>
                        </a:cubicBezTo>
                        <a:cubicBezTo>
                          <a:pt x="839286" y="1031964"/>
                          <a:pt x="800888" y="996308"/>
                          <a:pt x="757003" y="996308"/>
                        </a:cubicBezTo>
                        <a:lnTo>
                          <a:pt x="754261" y="996308"/>
                        </a:lnTo>
                        <a:lnTo>
                          <a:pt x="674720" y="661691"/>
                        </a:lnTo>
                        <a:lnTo>
                          <a:pt x="674720" y="436785"/>
                        </a:lnTo>
                        <a:lnTo>
                          <a:pt x="910599" y="436785"/>
                        </a:lnTo>
                        <a:cubicBezTo>
                          <a:pt x="924313" y="436785"/>
                          <a:pt x="935283" y="431299"/>
                          <a:pt x="946255" y="425814"/>
                        </a:cubicBezTo>
                        <a:lnTo>
                          <a:pt x="946255" y="521810"/>
                        </a:lnTo>
                        <a:cubicBezTo>
                          <a:pt x="946255" y="527296"/>
                          <a:pt x="951741" y="532782"/>
                          <a:pt x="957225" y="532782"/>
                        </a:cubicBezTo>
                        <a:cubicBezTo>
                          <a:pt x="962711" y="532782"/>
                          <a:pt x="968197" y="527296"/>
                          <a:pt x="968197" y="521810"/>
                        </a:cubicBezTo>
                        <a:lnTo>
                          <a:pt x="968197" y="118624"/>
                        </a:lnTo>
                        <a:lnTo>
                          <a:pt x="1014824" y="118624"/>
                        </a:lnTo>
                        <a:lnTo>
                          <a:pt x="1014824" y="250277"/>
                        </a:lnTo>
                        <a:cubicBezTo>
                          <a:pt x="1014824" y="255762"/>
                          <a:pt x="1020310" y="261248"/>
                          <a:pt x="1025794" y="261248"/>
                        </a:cubicBezTo>
                        <a:cubicBezTo>
                          <a:pt x="1031280" y="261248"/>
                          <a:pt x="1036766" y="255762"/>
                          <a:pt x="1036766" y="250277"/>
                        </a:cubicBezTo>
                        <a:lnTo>
                          <a:pt x="1036766" y="118624"/>
                        </a:lnTo>
                        <a:lnTo>
                          <a:pt x="1061451" y="118624"/>
                        </a:lnTo>
                        <a:lnTo>
                          <a:pt x="1061451" y="557466"/>
                        </a:lnTo>
                        <a:lnTo>
                          <a:pt x="954483" y="557466"/>
                        </a:lnTo>
                        <a:cubicBezTo>
                          <a:pt x="948997" y="557466"/>
                          <a:pt x="943511" y="562952"/>
                          <a:pt x="943511" y="568437"/>
                        </a:cubicBezTo>
                        <a:lnTo>
                          <a:pt x="943511" y="650720"/>
                        </a:lnTo>
                        <a:cubicBezTo>
                          <a:pt x="943511" y="683634"/>
                          <a:pt x="970939" y="711061"/>
                          <a:pt x="1003852" y="711061"/>
                        </a:cubicBezTo>
                        <a:lnTo>
                          <a:pt x="1028538" y="711061"/>
                        </a:lnTo>
                        <a:cubicBezTo>
                          <a:pt x="1061451" y="711061"/>
                          <a:pt x="1088879" y="683634"/>
                          <a:pt x="1088879" y="650720"/>
                        </a:cubicBezTo>
                        <a:lnTo>
                          <a:pt x="1088879" y="104911"/>
                        </a:lnTo>
                        <a:cubicBezTo>
                          <a:pt x="1091621" y="104911"/>
                          <a:pt x="1091621" y="104911"/>
                          <a:pt x="1088879" y="102168"/>
                        </a:cubicBezTo>
                        <a:lnTo>
                          <a:pt x="1088879" y="102168"/>
                        </a:lnTo>
                        <a:close/>
                        <a:moveTo>
                          <a:pt x="452557" y="167994"/>
                        </a:moveTo>
                        <a:cubicBezTo>
                          <a:pt x="452557" y="148795"/>
                          <a:pt x="469013" y="132338"/>
                          <a:pt x="488212" y="132338"/>
                        </a:cubicBezTo>
                        <a:lnTo>
                          <a:pt x="677464" y="132338"/>
                        </a:lnTo>
                        <a:lnTo>
                          <a:pt x="677464" y="143309"/>
                        </a:lnTo>
                        <a:cubicBezTo>
                          <a:pt x="677464" y="157023"/>
                          <a:pt x="666492" y="167994"/>
                          <a:pt x="652778" y="167994"/>
                        </a:cubicBezTo>
                        <a:lnTo>
                          <a:pt x="499184" y="167994"/>
                        </a:lnTo>
                        <a:cubicBezTo>
                          <a:pt x="493698" y="167994"/>
                          <a:pt x="488212" y="173480"/>
                          <a:pt x="488212" y="178965"/>
                        </a:cubicBezTo>
                        <a:lnTo>
                          <a:pt x="488212" y="189936"/>
                        </a:lnTo>
                        <a:cubicBezTo>
                          <a:pt x="488212" y="209136"/>
                          <a:pt x="471756" y="225592"/>
                          <a:pt x="452557" y="225592"/>
                        </a:cubicBezTo>
                        <a:lnTo>
                          <a:pt x="452557" y="167994"/>
                        </a:lnTo>
                        <a:close/>
                        <a:moveTo>
                          <a:pt x="452557" y="250277"/>
                        </a:moveTo>
                        <a:cubicBezTo>
                          <a:pt x="485470" y="250277"/>
                          <a:pt x="510154" y="222849"/>
                          <a:pt x="510154" y="189936"/>
                        </a:cubicBezTo>
                        <a:lnTo>
                          <a:pt x="641807" y="189936"/>
                        </a:lnTo>
                        <a:lnTo>
                          <a:pt x="641807" y="200907"/>
                        </a:lnTo>
                        <a:cubicBezTo>
                          <a:pt x="641807" y="203650"/>
                          <a:pt x="641807" y="203650"/>
                          <a:pt x="641807" y="206393"/>
                        </a:cubicBezTo>
                        <a:lnTo>
                          <a:pt x="658264" y="250277"/>
                        </a:lnTo>
                        <a:lnTo>
                          <a:pt x="650036" y="250277"/>
                        </a:lnTo>
                        <a:cubicBezTo>
                          <a:pt x="644550" y="250277"/>
                          <a:pt x="639064" y="253020"/>
                          <a:pt x="639064" y="258505"/>
                        </a:cubicBezTo>
                        <a:cubicBezTo>
                          <a:pt x="628093" y="302389"/>
                          <a:pt x="589695" y="332560"/>
                          <a:pt x="543068" y="332560"/>
                        </a:cubicBezTo>
                        <a:cubicBezTo>
                          <a:pt x="499184" y="332560"/>
                          <a:pt x="460785" y="296904"/>
                          <a:pt x="452557" y="250277"/>
                        </a:cubicBezTo>
                        <a:lnTo>
                          <a:pt x="452557" y="250277"/>
                        </a:lnTo>
                        <a:close/>
                        <a:moveTo>
                          <a:pt x="1020310" y="36342"/>
                        </a:moveTo>
                        <a:lnTo>
                          <a:pt x="1058708" y="96682"/>
                        </a:lnTo>
                        <a:lnTo>
                          <a:pt x="981910" y="96682"/>
                        </a:lnTo>
                        <a:lnTo>
                          <a:pt x="1020310" y="36342"/>
                        </a:lnTo>
                        <a:close/>
                        <a:moveTo>
                          <a:pt x="381244" y="285933"/>
                        </a:moveTo>
                        <a:lnTo>
                          <a:pt x="213936" y="285933"/>
                        </a:lnTo>
                        <a:lnTo>
                          <a:pt x="213936" y="25371"/>
                        </a:lnTo>
                        <a:lnTo>
                          <a:pt x="381244" y="25371"/>
                        </a:lnTo>
                        <a:lnTo>
                          <a:pt x="381244" y="285933"/>
                        </a:lnTo>
                        <a:close/>
                        <a:moveTo>
                          <a:pt x="24684" y="321589"/>
                        </a:moveTo>
                        <a:lnTo>
                          <a:pt x="24684" y="25371"/>
                        </a:lnTo>
                        <a:lnTo>
                          <a:pt x="191994" y="25371"/>
                        </a:lnTo>
                        <a:lnTo>
                          <a:pt x="191994" y="285933"/>
                        </a:lnTo>
                        <a:lnTo>
                          <a:pt x="60341" y="285933"/>
                        </a:lnTo>
                        <a:cubicBezTo>
                          <a:pt x="54855" y="285933"/>
                          <a:pt x="49369" y="291418"/>
                          <a:pt x="49369" y="296904"/>
                        </a:cubicBezTo>
                        <a:cubicBezTo>
                          <a:pt x="49369" y="302389"/>
                          <a:pt x="54855" y="307875"/>
                          <a:pt x="60341" y="307875"/>
                        </a:cubicBezTo>
                        <a:lnTo>
                          <a:pt x="381244" y="307875"/>
                        </a:lnTo>
                        <a:lnTo>
                          <a:pt x="381244" y="318846"/>
                        </a:lnTo>
                        <a:cubicBezTo>
                          <a:pt x="381244" y="324332"/>
                          <a:pt x="375759" y="329817"/>
                          <a:pt x="370274" y="329817"/>
                        </a:cubicBezTo>
                        <a:lnTo>
                          <a:pt x="35656" y="329817"/>
                        </a:lnTo>
                        <a:cubicBezTo>
                          <a:pt x="30170" y="332560"/>
                          <a:pt x="24684" y="327074"/>
                          <a:pt x="24684" y="321589"/>
                        </a:cubicBezTo>
                        <a:lnTo>
                          <a:pt x="24684" y="321589"/>
                        </a:lnTo>
                        <a:close/>
                        <a:moveTo>
                          <a:pt x="142624" y="381930"/>
                        </a:moveTo>
                        <a:lnTo>
                          <a:pt x="142624" y="357245"/>
                        </a:lnTo>
                        <a:lnTo>
                          <a:pt x="178280" y="357245"/>
                        </a:lnTo>
                        <a:lnTo>
                          <a:pt x="178280" y="417585"/>
                        </a:lnTo>
                        <a:cubicBezTo>
                          <a:pt x="159080" y="417585"/>
                          <a:pt x="142624" y="401129"/>
                          <a:pt x="142624" y="381930"/>
                        </a:cubicBezTo>
                        <a:lnTo>
                          <a:pt x="142624" y="381930"/>
                        </a:lnTo>
                        <a:close/>
                        <a:moveTo>
                          <a:pt x="463527" y="1067620"/>
                        </a:moveTo>
                        <a:lnTo>
                          <a:pt x="274277" y="1067620"/>
                        </a:lnTo>
                        <a:cubicBezTo>
                          <a:pt x="279763" y="1040193"/>
                          <a:pt x="304447" y="1020993"/>
                          <a:pt x="331874" y="1020993"/>
                        </a:cubicBezTo>
                        <a:lnTo>
                          <a:pt x="463527" y="1020993"/>
                        </a:lnTo>
                        <a:lnTo>
                          <a:pt x="463527" y="1067620"/>
                        </a:lnTo>
                        <a:close/>
                        <a:moveTo>
                          <a:pt x="817344" y="1067620"/>
                        </a:moveTo>
                        <a:lnTo>
                          <a:pt x="628093" y="1067620"/>
                        </a:lnTo>
                        <a:lnTo>
                          <a:pt x="628093" y="1020993"/>
                        </a:lnTo>
                        <a:lnTo>
                          <a:pt x="759747" y="1020993"/>
                        </a:lnTo>
                        <a:cubicBezTo>
                          <a:pt x="787175" y="1020993"/>
                          <a:pt x="811858" y="1042935"/>
                          <a:pt x="817344" y="1067620"/>
                        </a:cubicBezTo>
                        <a:lnTo>
                          <a:pt x="817344" y="1067620"/>
                        </a:lnTo>
                        <a:close/>
                        <a:moveTo>
                          <a:pt x="663750" y="417585"/>
                        </a:moveTo>
                        <a:cubicBezTo>
                          <a:pt x="658264" y="417585"/>
                          <a:pt x="652778" y="423071"/>
                          <a:pt x="652778" y="428557"/>
                        </a:cubicBezTo>
                        <a:lnTo>
                          <a:pt x="652778" y="631521"/>
                        </a:lnTo>
                        <a:lnTo>
                          <a:pt x="474498" y="631521"/>
                        </a:lnTo>
                        <a:cubicBezTo>
                          <a:pt x="469013" y="631521"/>
                          <a:pt x="463527" y="637006"/>
                          <a:pt x="463527" y="642492"/>
                        </a:cubicBezTo>
                        <a:cubicBezTo>
                          <a:pt x="463527" y="647978"/>
                          <a:pt x="469013" y="653463"/>
                          <a:pt x="474498" y="653463"/>
                        </a:cubicBezTo>
                        <a:lnTo>
                          <a:pt x="652778" y="653463"/>
                        </a:lnTo>
                        <a:lnTo>
                          <a:pt x="652778" y="664434"/>
                        </a:lnTo>
                        <a:cubicBezTo>
                          <a:pt x="652778" y="664434"/>
                          <a:pt x="652778" y="667177"/>
                          <a:pt x="652778" y="667177"/>
                        </a:cubicBezTo>
                        <a:lnTo>
                          <a:pt x="732319" y="996308"/>
                        </a:lnTo>
                        <a:lnTo>
                          <a:pt x="625351" y="996308"/>
                        </a:lnTo>
                        <a:lnTo>
                          <a:pt x="556781" y="722032"/>
                        </a:lnTo>
                        <a:cubicBezTo>
                          <a:pt x="556781" y="716547"/>
                          <a:pt x="551296" y="713804"/>
                          <a:pt x="545810" y="713804"/>
                        </a:cubicBezTo>
                        <a:cubicBezTo>
                          <a:pt x="540326" y="713804"/>
                          <a:pt x="534840" y="716547"/>
                          <a:pt x="534840" y="722032"/>
                        </a:cubicBezTo>
                        <a:lnTo>
                          <a:pt x="466270" y="996308"/>
                        </a:lnTo>
                        <a:lnTo>
                          <a:pt x="348332" y="996308"/>
                        </a:lnTo>
                        <a:lnTo>
                          <a:pt x="438843" y="667177"/>
                        </a:lnTo>
                        <a:cubicBezTo>
                          <a:pt x="438843" y="667177"/>
                          <a:pt x="438843" y="664434"/>
                          <a:pt x="438843" y="664434"/>
                        </a:cubicBezTo>
                        <a:lnTo>
                          <a:pt x="438843" y="428557"/>
                        </a:lnTo>
                        <a:cubicBezTo>
                          <a:pt x="438843" y="423071"/>
                          <a:pt x="433357" y="417585"/>
                          <a:pt x="427871" y="417585"/>
                        </a:cubicBezTo>
                        <a:lnTo>
                          <a:pt x="202964" y="417585"/>
                        </a:lnTo>
                        <a:lnTo>
                          <a:pt x="202964" y="357245"/>
                        </a:lnTo>
                        <a:lnTo>
                          <a:pt x="891399" y="357245"/>
                        </a:lnTo>
                        <a:lnTo>
                          <a:pt x="891399" y="417585"/>
                        </a:lnTo>
                        <a:lnTo>
                          <a:pt x="663750" y="417585"/>
                        </a:lnTo>
                        <a:close/>
                        <a:moveTo>
                          <a:pt x="913341" y="417585"/>
                        </a:moveTo>
                        <a:lnTo>
                          <a:pt x="913341" y="357245"/>
                        </a:lnTo>
                        <a:lnTo>
                          <a:pt x="948997" y="357245"/>
                        </a:lnTo>
                        <a:lnTo>
                          <a:pt x="948997" y="381930"/>
                        </a:lnTo>
                        <a:cubicBezTo>
                          <a:pt x="948997" y="401129"/>
                          <a:pt x="932541" y="417585"/>
                          <a:pt x="913341" y="417585"/>
                        </a:cubicBezTo>
                        <a:lnTo>
                          <a:pt x="913341" y="417585"/>
                        </a:lnTo>
                        <a:close/>
                        <a:moveTo>
                          <a:pt x="1066936" y="582151"/>
                        </a:moveTo>
                        <a:lnTo>
                          <a:pt x="1066936" y="606836"/>
                        </a:lnTo>
                        <a:lnTo>
                          <a:pt x="970939" y="606836"/>
                        </a:lnTo>
                        <a:lnTo>
                          <a:pt x="970939" y="582151"/>
                        </a:lnTo>
                        <a:lnTo>
                          <a:pt x="1066936" y="582151"/>
                        </a:lnTo>
                        <a:close/>
                        <a:moveTo>
                          <a:pt x="1031280" y="689119"/>
                        </a:moveTo>
                        <a:lnTo>
                          <a:pt x="1006596" y="689119"/>
                        </a:lnTo>
                        <a:cubicBezTo>
                          <a:pt x="987396" y="689119"/>
                          <a:pt x="970939" y="672662"/>
                          <a:pt x="970939" y="653463"/>
                        </a:cubicBezTo>
                        <a:lnTo>
                          <a:pt x="970939" y="628778"/>
                        </a:lnTo>
                        <a:lnTo>
                          <a:pt x="1066936" y="628778"/>
                        </a:lnTo>
                        <a:lnTo>
                          <a:pt x="1066936" y="653463"/>
                        </a:lnTo>
                        <a:cubicBezTo>
                          <a:pt x="1066936" y="672662"/>
                          <a:pt x="1053222" y="689119"/>
                          <a:pt x="1031280" y="689119"/>
                        </a:cubicBezTo>
                        <a:lnTo>
                          <a:pt x="1031280" y="689119"/>
                        </a:lnTo>
                        <a:close/>
                      </a:path>
                    </a:pathLst>
                  </a:custGeom>
                  <a:grpFill/>
                  <a:ln w="27426" cap="flat">
                    <a:noFill/>
                    <a:prstDash val="solid"/>
                    <a:miter/>
                  </a:ln>
                </p:spPr>
                <p:txBody>
                  <a:bodyPr rtlCol="0" anchor="ctr"/>
                  <a:lstStyle/>
                  <a:p>
                    <a:pPr algn="l" rtl="0"/>
                    <a:endParaRPr lang="en-US"/>
                  </a:p>
                </p:txBody>
              </p:sp>
            </p:grpSp>
            <p:sp>
              <p:nvSpPr>
                <p:cNvPr id="386" name="Freeform 385">
                  <a:extLst>
                    <a:ext uri="{FF2B5EF4-FFF2-40B4-BE49-F238E27FC236}">
                      <a16:creationId xmlns:a16="http://schemas.microsoft.com/office/drawing/2014/main" id="{7801D2B5-ADDF-EA61-4FF3-252C70DE31B1}"/>
                    </a:ext>
                  </a:extLst>
                </p:cNvPr>
                <p:cNvSpPr/>
                <p:nvPr/>
              </p:nvSpPr>
              <p:spPr>
                <a:xfrm>
                  <a:off x="7624966" y="3971001"/>
                  <a:ext cx="21941" cy="58311"/>
                </a:xfrm>
                <a:custGeom>
                  <a:avLst/>
                  <a:gdLst>
                    <a:gd name="connsiteX0" fmla="*/ 21942 w 21941"/>
                    <a:gd name="connsiteY0" fmla="*/ 46627 h 58311"/>
                    <a:gd name="connsiteX1" fmla="*/ 21942 w 21941"/>
                    <a:gd name="connsiteY1" fmla="*/ 10971 h 58311"/>
                    <a:gd name="connsiteX2" fmla="*/ 10972 w 21941"/>
                    <a:gd name="connsiteY2" fmla="*/ 0 h 58311"/>
                    <a:gd name="connsiteX3" fmla="*/ 0 w 21941"/>
                    <a:gd name="connsiteY3" fmla="*/ 10971 h 58311"/>
                    <a:gd name="connsiteX4" fmla="*/ 0 w 21941"/>
                    <a:gd name="connsiteY4" fmla="*/ 46627 h 58311"/>
                    <a:gd name="connsiteX5" fmla="*/ 10972 w 21941"/>
                    <a:gd name="connsiteY5" fmla="*/ 57598 h 58311"/>
                    <a:gd name="connsiteX6" fmla="*/ 21942 w 21941"/>
                    <a:gd name="connsiteY6" fmla="*/ 46627 h 58311"/>
                    <a:gd name="connsiteX7" fmla="*/ 21942 w 21941"/>
                    <a:gd name="connsiteY7" fmla="*/ 46627 h 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58311">
                      <a:moveTo>
                        <a:pt x="21942" y="46627"/>
                      </a:moveTo>
                      <a:lnTo>
                        <a:pt x="21942" y="10971"/>
                      </a:lnTo>
                      <a:cubicBezTo>
                        <a:pt x="21942" y="5485"/>
                        <a:pt x="16456" y="0"/>
                        <a:pt x="10972" y="0"/>
                      </a:cubicBezTo>
                      <a:cubicBezTo>
                        <a:pt x="5486" y="0"/>
                        <a:pt x="0" y="5485"/>
                        <a:pt x="0" y="10971"/>
                      </a:cubicBezTo>
                      <a:lnTo>
                        <a:pt x="0" y="46627"/>
                      </a:lnTo>
                      <a:cubicBezTo>
                        <a:pt x="0" y="52112"/>
                        <a:pt x="5486" y="57598"/>
                        <a:pt x="10972" y="57598"/>
                      </a:cubicBezTo>
                      <a:cubicBezTo>
                        <a:pt x="16456" y="60341"/>
                        <a:pt x="21942" y="54855"/>
                        <a:pt x="21942" y="46627"/>
                      </a:cubicBezTo>
                      <a:lnTo>
                        <a:pt x="21942" y="46627"/>
                      </a:lnTo>
                      <a:close/>
                    </a:path>
                  </a:pathLst>
                </a:custGeom>
                <a:grpFill/>
                <a:ln w="27426" cap="flat">
                  <a:noFill/>
                  <a:prstDash val="solid"/>
                  <a:miter/>
                </a:ln>
              </p:spPr>
              <p:txBody>
                <a:bodyPr rtlCol="0" anchor="ctr"/>
                <a:lstStyle/>
                <a:p>
                  <a:pPr algn="l" rtl="0"/>
                  <a:endParaRPr lang="en-US"/>
                </a:p>
              </p:txBody>
            </p:sp>
            <p:sp>
              <p:nvSpPr>
                <p:cNvPr id="387" name="Freeform 386">
                  <a:extLst>
                    <a:ext uri="{FF2B5EF4-FFF2-40B4-BE49-F238E27FC236}">
                      <a16:creationId xmlns:a16="http://schemas.microsoft.com/office/drawing/2014/main" id="{1390F871-3005-9CA5-A460-50FBA48E968A}"/>
                    </a:ext>
                  </a:extLst>
                </p:cNvPr>
                <p:cNvSpPr/>
                <p:nvPr/>
              </p:nvSpPr>
              <p:spPr>
                <a:xfrm>
                  <a:off x="6651284" y="373512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pPr algn="l" rtl="0"/>
                  <a:endParaRPr lang="en-US"/>
                </a:p>
              </p:txBody>
            </p:sp>
            <p:sp>
              <p:nvSpPr>
                <p:cNvPr id="388" name="Freeform 387">
                  <a:extLst>
                    <a:ext uri="{FF2B5EF4-FFF2-40B4-BE49-F238E27FC236}">
                      <a16:creationId xmlns:a16="http://schemas.microsoft.com/office/drawing/2014/main" id="{FA59CF37-854B-F75A-EF5D-F49808144E4E}"/>
                    </a:ext>
                  </a:extLst>
                </p:cNvPr>
                <p:cNvSpPr/>
                <p:nvPr/>
              </p:nvSpPr>
              <p:spPr>
                <a:xfrm>
                  <a:off x="6651284" y="3784493"/>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6"/>
                        <a:pt x="117939" y="10971"/>
                      </a:cubicBezTo>
                      <a:cubicBezTo>
                        <a:pt x="117939" y="5485"/>
                        <a:pt x="112453" y="0"/>
                        <a:pt x="106969" y="0"/>
                      </a:cubicBezTo>
                      <a:lnTo>
                        <a:pt x="10972" y="0"/>
                      </a:lnTo>
                      <a:cubicBezTo>
                        <a:pt x="5486" y="0"/>
                        <a:pt x="0" y="5485"/>
                        <a:pt x="0" y="10971"/>
                      </a:cubicBezTo>
                      <a:cubicBezTo>
                        <a:pt x="0" y="16456"/>
                        <a:pt x="2742" y="21942"/>
                        <a:pt x="10972" y="21942"/>
                      </a:cubicBezTo>
                      <a:lnTo>
                        <a:pt x="10972" y="21942"/>
                      </a:lnTo>
                      <a:close/>
                    </a:path>
                  </a:pathLst>
                </a:custGeom>
                <a:grpFill/>
                <a:ln w="27426" cap="flat">
                  <a:noFill/>
                  <a:prstDash val="solid"/>
                  <a:miter/>
                </a:ln>
              </p:spPr>
              <p:txBody>
                <a:bodyPr rtlCol="0" anchor="ctr"/>
                <a:lstStyle/>
                <a:p>
                  <a:pPr algn="l" rtl="0"/>
                  <a:endParaRPr lang="en-US"/>
                </a:p>
              </p:txBody>
            </p:sp>
            <p:sp>
              <p:nvSpPr>
                <p:cNvPr id="389" name="Freeform 388">
                  <a:extLst>
                    <a:ext uri="{FF2B5EF4-FFF2-40B4-BE49-F238E27FC236}">
                      <a16:creationId xmlns:a16="http://schemas.microsoft.com/office/drawing/2014/main" id="{FC5CB08F-9D38-B7F5-A53B-BC21BD749285}"/>
                    </a:ext>
                  </a:extLst>
                </p:cNvPr>
                <p:cNvSpPr/>
                <p:nvPr/>
              </p:nvSpPr>
              <p:spPr>
                <a:xfrm>
                  <a:off x="6651284" y="3831120"/>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pPr algn="l" rtl="0"/>
                  <a:endParaRPr lang="en-US"/>
                </a:p>
              </p:txBody>
            </p:sp>
            <p:sp>
              <p:nvSpPr>
                <p:cNvPr id="390" name="Freeform 389">
                  <a:extLst>
                    <a:ext uri="{FF2B5EF4-FFF2-40B4-BE49-F238E27FC236}">
                      <a16:creationId xmlns:a16="http://schemas.microsoft.com/office/drawing/2014/main" id="{5989E643-F217-0C8C-4019-F18173669413}"/>
                    </a:ext>
                  </a:extLst>
                </p:cNvPr>
                <p:cNvSpPr/>
                <p:nvPr/>
              </p:nvSpPr>
              <p:spPr>
                <a:xfrm>
                  <a:off x="6651284" y="3877747"/>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pPr algn="l" rtl="0"/>
                  <a:endParaRPr lang="en-US"/>
                </a:p>
              </p:txBody>
            </p:sp>
            <p:sp>
              <p:nvSpPr>
                <p:cNvPr id="391" name="Freeform 390">
                  <a:extLst>
                    <a:ext uri="{FF2B5EF4-FFF2-40B4-BE49-F238E27FC236}">
                      <a16:creationId xmlns:a16="http://schemas.microsoft.com/office/drawing/2014/main" id="{9FA89284-DD5C-58FC-BA1C-C98CDCD46699}"/>
                    </a:ext>
                  </a:extLst>
                </p:cNvPr>
                <p:cNvSpPr/>
                <p:nvPr/>
              </p:nvSpPr>
              <p:spPr>
                <a:xfrm>
                  <a:off x="6651284" y="392437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6"/>
                        <a:pt x="112453" y="0"/>
                        <a:pt x="106969" y="0"/>
                      </a:cubicBezTo>
                      <a:lnTo>
                        <a:pt x="10972" y="0"/>
                      </a:lnTo>
                      <a:cubicBezTo>
                        <a:pt x="5486" y="0"/>
                        <a:pt x="0" y="5486"/>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pPr algn="l" rtl="0"/>
                  <a:endParaRPr lang="en-US"/>
                </a:p>
              </p:txBody>
            </p:sp>
            <p:sp>
              <p:nvSpPr>
                <p:cNvPr id="392" name="Freeform 391">
                  <a:extLst>
                    <a:ext uri="{FF2B5EF4-FFF2-40B4-BE49-F238E27FC236}">
                      <a16:creationId xmlns:a16="http://schemas.microsoft.com/office/drawing/2014/main" id="{AB84C811-C875-B6DE-C0B2-40F40B3D7EEE}"/>
                    </a:ext>
                  </a:extLst>
                </p:cNvPr>
                <p:cNvSpPr/>
                <p:nvPr/>
              </p:nvSpPr>
              <p:spPr>
                <a:xfrm>
                  <a:off x="6840535" y="373512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pPr algn="l" rtl="0"/>
                  <a:endParaRPr lang="en-US"/>
                </a:p>
              </p:txBody>
            </p:sp>
            <p:sp>
              <p:nvSpPr>
                <p:cNvPr id="393" name="Freeform 392">
                  <a:extLst>
                    <a:ext uri="{FF2B5EF4-FFF2-40B4-BE49-F238E27FC236}">
                      <a16:creationId xmlns:a16="http://schemas.microsoft.com/office/drawing/2014/main" id="{B7ED95BB-B861-D32B-77AB-2EA3C764F880}"/>
                    </a:ext>
                  </a:extLst>
                </p:cNvPr>
                <p:cNvSpPr/>
                <p:nvPr/>
              </p:nvSpPr>
              <p:spPr>
                <a:xfrm>
                  <a:off x="6840535" y="3784493"/>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6"/>
                        <a:pt x="117939" y="10971"/>
                      </a:cubicBezTo>
                      <a:cubicBezTo>
                        <a:pt x="117939" y="5485"/>
                        <a:pt x="112453" y="0"/>
                        <a:pt x="106967" y="0"/>
                      </a:cubicBezTo>
                      <a:lnTo>
                        <a:pt x="10970" y="0"/>
                      </a:lnTo>
                      <a:cubicBezTo>
                        <a:pt x="5484" y="0"/>
                        <a:pt x="0" y="5485"/>
                        <a:pt x="0" y="10971"/>
                      </a:cubicBezTo>
                      <a:cubicBezTo>
                        <a:pt x="0" y="16456"/>
                        <a:pt x="5484" y="21942"/>
                        <a:pt x="10970" y="21942"/>
                      </a:cubicBezTo>
                      <a:lnTo>
                        <a:pt x="10970" y="21942"/>
                      </a:lnTo>
                      <a:close/>
                    </a:path>
                  </a:pathLst>
                </a:custGeom>
                <a:grpFill/>
                <a:ln w="27426" cap="flat">
                  <a:noFill/>
                  <a:prstDash val="solid"/>
                  <a:miter/>
                </a:ln>
              </p:spPr>
              <p:txBody>
                <a:bodyPr rtlCol="0" anchor="ctr"/>
                <a:lstStyle/>
                <a:p>
                  <a:pPr algn="l" rtl="0"/>
                  <a:endParaRPr lang="en-US"/>
                </a:p>
              </p:txBody>
            </p:sp>
            <p:sp>
              <p:nvSpPr>
                <p:cNvPr id="394" name="Freeform 393">
                  <a:extLst>
                    <a:ext uri="{FF2B5EF4-FFF2-40B4-BE49-F238E27FC236}">
                      <a16:creationId xmlns:a16="http://schemas.microsoft.com/office/drawing/2014/main" id="{A1526CD4-F68C-30DB-9459-28273066F604}"/>
                    </a:ext>
                  </a:extLst>
                </p:cNvPr>
                <p:cNvSpPr/>
                <p:nvPr/>
              </p:nvSpPr>
              <p:spPr>
                <a:xfrm>
                  <a:off x="6840535" y="3831120"/>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pPr algn="l" rtl="0"/>
                  <a:endParaRPr lang="en-US"/>
                </a:p>
              </p:txBody>
            </p:sp>
            <p:sp>
              <p:nvSpPr>
                <p:cNvPr id="395" name="Freeform 394">
                  <a:extLst>
                    <a:ext uri="{FF2B5EF4-FFF2-40B4-BE49-F238E27FC236}">
                      <a16:creationId xmlns:a16="http://schemas.microsoft.com/office/drawing/2014/main" id="{347FFE9C-5538-D5E4-7937-FF1CFD501889}"/>
                    </a:ext>
                  </a:extLst>
                </p:cNvPr>
                <p:cNvSpPr/>
                <p:nvPr/>
              </p:nvSpPr>
              <p:spPr>
                <a:xfrm>
                  <a:off x="6840535" y="3877747"/>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pPr algn="l" rtl="0"/>
                  <a:endParaRPr lang="en-US"/>
                </a:p>
              </p:txBody>
            </p:sp>
            <p:sp>
              <p:nvSpPr>
                <p:cNvPr id="396" name="Freeform 395">
                  <a:extLst>
                    <a:ext uri="{FF2B5EF4-FFF2-40B4-BE49-F238E27FC236}">
                      <a16:creationId xmlns:a16="http://schemas.microsoft.com/office/drawing/2014/main" id="{9341D331-ACB8-C704-28E5-8F759F25A06A}"/>
                    </a:ext>
                  </a:extLst>
                </p:cNvPr>
                <p:cNvSpPr/>
                <p:nvPr/>
              </p:nvSpPr>
              <p:spPr>
                <a:xfrm>
                  <a:off x="6840535" y="392437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6"/>
                        <a:pt x="112453" y="0"/>
                        <a:pt x="106967" y="0"/>
                      </a:cubicBezTo>
                      <a:lnTo>
                        <a:pt x="10970" y="0"/>
                      </a:lnTo>
                      <a:cubicBezTo>
                        <a:pt x="5484" y="0"/>
                        <a:pt x="0" y="5486"/>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pPr algn="l" rtl="0"/>
                  <a:endParaRPr lang="en-US"/>
                </a:p>
              </p:txBody>
            </p:sp>
            <p:sp>
              <p:nvSpPr>
                <p:cNvPr id="397" name="Freeform 396">
                  <a:extLst>
                    <a:ext uri="{FF2B5EF4-FFF2-40B4-BE49-F238E27FC236}">
                      <a16:creationId xmlns:a16="http://schemas.microsoft.com/office/drawing/2014/main" id="{FCAEE8A9-0890-4D8E-4FE2-1E18E275DC3C}"/>
                    </a:ext>
                  </a:extLst>
                </p:cNvPr>
                <p:cNvSpPr/>
                <p:nvPr/>
              </p:nvSpPr>
              <p:spPr>
                <a:xfrm>
                  <a:off x="6673225" y="4138309"/>
                  <a:ext cx="22655" cy="175537"/>
                </a:xfrm>
                <a:custGeom>
                  <a:avLst/>
                  <a:gdLst>
                    <a:gd name="connsiteX0" fmla="*/ 10972 w 22655"/>
                    <a:gd name="connsiteY0" fmla="*/ 0 h 175537"/>
                    <a:gd name="connsiteX1" fmla="*/ 0 w 22655"/>
                    <a:gd name="connsiteY1" fmla="*/ 10971 h 175537"/>
                    <a:gd name="connsiteX2" fmla="*/ 0 w 22655"/>
                    <a:gd name="connsiteY2" fmla="*/ 164566 h 175537"/>
                    <a:gd name="connsiteX3" fmla="*/ 10972 w 22655"/>
                    <a:gd name="connsiteY3" fmla="*/ 175537 h 175537"/>
                    <a:gd name="connsiteX4" fmla="*/ 21942 w 22655"/>
                    <a:gd name="connsiteY4" fmla="*/ 164566 h 175537"/>
                    <a:gd name="connsiteX5" fmla="*/ 21942 w 22655"/>
                    <a:gd name="connsiteY5" fmla="*/ 10971 h 175537"/>
                    <a:gd name="connsiteX6" fmla="*/ 10972 w 22655"/>
                    <a:gd name="connsiteY6" fmla="*/ 0 h 175537"/>
                    <a:gd name="connsiteX7" fmla="*/ 10972 w 22655"/>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55" h="175537">
                      <a:moveTo>
                        <a:pt x="10972" y="0"/>
                      </a:moveTo>
                      <a:cubicBezTo>
                        <a:pt x="5486" y="0"/>
                        <a:pt x="0" y="5485"/>
                        <a:pt x="0" y="10971"/>
                      </a:cubicBezTo>
                      <a:lnTo>
                        <a:pt x="0" y="164566"/>
                      </a:lnTo>
                      <a:cubicBezTo>
                        <a:pt x="0" y="170051"/>
                        <a:pt x="5486" y="175537"/>
                        <a:pt x="10972" y="175537"/>
                      </a:cubicBezTo>
                      <a:cubicBezTo>
                        <a:pt x="16458" y="175537"/>
                        <a:pt x="21942" y="170051"/>
                        <a:pt x="21942" y="164566"/>
                      </a:cubicBezTo>
                      <a:lnTo>
                        <a:pt x="21942" y="10971"/>
                      </a:lnTo>
                      <a:cubicBezTo>
                        <a:pt x="24686" y="5485"/>
                        <a:pt x="19200" y="0"/>
                        <a:pt x="10972" y="0"/>
                      </a:cubicBezTo>
                      <a:lnTo>
                        <a:pt x="10972" y="0"/>
                      </a:lnTo>
                      <a:close/>
                    </a:path>
                  </a:pathLst>
                </a:custGeom>
                <a:grpFill/>
                <a:ln w="27426" cap="flat">
                  <a:noFill/>
                  <a:prstDash val="solid"/>
                  <a:miter/>
                </a:ln>
              </p:spPr>
              <p:txBody>
                <a:bodyPr rtlCol="0" anchor="ctr"/>
                <a:lstStyle/>
                <a:p>
                  <a:pPr algn="l" rtl="0"/>
                  <a:endParaRPr lang="en-US"/>
                </a:p>
              </p:txBody>
            </p:sp>
            <p:sp>
              <p:nvSpPr>
                <p:cNvPr id="398" name="Freeform 397">
                  <a:extLst>
                    <a:ext uri="{FF2B5EF4-FFF2-40B4-BE49-F238E27FC236}">
                      <a16:creationId xmlns:a16="http://schemas.microsoft.com/office/drawing/2014/main" id="{C8DACEEC-6613-584B-B109-F86236533E1F}"/>
                    </a:ext>
                  </a:extLst>
                </p:cNvPr>
                <p:cNvSpPr/>
                <p:nvPr/>
              </p:nvSpPr>
              <p:spPr>
                <a:xfrm>
                  <a:off x="6675969" y="433853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pPr algn="l" rtl="0"/>
                  <a:endParaRPr lang="en-US"/>
                </a:p>
              </p:txBody>
            </p:sp>
            <p:sp>
              <p:nvSpPr>
                <p:cNvPr id="399" name="Freeform 398">
                  <a:extLst>
                    <a:ext uri="{FF2B5EF4-FFF2-40B4-BE49-F238E27FC236}">
                      <a16:creationId xmlns:a16="http://schemas.microsoft.com/office/drawing/2014/main" id="{FC8ACDE7-2348-AC4E-C796-6E17561661C4}"/>
                    </a:ext>
                  </a:extLst>
                </p:cNvPr>
                <p:cNvSpPr/>
                <p:nvPr/>
              </p:nvSpPr>
              <p:spPr>
                <a:xfrm>
                  <a:off x="6675969" y="438790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6"/>
                        <a:pt x="16456" y="21942"/>
                        <a:pt x="10970" y="21942"/>
                      </a:cubicBezTo>
                      <a:cubicBezTo>
                        <a:pt x="5484" y="21942"/>
                        <a:pt x="0" y="16456"/>
                        <a:pt x="0" y="10971"/>
                      </a:cubicBezTo>
                      <a:cubicBezTo>
                        <a:pt x="0" y="5485"/>
                        <a:pt x="5484" y="0"/>
                        <a:pt x="10970" y="0"/>
                      </a:cubicBezTo>
                      <a:cubicBezTo>
                        <a:pt x="16456" y="0"/>
                        <a:pt x="21942" y="2743"/>
                        <a:pt x="21942" y="10971"/>
                      </a:cubicBezTo>
                      <a:lnTo>
                        <a:pt x="21942" y="10971"/>
                      </a:lnTo>
                      <a:close/>
                    </a:path>
                  </a:pathLst>
                </a:custGeom>
                <a:grpFill/>
                <a:ln w="27426" cap="flat">
                  <a:noFill/>
                  <a:prstDash val="solid"/>
                  <a:miter/>
                </a:ln>
              </p:spPr>
              <p:txBody>
                <a:bodyPr rtlCol="0" anchor="ctr"/>
                <a:lstStyle/>
                <a:p>
                  <a:pPr algn="l" rtl="0"/>
                  <a:endParaRPr lang="en-US"/>
                </a:p>
              </p:txBody>
            </p:sp>
            <p:sp>
              <p:nvSpPr>
                <p:cNvPr id="400" name="Freeform 399">
                  <a:extLst>
                    <a:ext uri="{FF2B5EF4-FFF2-40B4-BE49-F238E27FC236}">
                      <a16:creationId xmlns:a16="http://schemas.microsoft.com/office/drawing/2014/main" id="{17F16F71-E914-0799-05C9-6890AB944C1F}"/>
                    </a:ext>
                  </a:extLst>
                </p:cNvPr>
                <p:cNvSpPr/>
                <p:nvPr/>
              </p:nvSpPr>
              <p:spPr>
                <a:xfrm>
                  <a:off x="6758252" y="4184936"/>
                  <a:ext cx="21941" cy="175537"/>
                </a:xfrm>
                <a:custGeom>
                  <a:avLst/>
                  <a:gdLst>
                    <a:gd name="connsiteX0" fmla="*/ 10970 w 21941"/>
                    <a:gd name="connsiteY0" fmla="*/ 0 h 175537"/>
                    <a:gd name="connsiteX1" fmla="*/ 0 w 21941"/>
                    <a:gd name="connsiteY1" fmla="*/ 10971 h 175537"/>
                    <a:gd name="connsiteX2" fmla="*/ 0 w 21941"/>
                    <a:gd name="connsiteY2" fmla="*/ 164566 h 175537"/>
                    <a:gd name="connsiteX3" fmla="*/ 10970 w 21941"/>
                    <a:gd name="connsiteY3" fmla="*/ 175537 h 175537"/>
                    <a:gd name="connsiteX4" fmla="*/ 21942 w 21941"/>
                    <a:gd name="connsiteY4" fmla="*/ 164566 h 175537"/>
                    <a:gd name="connsiteX5" fmla="*/ 21942 w 21941"/>
                    <a:gd name="connsiteY5" fmla="*/ 10971 h 175537"/>
                    <a:gd name="connsiteX6" fmla="*/ 10970 w 21941"/>
                    <a:gd name="connsiteY6" fmla="*/ 0 h 175537"/>
                    <a:gd name="connsiteX7" fmla="*/ 10970 w 21941"/>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0"/>
                      </a:moveTo>
                      <a:cubicBezTo>
                        <a:pt x="5484" y="0"/>
                        <a:pt x="0" y="5486"/>
                        <a:pt x="0" y="10971"/>
                      </a:cubicBezTo>
                      <a:lnTo>
                        <a:pt x="0" y="164566"/>
                      </a:lnTo>
                      <a:cubicBezTo>
                        <a:pt x="0" y="170052"/>
                        <a:pt x="5484" y="175537"/>
                        <a:pt x="10970" y="175537"/>
                      </a:cubicBezTo>
                      <a:cubicBezTo>
                        <a:pt x="16456" y="175537"/>
                        <a:pt x="21942" y="170052"/>
                        <a:pt x="21942" y="164566"/>
                      </a:cubicBezTo>
                      <a:lnTo>
                        <a:pt x="21942" y="10971"/>
                      </a:lnTo>
                      <a:cubicBezTo>
                        <a:pt x="21942" y="5486"/>
                        <a:pt x="16456" y="0"/>
                        <a:pt x="10970" y="0"/>
                      </a:cubicBezTo>
                      <a:lnTo>
                        <a:pt x="10970" y="0"/>
                      </a:lnTo>
                      <a:close/>
                    </a:path>
                  </a:pathLst>
                </a:custGeom>
                <a:grpFill/>
                <a:ln w="27426" cap="flat">
                  <a:noFill/>
                  <a:prstDash val="solid"/>
                  <a:miter/>
                </a:ln>
              </p:spPr>
              <p:txBody>
                <a:bodyPr rtlCol="0" anchor="ctr"/>
                <a:lstStyle/>
                <a:p>
                  <a:pPr algn="l" rtl="0"/>
                  <a:endParaRPr lang="en-US"/>
                </a:p>
              </p:txBody>
            </p:sp>
            <p:sp>
              <p:nvSpPr>
                <p:cNvPr id="401" name="Freeform 400">
                  <a:extLst>
                    <a:ext uri="{FF2B5EF4-FFF2-40B4-BE49-F238E27FC236}">
                      <a16:creationId xmlns:a16="http://schemas.microsoft.com/office/drawing/2014/main" id="{DBCFD735-63A1-9279-82CA-02A0AB0AB1EB}"/>
                    </a:ext>
                  </a:extLst>
                </p:cNvPr>
                <p:cNvSpPr/>
                <p:nvPr/>
              </p:nvSpPr>
              <p:spPr>
                <a:xfrm>
                  <a:off x="6758252" y="4387187"/>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4" y="22656"/>
                        <a:pt x="0" y="17170"/>
                        <a:pt x="0" y="11684"/>
                      </a:cubicBezTo>
                      <a:cubicBezTo>
                        <a:pt x="0" y="6199"/>
                        <a:pt x="5484" y="714"/>
                        <a:pt x="10970" y="714"/>
                      </a:cubicBezTo>
                      <a:cubicBezTo>
                        <a:pt x="16456" y="-2029"/>
                        <a:pt x="21942" y="3456"/>
                        <a:pt x="21942" y="11684"/>
                      </a:cubicBezTo>
                      <a:lnTo>
                        <a:pt x="21942" y="11684"/>
                      </a:lnTo>
                      <a:close/>
                    </a:path>
                  </a:pathLst>
                </a:custGeom>
                <a:grpFill/>
                <a:ln w="27426" cap="flat">
                  <a:noFill/>
                  <a:prstDash val="solid"/>
                  <a:miter/>
                </a:ln>
              </p:spPr>
              <p:txBody>
                <a:bodyPr rtlCol="0" anchor="ctr"/>
                <a:lstStyle/>
                <a:p>
                  <a:pPr algn="l" rtl="0"/>
                  <a:endParaRPr lang="en-US"/>
                </a:p>
              </p:txBody>
            </p:sp>
            <p:sp>
              <p:nvSpPr>
                <p:cNvPr id="402" name="Freeform 401">
                  <a:extLst>
                    <a:ext uri="{FF2B5EF4-FFF2-40B4-BE49-F238E27FC236}">
                      <a16:creationId xmlns:a16="http://schemas.microsoft.com/office/drawing/2014/main" id="{A5E4B553-BD48-C5D2-4785-2F666FB64195}"/>
                    </a:ext>
                  </a:extLst>
                </p:cNvPr>
                <p:cNvSpPr/>
                <p:nvPr/>
              </p:nvSpPr>
              <p:spPr>
                <a:xfrm>
                  <a:off x="6840535" y="4234306"/>
                  <a:ext cx="21941" cy="175537"/>
                </a:xfrm>
                <a:custGeom>
                  <a:avLst/>
                  <a:gdLst>
                    <a:gd name="connsiteX0" fmla="*/ 10970 w 21941"/>
                    <a:gd name="connsiteY0" fmla="*/ 175537 h 175537"/>
                    <a:gd name="connsiteX1" fmla="*/ 21942 w 21941"/>
                    <a:gd name="connsiteY1" fmla="*/ 164566 h 175537"/>
                    <a:gd name="connsiteX2" fmla="*/ 21942 w 21941"/>
                    <a:gd name="connsiteY2" fmla="*/ 10971 h 175537"/>
                    <a:gd name="connsiteX3" fmla="*/ 10970 w 21941"/>
                    <a:gd name="connsiteY3" fmla="*/ 0 h 175537"/>
                    <a:gd name="connsiteX4" fmla="*/ 0 w 21941"/>
                    <a:gd name="connsiteY4" fmla="*/ 10971 h 175537"/>
                    <a:gd name="connsiteX5" fmla="*/ 0 w 21941"/>
                    <a:gd name="connsiteY5" fmla="*/ 164566 h 175537"/>
                    <a:gd name="connsiteX6" fmla="*/ 10970 w 21941"/>
                    <a:gd name="connsiteY6" fmla="*/ 175537 h 175537"/>
                    <a:gd name="connsiteX7" fmla="*/ 10970 w 21941"/>
                    <a:gd name="connsiteY7" fmla="*/ 175537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175537"/>
                      </a:moveTo>
                      <a:cubicBezTo>
                        <a:pt x="16456" y="175537"/>
                        <a:pt x="21942" y="170051"/>
                        <a:pt x="21942" y="164566"/>
                      </a:cubicBezTo>
                      <a:lnTo>
                        <a:pt x="21942" y="10971"/>
                      </a:lnTo>
                      <a:cubicBezTo>
                        <a:pt x="21942" y="5485"/>
                        <a:pt x="16456" y="0"/>
                        <a:pt x="10970" y="0"/>
                      </a:cubicBezTo>
                      <a:cubicBezTo>
                        <a:pt x="5484" y="0"/>
                        <a:pt x="0" y="5485"/>
                        <a:pt x="0" y="10971"/>
                      </a:cubicBezTo>
                      <a:lnTo>
                        <a:pt x="0" y="164566"/>
                      </a:lnTo>
                      <a:cubicBezTo>
                        <a:pt x="0" y="170051"/>
                        <a:pt x="5484" y="175537"/>
                        <a:pt x="10970" y="175537"/>
                      </a:cubicBezTo>
                      <a:lnTo>
                        <a:pt x="10970" y="175537"/>
                      </a:lnTo>
                      <a:close/>
                    </a:path>
                  </a:pathLst>
                </a:custGeom>
                <a:grpFill/>
                <a:ln w="27426" cap="flat">
                  <a:noFill/>
                  <a:prstDash val="solid"/>
                  <a:miter/>
                </a:ln>
              </p:spPr>
              <p:txBody>
                <a:bodyPr rtlCol="0" anchor="ctr"/>
                <a:lstStyle/>
                <a:p>
                  <a:pPr algn="l" rtl="0"/>
                  <a:endParaRPr lang="en-US"/>
                </a:p>
              </p:txBody>
            </p:sp>
            <p:sp>
              <p:nvSpPr>
                <p:cNvPr id="403" name="Freeform 402">
                  <a:extLst>
                    <a:ext uri="{FF2B5EF4-FFF2-40B4-BE49-F238E27FC236}">
                      <a16:creationId xmlns:a16="http://schemas.microsoft.com/office/drawing/2014/main" id="{7EC5897F-FF26-C8C2-6177-BECB747CDE0B}"/>
                    </a:ext>
                  </a:extLst>
                </p:cNvPr>
                <p:cNvSpPr/>
                <p:nvPr/>
              </p:nvSpPr>
              <p:spPr>
                <a:xfrm>
                  <a:off x="6840535"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pPr algn="l" rtl="0"/>
                  <a:endParaRPr lang="en-US"/>
                </a:p>
              </p:txBody>
            </p:sp>
            <p:sp>
              <p:nvSpPr>
                <p:cNvPr id="404" name="Freeform 403">
                  <a:extLst>
                    <a:ext uri="{FF2B5EF4-FFF2-40B4-BE49-F238E27FC236}">
                      <a16:creationId xmlns:a16="http://schemas.microsoft.com/office/drawing/2014/main" id="{38CB8E1A-D714-72E4-5FEC-CA4D0A85532A}"/>
                    </a:ext>
                  </a:extLst>
                </p:cNvPr>
                <p:cNvSpPr/>
                <p:nvPr/>
              </p:nvSpPr>
              <p:spPr>
                <a:xfrm>
                  <a:off x="6758252"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pPr algn="l" rtl="0"/>
                  <a:endParaRPr lang="en-US"/>
                </a:p>
              </p:txBody>
            </p:sp>
            <p:sp>
              <p:nvSpPr>
                <p:cNvPr id="405" name="Freeform 404">
                  <a:extLst>
                    <a:ext uri="{FF2B5EF4-FFF2-40B4-BE49-F238E27FC236}">
                      <a16:creationId xmlns:a16="http://schemas.microsoft.com/office/drawing/2014/main" id="{841CD207-9851-3096-5796-C58DB4D9EACD}"/>
                    </a:ext>
                  </a:extLst>
                </p:cNvPr>
                <p:cNvSpPr/>
                <p:nvPr/>
              </p:nvSpPr>
              <p:spPr>
                <a:xfrm>
                  <a:off x="6675969"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pPr algn="l" rtl="0"/>
                  <a:endParaRPr lang="en-US"/>
                </a:p>
              </p:txBody>
            </p:sp>
          </p:grpSp>
        </p:grpSp>
      </p:grpSp>
    </p:spTree>
    <p:extLst>
      <p:ext uri="{BB962C8B-B14F-4D97-AF65-F5344CB8AC3E}">
        <p14:creationId xmlns:p14="http://schemas.microsoft.com/office/powerpoint/2010/main" val="667152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pPr algn="l" rtl="0"/>
            <a:r>
              <a:rPr lang="en-GB" dirty="0">
                <a:solidFill>
                  <a:schemeClr val="bg1"/>
                </a:solidFill>
              </a:rPr>
              <a:t>Lluvia de ideas sobre las áreas de riesgo</a:t>
            </a:r>
          </a:p>
        </p:txBody>
      </p:sp>
      <p:sp>
        <p:nvSpPr>
          <p:cNvPr id="43" name="Rectangle 42">
            <a:extLst>
              <a:ext uri="{FF2B5EF4-FFF2-40B4-BE49-F238E27FC236}">
                <a16:creationId xmlns:a16="http://schemas.microsoft.com/office/drawing/2014/main" id="{60484B0F-FF83-0AF3-67BC-3DFBA9DFE2B8}"/>
              </a:ext>
            </a:extLst>
          </p:cNvPr>
          <p:cNvSpPr/>
          <p:nvPr/>
        </p:nvSpPr>
        <p:spPr>
          <a:xfrm>
            <a:off x="1199" y="336557"/>
            <a:ext cx="12192000" cy="203828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645290" y="549374"/>
            <a:ext cx="7016949"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l" rtl="0"/>
            <a:r>
              <a:rPr lang="en-GB" b="0" i="0" dirty="0">
                <a:solidFill>
                  <a:schemeClr val="bg1"/>
                </a:solidFill>
                <a:effectLst/>
                <a:latin typeface="Roboto" panose="02000000000000000000" pitchFamily="2" charset="0"/>
              </a:rPr>
              <a:t>Las charlas TED, de soldados y psicólogos, atletas y empresarios, comparten la sabiduría ganada con tanto esfuerzo sobre el liderazgo.</a:t>
            </a:r>
            <a:endParaRPr lang="en-US" dirty="0">
              <a:solidFill>
                <a:schemeClr val="bg1"/>
              </a:solidFill>
            </a:endParaRP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529761" y="507036"/>
            <a:ext cx="3035068"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en-GB" dirty="0">
                <a:solidFill>
                  <a:schemeClr val="bg1"/>
                </a:solidFill>
              </a:rPr>
              <a:t>Y TED TALKS ESTÁ LLENO DE CONTENIDO DE LIDERAZGO</a:t>
            </a: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3251529" y="12592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sp>
        <p:nvSpPr>
          <p:cNvPr id="42" name="Subtitle 2">
            <a:extLst>
              <a:ext uri="{FF2B5EF4-FFF2-40B4-BE49-F238E27FC236}">
                <a16:creationId xmlns:a16="http://schemas.microsoft.com/office/drawing/2014/main" id="{3071D00A-EBAD-E16A-FE43-DF5407AF24CD}"/>
              </a:ext>
            </a:extLst>
          </p:cNvPr>
          <p:cNvSpPr txBox="1">
            <a:spLocks/>
          </p:cNvSpPr>
          <p:nvPr/>
        </p:nvSpPr>
        <p:spPr>
          <a:xfrm>
            <a:off x="6433244" y="2917667"/>
            <a:ext cx="1154950" cy="278289"/>
          </a:xfrm>
          <a:prstGeom prst="rect">
            <a:avLst/>
          </a:prstGeom>
          <a:noFill/>
          <a:ln>
            <a:noFill/>
          </a:ln>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ser reflexivo</a:t>
            </a:r>
          </a:p>
        </p:txBody>
      </p:sp>
      <p:sp>
        <p:nvSpPr>
          <p:cNvPr id="47" name="Subtitle 2">
            <a:extLst>
              <a:ext uri="{FF2B5EF4-FFF2-40B4-BE49-F238E27FC236}">
                <a16:creationId xmlns:a16="http://schemas.microsoft.com/office/drawing/2014/main" id="{1690EA68-88F6-6972-ADAA-873CBC213124}"/>
              </a:ext>
            </a:extLst>
          </p:cNvPr>
          <p:cNvSpPr txBox="1">
            <a:spLocks/>
          </p:cNvSpPr>
          <p:nvPr/>
        </p:nvSpPr>
        <p:spPr>
          <a:xfrm>
            <a:off x="8086609" y="3944708"/>
            <a:ext cx="1785291" cy="499504"/>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comprometerse con la complejidad</a:t>
            </a:r>
          </a:p>
        </p:txBody>
      </p:sp>
      <p:sp>
        <p:nvSpPr>
          <p:cNvPr id="49" name="Subtitle 2">
            <a:extLst>
              <a:ext uri="{FF2B5EF4-FFF2-40B4-BE49-F238E27FC236}">
                <a16:creationId xmlns:a16="http://schemas.microsoft.com/office/drawing/2014/main" id="{31115E1B-01AB-8073-85F3-190E00565ABA}"/>
              </a:ext>
            </a:extLst>
          </p:cNvPr>
          <p:cNvSpPr txBox="1">
            <a:spLocks/>
          </p:cNvSpPr>
          <p:nvPr/>
        </p:nvSpPr>
        <p:spPr>
          <a:xfrm>
            <a:off x="8415482" y="5427356"/>
            <a:ext cx="1643636" cy="961169"/>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estar dispuesto a desafiar</a:t>
            </a:r>
            <a:b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y ser desafiado</a:t>
            </a:r>
          </a:p>
        </p:txBody>
      </p:sp>
      <p:sp>
        <p:nvSpPr>
          <p:cNvPr id="51" name="Subtitle 2">
            <a:extLst>
              <a:ext uri="{FF2B5EF4-FFF2-40B4-BE49-F238E27FC236}">
                <a16:creationId xmlns:a16="http://schemas.microsoft.com/office/drawing/2014/main" id="{A0327549-CD06-21FD-737B-50A6759EF62C}"/>
              </a:ext>
            </a:extLst>
          </p:cNvPr>
          <p:cNvSpPr txBox="1">
            <a:spLocks/>
          </p:cNvSpPr>
          <p:nvPr/>
        </p:nvSpPr>
        <p:spPr>
          <a:xfrm>
            <a:off x="529758" y="2650964"/>
            <a:ext cx="3266065" cy="88499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rtl="0">
              <a:lnSpc>
                <a:spcPts val="2240"/>
              </a:lnSpc>
              <a:spcBef>
                <a:spcPts val="225"/>
              </a:spcBef>
              <a:buClr>
                <a:srgbClr val="F16924"/>
              </a:buClr>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Echa un vistazo a la lista de reproducción seleccionada cuando quieras.</a:t>
            </a:r>
            <a:r>
              <a:rPr lang="en-IE" sz="2200" b="1" dirty="0">
                <a:latin typeface="+mn-lt"/>
                <a:hlinkClick r:id="rId3"/>
              </a:rPr>
              <a:t>Explorar listas de reproducción (ted.com)</a:t>
            </a:r>
            <a:endParaRPr lang="en-GB" sz="2200" b="1" dirty="0">
              <a:solidFill>
                <a:srgbClr val="595959"/>
              </a:solidFill>
              <a:latin typeface="+mn-lt"/>
              <a:ea typeface="Lato Light" panose="020F0502020204030203" pitchFamily="34" charset="0"/>
              <a:cs typeface="Calibri" panose="020F0502020204030204" pitchFamily="34" charset="0"/>
            </a:endParaRPr>
          </a:p>
        </p:txBody>
      </p:sp>
      <p:pic>
        <p:nvPicPr>
          <p:cNvPr id="10" name="Picture 9">
            <a:extLst>
              <a:ext uri="{FF2B5EF4-FFF2-40B4-BE49-F238E27FC236}">
                <a16:creationId xmlns:a16="http://schemas.microsoft.com/office/drawing/2014/main" id="{A179AB63-9D9C-8479-3D04-3A31076DE57D}"/>
              </a:ext>
            </a:extLst>
          </p:cNvPr>
          <p:cNvPicPr>
            <a:picLocks noChangeAspect="1"/>
          </p:cNvPicPr>
          <p:nvPr/>
        </p:nvPicPr>
        <p:blipFill>
          <a:blip r:embed="rId4"/>
          <a:stretch>
            <a:fillRect/>
          </a:stretch>
        </p:blipFill>
        <p:spPr>
          <a:xfrm>
            <a:off x="4021796" y="2829678"/>
            <a:ext cx="8129625" cy="3306966"/>
          </a:xfrm>
          <a:prstGeom prst="rect">
            <a:avLst/>
          </a:prstGeom>
        </p:spPr>
      </p:pic>
    </p:spTree>
    <p:extLst>
      <p:ext uri="{BB962C8B-B14F-4D97-AF65-F5344CB8AC3E}">
        <p14:creationId xmlns:p14="http://schemas.microsoft.com/office/powerpoint/2010/main" val="356082358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C66F96E-968B-E37E-BCB4-14973A37F516}"/>
              </a:ext>
            </a:extLst>
          </p:cNvPr>
          <p:cNvSpPr>
            <a:spLocks noGrp="1"/>
          </p:cNvSpPr>
          <p:nvPr>
            <p:ph type="body" sz="quarter" idx="18"/>
          </p:nvPr>
        </p:nvSpPr>
        <p:spPr>
          <a:xfrm>
            <a:off x="734714" y="1757010"/>
            <a:ext cx="6157153" cy="4745389"/>
          </a:xfrm>
        </p:spPr>
        <p:txBody>
          <a:bodyPr>
            <a:normAutofit/>
          </a:bodyPr>
          <a:lstStyle/>
          <a:p>
            <a:pPr marL="15875" indent="-15875" algn="l" rtl="0">
              <a:lnSpc>
                <a:spcPts val="2280"/>
              </a:lnSpc>
              <a:spcBef>
                <a:spcPts val="0"/>
              </a:spcBef>
            </a:pPr>
            <a:r>
              <a:rPr lang="en-US" sz="2200" dirty="0"/>
              <a:t>¿Qué puedes usar para ayudarte a controlar la narrativa?</a:t>
            </a:r>
          </a:p>
          <a:p>
            <a:pPr marL="15875" indent="-15875" algn="l" rtl="0">
              <a:lnSpc>
                <a:spcPts val="2280"/>
              </a:lnSpc>
              <a:spcBef>
                <a:spcPts val="0"/>
              </a:spcBef>
            </a:pPr>
            <a:endParaRPr lang="en-US" sz="2200" dirty="0"/>
          </a:p>
          <a:p>
            <a:pPr marL="15875" indent="-15875" algn="l" rtl="0">
              <a:lnSpc>
                <a:spcPts val="2280"/>
              </a:lnSpc>
              <a:spcBef>
                <a:spcPts val="0"/>
              </a:spcBef>
            </a:pPr>
            <a:r>
              <a:rPr lang="en-US" sz="2200" b="1" dirty="0">
                <a:highlight>
                  <a:srgbClr val="F16924"/>
                </a:highlight>
              </a:rPr>
              <a:t>Usa tu</a:t>
            </a:r>
            <a:r>
              <a:rPr lang="en-US" sz="2200" b="1" dirty="0" err="1">
                <a:highlight>
                  <a:srgbClr val="F16924"/>
                </a:highlight>
              </a:rPr>
              <a:t>organizativo</a:t>
            </a:r>
            <a:r>
              <a:rPr lang="en-US" sz="2200" b="1" dirty="0">
                <a:highlight>
                  <a:srgbClr val="F16924"/>
                </a:highlight>
              </a:rPr>
              <a:t>conocimiento</a:t>
            </a:r>
          </a:p>
          <a:p>
            <a:pPr marL="15875" indent="-15875" algn="l" rtl="0">
              <a:lnSpc>
                <a:spcPts val="2280"/>
              </a:lnSpc>
              <a:spcBef>
                <a:spcPts val="0"/>
              </a:spcBef>
            </a:pPr>
            <a:endParaRPr lang="en-US" sz="2200" b="1" dirty="0">
              <a:highlight>
                <a:srgbClr val="F16924"/>
              </a:highlight>
            </a:endParaRPr>
          </a:p>
          <a:p>
            <a:pPr marL="15875" indent="-15875" algn="l" rtl="0">
              <a:lnSpc>
                <a:spcPts val="2280"/>
              </a:lnSpc>
              <a:spcBef>
                <a:spcPts val="0"/>
              </a:spcBef>
            </a:pPr>
            <a:r>
              <a:rPr lang="en-US" sz="2200" dirty="0"/>
              <a:t>Una crisis no ocurre en el vacío, por lo que familiarizarse con el entorno que rodea a su empresa, tanto el pasado como el presente, es una pieza importante para comprender las trampas y las oportunidades al entrar en una crisis. Comprender su contexto puede informar cómo estructura su mensaje y percibe los desencadenantes de los medios que pueden provocar un resurgimiento de la cobertura.</a:t>
            </a:r>
          </a:p>
        </p:txBody>
      </p:sp>
      <p:sp>
        <p:nvSpPr>
          <p:cNvPr id="4" name="Text Placeholder 3">
            <a:extLst>
              <a:ext uri="{FF2B5EF4-FFF2-40B4-BE49-F238E27FC236}">
                <a16:creationId xmlns:a16="http://schemas.microsoft.com/office/drawing/2014/main" id="{9163E0E6-8932-D33B-8B1E-5C8BEF3AA70A}"/>
              </a:ext>
            </a:extLst>
          </p:cNvPr>
          <p:cNvSpPr>
            <a:spLocks noGrp="1"/>
          </p:cNvSpPr>
          <p:nvPr>
            <p:ph type="body" sz="quarter" idx="16"/>
          </p:nvPr>
        </p:nvSpPr>
        <p:spPr/>
        <p:txBody>
          <a:bodyPr>
            <a:normAutofit lnSpcReduction="10000"/>
          </a:bodyPr>
          <a:lstStyle/>
          <a:p>
            <a:pPr algn="l" rtl="0"/>
            <a:r>
              <a:rPr lang="en-GB" dirty="0"/>
              <a:t>Controlando la narrativa</a:t>
            </a:r>
          </a:p>
          <a:p>
            <a:pPr algn="l" rtl="0"/>
            <a:endParaRPr lang="en-US" dirty="0"/>
          </a:p>
        </p:txBody>
      </p:sp>
      <p:sp>
        <p:nvSpPr>
          <p:cNvPr id="6" name="Rectangle 5">
            <a:extLst>
              <a:ext uri="{FF2B5EF4-FFF2-40B4-BE49-F238E27FC236}">
                <a16:creationId xmlns:a16="http://schemas.microsoft.com/office/drawing/2014/main" id="{9697F5D1-F6F7-338D-08C7-76D3D472B1FC}"/>
              </a:ext>
            </a:extLst>
          </p:cNvPr>
          <p:cNvSpPr/>
          <p:nvPr/>
        </p:nvSpPr>
        <p:spPr>
          <a:xfrm>
            <a:off x="734714" y="1422523"/>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pic>
        <p:nvPicPr>
          <p:cNvPr id="8" name="Picture 7">
            <a:extLst>
              <a:ext uri="{FF2B5EF4-FFF2-40B4-BE49-F238E27FC236}">
                <a16:creationId xmlns:a16="http://schemas.microsoft.com/office/drawing/2014/main" id="{904C6528-53E3-E683-DE69-CC15A9DDBC3A}"/>
              </a:ext>
            </a:extLst>
          </p:cNvPr>
          <p:cNvPicPr>
            <a:picLocks noChangeAspect="1"/>
          </p:cNvPicPr>
          <p:nvPr/>
        </p:nvPicPr>
        <p:blipFill rotWithShape="1">
          <a:blip r:embed="rId2"/>
          <a:srcRect l="28651" r="28651"/>
          <a:stretch/>
        </p:blipFill>
        <p:spPr>
          <a:xfrm>
            <a:off x="7078132" y="0"/>
            <a:ext cx="4464683" cy="6858000"/>
          </a:xfrm>
          <a:prstGeom prst="rect">
            <a:avLst/>
          </a:prstGeom>
        </p:spPr>
      </p:pic>
    </p:spTree>
    <p:extLst>
      <p:ext uri="{BB962C8B-B14F-4D97-AF65-F5344CB8AC3E}">
        <p14:creationId xmlns:p14="http://schemas.microsoft.com/office/powerpoint/2010/main" val="206033514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C66F96E-968B-E37E-BCB4-14973A37F516}"/>
              </a:ext>
            </a:extLst>
          </p:cNvPr>
          <p:cNvSpPr>
            <a:spLocks noGrp="1"/>
          </p:cNvSpPr>
          <p:nvPr>
            <p:ph type="body" sz="quarter" idx="18"/>
          </p:nvPr>
        </p:nvSpPr>
        <p:spPr>
          <a:xfrm>
            <a:off x="734714" y="1757010"/>
            <a:ext cx="6597419" cy="4745389"/>
          </a:xfrm>
        </p:spPr>
        <p:txBody>
          <a:bodyPr>
            <a:normAutofit/>
          </a:bodyPr>
          <a:lstStyle/>
          <a:p>
            <a:pPr marL="15875" indent="-15875" algn="l" rtl="0">
              <a:lnSpc>
                <a:spcPts val="2280"/>
              </a:lnSpc>
              <a:spcBef>
                <a:spcPts val="0"/>
              </a:spcBef>
            </a:pPr>
            <a:r>
              <a:rPr lang="en-US" sz="2200" dirty="0">
                <a:highlight>
                  <a:srgbClr val="F16924"/>
                </a:highlight>
              </a:rPr>
              <a:t>Usa a tu gente</a:t>
            </a:r>
            <a:r>
              <a:rPr lang="en-US" sz="2200" dirty="0">
                <a:solidFill>
                  <a:srgbClr val="F16924"/>
                </a:solidFill>
                <a:highlight>
                  <a:srgbClr val="F16924"/>
                </a:highlight>
              </a:rPr>
              <a:t>.</a:t>
            </a:r>
          </a:p>
          <a:p>
            <a:pPr marL="15875" indent="-15875" algn="l" rtl="0">
              <a:lnSpc>
                <a:spcPts val="2280"/>
              </a:lnSpc>
              <a:spcBef>
                <a:spcPts val="0"/>
              </a:spcBef>
            </a:pPr>
            <a:r>
              <a:rPr lang="en-US" sz="2200" dirty="0"/>
              <a:t>Las narrativas son la única forma de cambiar las mentes y la percepción de una audiencia renuente. Teniendo en cuenta que el núcleo de cualquier empresa es su gente, averigüe qué acciones ya se están tomando para corregir el error.</a:t>
            </a:r>
          </a:p>
          <a:p>
            <a:pPr marL="15875" indent="-15875" algn="l" rtl="0">
              <a:lnSpc>
                <a:spcPts val="2280"/>
              </a:lnSpc>
              <a:spcBef>
                <a:spcPts val="0"/>
              </a:spcBef>
            </a:pPr>
            <a:endParaRPr lang="en-US" sz="2200" dirty="0"/>
          </a:p>
          <a:p>
            <a:pPr marL="15875" indent="-15875" algn="l" rtl="0">
              <a:lnSpc>
                <a:spcPts val="2280"/>
              </a:lnSpc>
              <a:spcBef>
                <a:spcPts val="0"/>
              </a:spcBef>
            </a:pPr>
            <a:r>
              <a:rPr lang="en-US" sz="2200" dirty="0">
                <a:highlight>
                  <a:srgbClr val="F16924"/>
                </a:highlight>
              </a:rPr>
              <a:t>Usa tus canales</a:t>
            </a:r>
            <a:r>
              <a:rPr lang="en-US" sz="2200" dirty="0">
                <a:solidFill>
                  <a:srgbClr val="F16924"/>
                </a:solidFill>
                <a:highlight>
                  <a:srgbClr val="F16924"/>
                </a:highlight>
              </a:rPr>
              <a:t>.</a:t>
            </a:r>
          </a:p>
          <a:p>
            <a:pPr marL="15875" indent="-15875" algn="l" rtl="0">
              <a:lnSpc>
                <a:spcPts val="2280"/>
              </a:lnSpc>
              <a:spcBef>
                <a:spcPts val="0"/>
              </a:spcBef>
            </a:pPr>
            <a:r>
              <a:rPr lang="en-US" sz="2200" dirty="0"/>
              <a:t>Las redes sociales son un cambio de juego de crisis. La era digital actual exige transparencia y una acción rápida como nunca antes. Las imágenes fuertes, como una buena fotografía y video, también pueden fortalecer su historia y siempre serán más convincentes que una simple declaración.</a:t>
            </a:r>
          </a:p>
          <a:p>
            <a:pPr marL="15875" indent="-15875" algn="l" rtl="0">
              <a:lnSpc>
                <a:spcPts val="2280"/>
              </a:lnSpc>
              <a:spcBef>
                <a:spcPts val="0"/>
              </a:spcBef>
            </a:pPr>
            <a:endParaRPr lang="en-US" sz="2200" dirty="0"/>
          </a:p>
        </p:txBody>
      </p:sp>
      <p:sp>
        <p:nvSpPr>
          <p:cNvPr id="4" name="Text Placeholder 3">
            <a:extLst>
              <a:ext uri="{FF2B5EF4-FFF2-40B4-BE49-F238E27FC236}">
                <a16:creationId xmlns:a16="http://schemas.microsoft.com/office/drawing/2014/main" id="{9163E0E6-8932-D33B-8B1E-5C8BEF3AA70A}"/>
              </a:ext>
            </a:extLst>
          </p:cNvPr>
          <p:cNvSpPr>
            <a:spLocks noGrp="1"/>
          </p:cNvSpPr>
          <p:nvPr>
            <p:ph type="body" sz="quarter" idx="16"/>
          </p:nvPr>
        </p:nvSpPr>
        <p:spPr/>
        <p:txBody>
          <a:bodyPr>
            <a:normAutofit lnSpcReduction="10000"/>
          </a:bodyPr>
          <a:lstStyle/>
          <a:p>
            <a:pPr algn="l" rtl="0"/>
            <a:r>
              <a:rPr lang="en-GB" dirty="0"/>
              <a:t>Controlando la narrativa</a:t>
            </a:r>
          </a:p>
          <a:p>
            <a:pPr algn="l" rtl="0"/>
            <a:endParaRPr lang="en-US" dirty="0"/>
          </a:p>
        </p:txBody>
      </p:sp>
      <p:sp>
        <p:nvSpPr>
          <p:cNvPr id="6" name="Rectangle 5">
            <a:extLst>
              <a:ext uri="{FF2B5EF4-FFF2-40B4-BE49-F238E27FC236}">
                <a16:creationId xmlns:a16="http://schemas.microsoft.com/office/drawing/2014/main" id="{9697F5D1-F6F7-338D-08C7-76D3D472B1FC}"/>
              </a:ext>
            </a:extLst>
          </p:cNvPr>
          <p:cNvSpPr/>
          <p:nvPr/>
        </p:nvSpPr>
        <p:spPr>
          <a:xfrm>
            <a:off x="734714" y="1422523"/>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pic>
        <p:nvPicPr>
          <p:cNvPr id="3" name="Picture 2">
            <a:extLst>
              <a:ext uri="{FF2B5EF4-FFF2-40B4-BE49-F238E27FC236}">
                <a16:creationId xmlns:a16="http://schemas.microsoft.com/office/drawing/2014/main" id="{2CC1EE06-3AD2-6298-0E28-B2B3C8C642C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3593" r="50855"/>
          <a:stretch/>
        </p:blipFill>
        <p:spPr>
          <a:xfrm>
            <a:off x="7636933" y="0"/>
            <a:ext cx="4030134" cy="6858000"/>
          </a:xfrm>
          <a:prstGeom prst="rect">
            <a:avLst/>
          </a:prstGeom>
        </p:spPr>
      </p:pic>
    </p:spTree>
    <p:extLst>
      <p:ext uri="{BB962C8B-B14F-4D97-AF65-F5344CB8AC3E}">
        <p14:creationId xmlns:p14="http://schemas.microsoft.com/office/powerpoint/2010/main" val="274847998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8325522-A9FB-F948-8CCF-59F3F8A2C341}"/>
              </a:ext>
            </a:extLst>
          </p:cNvPr>
          <p:cNvSpPr>
            <a:spLocks noGrp="1"/>
          </p:cNvSpPr>
          <p:nvPr>
            <p:ph type="body" sz="quarter" idx="25"/>
          </p:nvPr>
        </p:nvSpPr>
        <p:spPr>
          <a:xfrm>
            <a:off x="1332038" y="3296363"/>
            <a:ext cx="3864802" cy="444219"/>
          </a:xfrm>
        </p:spPr>
        <p:txBody>
          <a:bodyPr>
            <a:normAutofit/>
          </a:bodyPr>
          <a:lstStyle/>
          <a:p>
            <a:pPr algn="l" rtl="0"/>
            <a:r>
              <a:rPr lang="en-US" dirty="0" err="1">
                <a:hlinkClick r:id="rId2">
                  <a:extLst>
                    <a:ext uri="{A12FA001-AC4F-418D-AE19-62706E023703}">
                      <ahyp:hlinkClr xmlns:ahyp="http://schemas.microsoft.com/office/drawing/2018/hyperlinkcolor" val="tx"/>
                    </a:ext>
                  </a:extLst>
                </a:hlinkClick>
              </a:rPr>
              <a:t>www.facebook.com</a:t>
            </a:r>
            <a:r>
              <a:rPr lang="en-US" dirty="0">
                <a:hlinkClick r:id="rId2">
                  <a:extLst>
                    <a:ext uri="{A12FA001-AC4F-418D-AE19-62706E023703}">
                      <ahyp:hlinkClr xmlns:ahyp="http://schemas.microsoft.com/office/drawing/2018/hyperlinkcolor" val="tx"/>
                    </a:ext>
                  </a:extLst>
                </a:hlinkClick>
              </a:rPr>
              <a:t>/</a:t>
            </a:r>
            <a:r>
              <a:rPr lang="en-US" dirty="0" err="1">
                <a:hlinkClick r:id="rId2">
                  <a:extLst>
                    <a:ext uri="{A12FA001-AC4F-418D-AE19-62706E023703}">
                      <ahyp:hlinkClr xmlns:ahyp="http://schemas.microsoft.com/office/drawing/2018/hyperlinkcolor" val="tx"/>
                    </a:ext>
                  </a:extLst>
                </a:hlinkClick>
              </a:rPr>
              <a:t>Proyecto SECure.Erasmus</a:t>
            </a:r>
            <a:endParaRPr lang="en-US" dirty="0"/>
          </a:p>
        </p:txBody>
      </p:sp>
      <p:sp>
        <p:nvSpPr>
          <p:cNvPr id="5" name="Text Placeholder 4">
            <a:extLst>
              <a:ext uri="{FF2B5EF4-FFF2-40B4-BE49-F238E27FC236}">
                <a16:creationId xmlns:a16="http://schemas.microsoft.com/office/drawing/2014/main" id="{9DB39A56-8A82-FC46-9BD0-F1D9CB893053}"/>
              </a:ext>
            </a:extLst>
          </p:cNvPr>
          <p:cNvSpPr>
            <a:spLocks noGrp="1"/>
          </p:cNvSpPr>
          <p:nvPr>
            <p:ph type="body" sz="quarter" idx="26"/>
          </p:nvPr>
        </p:nvSpPr>
        <p:spPr>
          <a:xfrm>
            <a:off x="1332038" y="3919323"/>
            <a:ext cx="3712402" cy="481102"/>
          </a:xfrm>
        </p:spPr>
        <p:txBody>
          <a:bodyPr>
            <a:normAutofit/>
          </a:bodyPr>
          <a:lstStyle/>
          <a:p>
            <a:pPr algn="l" rtl="0"/>
            <a:r>
              <a:rPr lang="en-US" dirty="0">
                <a:hlinkClick r:id="rId3">
                  <a:extLst>
                    <a:ext uri="{A12FA001-AC4F-418D-AE19-62706E023703}">
                      <ahyp:hlinkClr xmlns:ahyp="http://schemas.microsoft.com/office/drawing/2018/hyperlinkcolor" val="tx"/>
                    </a:ext>
                  </a:extLst>
                </a:hlinkClick>
              </a:rPr>
              <a:t>www.twitter.com/SECure_Project</a:t>
            </a:r>
            <a:endParaRPr lang="en-US" dirty="0"/>
          </a:p>
        </p:txBody>
      </p:sp>
      <p:sp>
        <p:nvSpPr>
          <p:cNvPr id="6" name="Text Placeholder 5">
            <a:extLst>
              <a:ext uri="{FF2B5EF4-FFF2-40B4-BE49-F238E27FC236}">
                <a16:creationId xmlns:a16="http://schemas.microsoft.com/office/drawing/2014/main" id="{85493FFE-13D7-664E-8742-24D93C3723EA}"/>
              </a:ext>
            </a:extLst>
          </p:cNvPr>
          <p:cNvSpPr>
            <a:spLocks noGrp="1"/>
          </p:cNvSpPr>
          <p:nvPr>
            <p:ph type="body" sz="quarter" idx="27"/>
          </p:nvPr>
        </p:nvSpPr>
        <p:spPr>
          <a:xfrm>
            <a:off x="1340201" y="4562886"/>
            <a:ext cx="3466767" cy="566466"/>
          </a:xfrm>
        </p:spPr>
        <p:txBody>
          <a:bodyPr>
            <a:normAutofit/>
          </a:bodyPr>
          <a:lstStyle/>
          <a:p>
            <a:pPr algn="l" rtl="0"/>
            <a:r>
              <a:rPr lang="en-US" dirty="0">
                <a:hlinkClick r:id="rId4">
                  <a:extLst>
                    <a:ext uri="{A12FA001-AC4F-418D-AE19-62706E023703}">
                      <ahyp:hlinkClr xmlns:ahyp="http://schemas.microsoft.com/office/drawing/2018/hyperlinkcolor" val="tx"/>
                    </a:ext>
                  </a:extLst>
                </a:hlinkClick>
              </a:rPr>
              <a:t>www.linkedin.com/empresa/proyecto-SECURE /</a:t>
            </a:r>
            <a:endParaRPr lang="en-US" dirty="0"/>
          </a:p>
        </p:txBody>
      </p:sp>
      <p:sp>
        <p:nvSpPr>
          <p:cNvPr id="13" name="Text Placeholder 12">
            <a:extLst>
              <a:ext uri="{FF2B5EF4-FFF2-40B4-BE49-F238E27FC236}">
                <a16:creationId xmlns:a16="http://schemas.microsoft.com/office/drawing/2014/main" id="{CAF717B5-2512-1E47-B1D4-71C9C0DE0704}"/>
              </a:ext>
            </a:extLst>
          </p:cNvPr>
          <p:cNvSpPr>
            <a:spLocks noGrp="1"/>
          </p:cNvSpPr>
          <p:nvPr>
            <p:ph type="body" sz="quarter" idx="28"/>
          </p:nvPr>
        </p:nvSpPr>
        <p:spPr>
          <a:xfrm>
            <a:off x="567326" y="5747113"/>
            <a:ext cx="3591630" cy="731140"/>
          </a:xfrm>
        </p:spPr>
        <p:txBody>
          <a:bodyPr>
            <a:normAutofit fontScale="92500"/>
          </a:bodyPr>
          <a:lstStyle/>
          <a:p>
            <a:pPr algn="l" rtl="0"/>
            <a:r>
              <a:rPr lang="en-US" dirty="0" err="1"/>
              <a:t>www.</a:t>
            </a:r>
            <a:r>
              <a:rPr lang="en-US" b="1" dirty="0" err="1"/>
              <a:t>smecrisistoolkit.</a:t>
            </a:r>
            <a:r>
              <a:rPr lang="en-US" dirty="0" err="1"/>
              <a:t>UE</a:t>
            </a:r>
            <a:endParaRPr lang="en-US" dirty="0"/>
          </a:p>
        </p:txBody>
      </p:sp>
      <p:sp>
        <p:nvSpPr>
          <p:cNvPr id="2" name="Text Placeholder 1">
            <a:extLst>
              <a:ext uri="{FF2B5EF4-FFF2-40B4-BE49-F238E27FC236}">
                <a16:creationId xmlns:a16="http://schemas.microsoft.com/office/drawing/2014/main" id="{EC96B6AC-8263-C84E-8A2F-C5E622421299}"/>
              </a:ext>
            </a:extLst>
          </p:cNvPr>
          <p:cNvSpPr>
            <a:spLocks noGrp="1"/>
          </p:cNvSpPr>
          <p:nvPr>
            <p:ph type="body" sz="quarter" idx="19"/>
          </p:nvPr>
        </p:nvSpPr>
        <p:spPr>
          <a:xfrm>
            <a:off x="1269930" y="1396872"/>
            <a:ext cx="3591630" cy="1720750"/>
          </a:xfrm>
        </p:spPr>
        <p:txBody>
          <a:bodyPr>
            <a:normAutofit fontScale="85000" lnSpcReduction="10000"/>
          </a:bodyPr>
          <a:lstStyle/>
          <a:p>
            <a:pPr algn="l" rtl="0"/>
            <a:r>
              <a:rPr lang="en-US" dirty="0"/>
              <a:t>COMPRENSIÓN DE LOS RATIOS FINANCIEROS Y DE LIQUIDEZ E INSOLVENCIA COMO ENFOQUE DE REESTRUCTURACIÓN</a:t>
            </a:r>
          </a:p>
        </p:txBody>
      </p:sp>
      <p:sp>
        <p:nvSpPr>
          <p:cNvPr id="3" name="Text Placeholder 2">
            <a:extLst>
              <a:ext uri="{FF2B5EF4-FFF2-40B4-BE49-F238E27FC236}">
                <a16:creationId xmlns:a16="http://schemas.microsoft.com/office/drawing/2014/main" id="{9927D842-1D00-FA4B-B63E-F70DCFAE79F4}"/>
              </a:ext>
            </a:extLst>
          </p:cNvPr>
          <p:cNvSpPr>
            <a:spLocks noGrp="1"/>
          </p:cNvSpPr>
          <p:nvPr>
            <p:ph type="body" sz="quarter" idx="20"/>
          </p:nvPr>
        </p:nvSpPr>
        <p:spPr/>
        <p:txBody>
          <a:bodyPr>
            <a:normAutofit fontScale="62500" lnSpcReduction="20000"/>
          </a:bodyPr>
          <a:lstStyle/>
          <a:p>
            <a:pPr algn="l" rtl="0"/>
            <a:r>
              <a:rPr lang="en-US" dirty="0">
                <a:solidFill>
                  <a:schemeClr val="bg1"/>
                </a:solidFill>
              </a:rPr>
              <a:t>próximo</a:t>
            </a:r>
            <a:r>
              <a:rPr lang="en-US" dirty="0">
                <a:solidFill>
                  <a:srgbClr val="EDA13E"/>
                </a:solidFill>
              </a:rPr>
              <a:t>Módulo 5..</a:t>
            </a:r>
          </a:p>
        </p:txBody>
      </p:sp>
      <p:sp>
        <p:nvSpPr>
          <p:cNvPr id="12" name="Freeform 332">
            <a:extLst>
              <a:ext uri="{FF2B5EF4-FFF2-40B4-BE49-F238E27FC236}">
                <a16:creationId xmlns:a16="http://schemas.microsoft.com/office/drawing/2014/main" id="{5D49C9EB-CC3D-BA48-87AA-DC6CBB57D7F0}"/>
              </a:ext>
            </a:extLst>
          </p:cNvPr>
          <p:cNvSpPr>
            <a:spLocks noChangeAspect="1"/>
          </p:cNvSpPr>
          <p:nvPr/>
        </p:nvSpPr>
        <p:spPr>
          <a:xfrm>
            <a:off x="930376" y="3972148"/>
            <a:ext cx="310020" cy="252000"/>
          </a:xfrm>
          <a:custGeom>
            <a:avLst/>
            <a:gdLst/>
            <a:ahLst/>
            <a:cxnLst/>
            <a:rect l="l" t="t" r="r" b="b"/>
            <a:pathLst>
              <a:path w="443976" h="360589">
                <a:moveTo>
                  <a:pt x="307346" y="0"/>
                </a:moveTo>
                <a:cubicBezTo>
                  <a:pt x="333639" y="0"/>
                  <a:pt x="355800" y="9578"/>
                  <a:pt x="373830" y="28734"/>
                </a:cubicBezTo>
                <a:cubicBezTo>
                  <a:pt x="394301" y="24790"/>
                  <a:pt x="413551" y="17466"/>
                  <a:pt x="431581" y="6761"/>
                </a:cubicBezTo>
                <a:cubicBezTo>
                  <a:pt x="424632" y="28359"/>
                  <a:pt x="411298" y="45074"/>
                  <a:pt x="391578" y="56905"/>
                </a:cubicBezTo>
                <a:cubicBezTo>
                  <a:pt x="409044" y="55027"/>
                  <a:pt x="426510" y="50332"/>
                  <a:pt x="443976" y="42820"/>
                </a:cubicBezTo>
                <a:cubicBezTo>
                  <a:pt x="431392" y="61225"/>
                  <a:pt x="416180" y="76907"/>
                  <a:pt x="398339" y="89866"/>
                </a:cubicBezTo>
                <a:cubicBezTo>
                  <a:pt x="398526" y="92495"/>
                  <a:pt x="398620" y="96439"/>
                  <a:pt x="398620" y="101697"/>
                </a:cubicBezTo>
                <a:cubicBezTo>
                  <a:pt x="398620" y="126112"/>
                  <a:pt x="395052" y="150480"/>
                  <a:pt x="387915" y="174801"/>
                </a:cubicBezTo>
                <a:cubicBezTo>
                  <a:pt x="380778" y="199122"/>
                  <a:pt x="369933" y="222457"/>
                  <a:pt x="355378" y="244806"/>
                </a:cubicBezTo>
                <a:cubicBezTo>
                  <a:pt x="340823" y="267155"/>
                  <a:pt x="323497" y="286922"/>
                  <a:pt x="303402" y="304106"/>
                </a:cubicBezTo>
                <a:cubicBezTo>
                  <a:pt x="283307" y="321291"/>
                  <a:pt x="259080" y="335001"/>
                  <a:pt x="230722" y="345236"/>
                </a:cubicBezTo>
                <a:cubicBezTo>
                  <a:pt x="202362" y="355471"/>
                  <a:pt x="172032" y="360589"/>
                  <a:pt x="139728" y="360589"/>
                </a:cubicBezTo>
                <a:cubicBezTo>
                  <a:pt x="88832" y="360589"/>
                  <a:pt x="42256" y="346973"/>
                  <a:pt x="0" y="319741"/>
                </a:cubicBezTo>
                <a:cubicBezTo>
                  <a:pt x="6574" y="320492"/>
                  <a:pt x="13898" y="320868"/>
                  <a:pt x="21974" y="320868"/>
                </a:cubicBezTo>
                <a:cubicBezTo>
                  <a:pt x="64230" y="320868"/>
                  <a:pt x="101886" y="307909"/>
                  <a:pt x="134940" y="281992"/>
                </a:cubicBezTo>
                <a:cubicBezTo>
                  <a:pt x="115220" y="281616"/>
                  <a:pt x="97566" y="275560"/>
                  <a:pt x="81978" y="263822"/>
                </a:cubicBezTo>
                <a:cubicBezTo>
                  <a:pt x="66390" y="252084"/>
                  <a:pt x="55685" y="237106"/>
                  <a:pt x="49863" y="218889"/>
                </a:cubicBezTo>
                <a:cubicBezTo>
                  <a:pt x="56060" y="219828"/>
                  <a:pt x="61788" y="220297"/>
                  <a:pt x="67048" y="220297"/>
                </a:cubicBezTo>
                <a:cubicBezTo>
                  <a:pt x="75122" y="220297"/>
                  <a:pt x="83105" y="219264"/>
                  <a:pt x="90992" y="217199"/>
                </a:cubicBezTo>
                <a:cubicBezTo>
                  <a:pt x="69958" y="212879"/>
                  <a:pt x="52539" y="202409"/>
                  <a:pt x="38736" y="185788"/>
                </a:cubicBezTo>
                <a:cubicBezTo>
                  <a:pt x="24932" y="169167"/>
                  <a:pt x="18030" y="149870"/>
                  <a:pt x="18030" y="127896"/>
                </a:cubicBezTo>
                <a:lnTo>
                  <a:pt x="18030" y="126770"/>
                </a:lnTo>
                <a:cubicBezTo>
                  <a:pt x="30800" y="133906"/>
                  <a:pt x="44510" y="137756"/>
                  <a:pt x="59160" y="138320"/>
                </a:cubicBezTo>
                <a:cubicBezTo>
                  <a:pt x="46764" y="130056"/>
                  <a:pt x="36904" y="119257"/>
                  <a:pt x="29580" y="105923"/>
                </a:cubicBezTo>
                <a:cubicBezTo>
                  <a:pt x="22256" y="92589"/>
                  <a:pt x="18593" y="78128"/>
                  <a:pt x="18593" y="62540"/>
                </a:cubicBezTo>
                <a:cubicBezTo>
                  <a:pt x="18593" y="46013"/>
                  <a:pt x="22724" y="30706"/>
                  <a:pt x="30988" y="16621"/>
                </a:cubicBezTo>
                <a:cubicBezTo>
                  <a:pt x="53713" y="44604"/>
                  <a:pt x="81367" y="67000"/>
                  <a:pt x="113952" y="83809"/>
                </a:cubicBezTo>
                <a:cubicBezTo>
                  <a:pt x="146536" y="100617"/>
                  <a:pt x="181422" y="109961"/>
                  <a:pt x="218608" y="111839"/>
                </a:cubicBezTo>
                <a:cubicBezTo>
                  <a:pt x="217104" y="104702"/>
                  <a:pt x="216354" y="97753"/>
                  <a:pt x="216354" y="90992"/>
                </a:cubicBezTo>
                <a:cubicBezTo>
                  <a:pt x="216354" y="65826"/>
                  <a:pt x="225228" y="44369"/>
                  <a:pt x="242975" y="26621"/>
                </a:cubicBezTo>
                <a:cubicBezTo>
                  <a:pt x="260723" y="8874"/>
                  <a:pt x="282180" y="0"/>
                  <a:pt x="307346" y="0"/>
                </a:cubicBez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350"/>
          </a:p>
        </p:txBody>
      </p:sp>
      <p:sp>
        <p:nvSpPr>
          <p:cNvPr id="19" name="Freeform 6">
            <a:extLst>
              <a:ext uri="{FF2B5EF4-FFF2-40B4-BE49-F238E27FC236}">
                <a16:creationId xmlns:a16="http://schemas.microsoft.com/office/drawing/2014/main" id="{689B0FD2-8671-564C-BAE3-AB204F98531A}"/>
              </a:ext>
            </a:extLst>
          </p:cNvPr>
          <p:cNvSpPr>
            <a:spLocks noChangeAspect="1"/>
          </p:cNvSpPr>
          <p:nvPr/>
        </p:nvSpPr>
        <p:spPr bwMode="auto">
          <a:xfrm>
            <a:off x="993795" y="3288213"/>
            <a:ext cx="183182" cy="324000"/>
          </a:xfrm>
          <a:custGeom>
            <a:avLst/>
            <a:gdLst>
              <a:gd name="T0" fmla="*/ 92 w 146"/>
              <a:gd name="T1" fmla="*/ 55 h 257"/>
              <a:gd name="T2" fmla="*/ 92 w 146"/>
              <a:gd name="T3" fmla="*/ 91 h 257"/>
              <a:gd name="T4" fmla="*/ 146 w 146"/>
              <a:gd name="T5" fmla="*/ 91 h 257"/>
              <a:gd name="T6" fmla="*/ 137 w 146"/>
              <a:gd name="T7" fmla="*/ 146 h 257"/>
              <a:gd name="T8" fmla="*/ 92 w 146"/>
              <a:gd name="T9" fmla="*/ 146 h 257"/>
              <a:gd name="T10" fmla="*/ 92 w 146"/>
              <a:gd name="T11" fmla="*/ 257 h 257"/>
              <a:gd name="T12" fmla="*/ 37 w 146"/>
              <a:gd name="T13" fmla="*/ 257 h 257"/>
              <a:gd name="T14" fmla="*/ 37 w 146"/>
              <a:gd name="T15" fmla="*/ 146 h 257"/>
              <a:gd name="T16" fmla="*/ 0 w 146"/>
              <a:gd name="T17" fmla="*/ 146 h 257"/>
              <a:gd name="T18" fmla="*/ 0 w 146"/>
              <a:gd name="T19" fmla="*/ 91 h 257"/>
              <a:gd name="T20" fmla="*/ 37 w 146"/>
              <a:gd name="T21" fmla="*/ 91 h 257"/>
              <a:gd name="T22" fmla="*/ 37 w 146"/>
              <a:gd name="T23" fmla="*/ 55 h 257"/>
              <a:gd name="T24" fmla="*/ 64 w 146"/>
              <a:gd name="T25" fmla="*/ 7 h 257"/>
              <a:gd name="T26" fmla="*/ 92 w 146"/>
              <a:gd name="T27" fmla="*/ 0 h 257"/>
              <a:gd name="T28" fmla="*/ 146 w 146"/>
              <a:gd name="T29" fmla="*/ 0 h 257"/>
              <a:gd name="T30" fmla="*/ 146 w 146"/>
              <a:gd name="T31" fmla="*/ 55 h 257"/>
              <a:gd name="T32" fmla="*/ 92 w 146"/>
              <a:gd name="T33" fmla="*/ 5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57">
                <a:moveTo>
                  <a:pt x="92" y="55"/>
                </a:moveTo>
                <a:cubicBezTo>
                  <a:pt x="92" y="91"/>
                  <a:pt x="92" y="91"/>
                  <a:pt x="92" y="91"/>
                </a:cubicBezTo>
                <a:cubicBezTo>
                  <a:pt x="146" y="91"/>
                  <a:pt x="146" y="91"/>
                  <a:pt x="146" y="91"/>
                </a:cubicBezTo>
                <a:cubicBezTo>
                  <a:pt x="137" y="146"/>
                  <a:pt x="137" y="146"/>
                  <a:pt x="137" y="146"/>
                </a:cubicBezTo>
                <a:cubicBezTo>
                  <a:pt x="92" y="146"/>
                  <a:pt x="92" y="146"/>
                  <a:pt x="92" y="146"/>
                </a:cubicBezTo>
                <a:cubicBezTo>
                  <a:pt x="92" y="257"/>
                  <a:pt x="92" y="257"/>
                  <a:pt x="92" y="257"/>
                </a:cubicBezTo>
                <a:cubicBezTo>
                  <a:pt x="37" y="257"/>
                  <a:pt x="37" y="257"/>
                  <a:pt x="37" y="257"/>
                </a:cubicBezTo>
                <a:cubicBezTo>
                  <a:pt x="37" y="146"/>
                  <a:pt x="37" y="146"/>
                  <a:pt x="37" y="146"/>
                </a:cubicBezTo>
                <a:cubicBezTo>
                  <a:pt x="0" y="146"/>
                  <a:pt x="0" y="146"/>
                  <a:pt x="0" y="146"/>
                </a:cubicBezTo>
                <a:cubicBezTo>
                  <a:pt x="0" y="91"/>
                  <a:pt x="0" y="91"/>
                  <a:pt x="0" y="91"/>
                </a:cubicBezTo>
                <a:cubicBezTo>
                  <a:pt x="37" y="91"/>
                  <a:pt x="37" y="91"/>
                  <a:pt x="37" y="91"/>
                </a:cubicBezTo>
                <a:cubicBezTo>
                  <a:pt x="37" y="55"/>
                  <a:pt x="37" y="55"/>
                  <a:pt x="37" y="55"/>
                </a:cubicBezTo>
                <a:cubicBezTo>
                  <a:pt x="37" y="34"/>
                  <a:pt x="48" y="17"/>
                  <a:pt x="64" y="7"/>
                </a:cubicBezTo>
                <a:cubicBezTo>
                  <a:pt x="72" y="3"/>
                  <a:pt x="82" y="0"/>
                  <a:pt x="92" y="0"/>
                </a:cubicBezTo>
                <a:cubicBezTo>
                  <a:pt x="146" y="0"/>
                  <a:pt x="146" y="0"/>
                  <a:pt x="146" y="0"/>
                </a:cubicBezTo>
                <a:cubicBezTo>
                  <a:pt x="146" y="55"/>
                  <a:pt x="146" y="55"/>
                  <a:pt x="146" y="55"/>
                </a:cubicBezTo>
                <a:lnTo>
                  <a:pt x="92" y="55"/>
                </a:lnTo>
                <a:close/>
              </a:path>
            </a:pathLst>
          </a:custGeom>
          <a:solidFill>
            <a:srgbClr val="EDA13E"/>
          </a:solidFill>
          <a:ln>
            <a:noFill/>
          </a:ln>
        </p:spPr>
        <p:txBody>
          <a:bodyPr vert="horz" wrap="square" lIns="91440" tIns="45720" rIns="91440" bIns="45720" numCol="1" anchor="t" anchorCtr="0" compatLnSpc="1">
            <a:prstTxWarp prst="textNoShape">
              <a:avLst/>
            </a:prstTxWarp>
          </a:bodyPr>
          <a:lstStyle/>
          <a:p>
            <a:pPr algn="l" rtl="0"/>
            <a:endParaRPr lang="en-ID"/>
          </a:p>
        </p:txBody>
      </p:sp>
      <p:grpSp>
        <p:nvGrpSpPr>
          <p:cNvPr id="7" name="Group 6">
            <a:extLst>
              <a:ext uri="{FF2B5EF4-FFF2-40B4-BE49-F238E27FC236}">
                <a16:creationId xmlns:a16="http://schemas.microsoft.com/office/drawing/2014/main" id="{CEDBE632-5C17-9847-A607-F3A24354690A}"/>
              </a:ext>
            </a:extLst>
          </p:cNvPr>
          <p:cNvGrpSpPr>
            <a:grpSpLocks noChangeAspect="1"/>
          </p:cNvGrpSpPr>
          <p:nvPr/>
        </p:nvGrpSpPr>
        <p:grpSpPr>
          <a:xfrm>
            <a:off x="962500" y="4553630"/>
            <a:ext cx="245772" cy="288000"/>
            <a:chOff x="8589661" y="3431570"/>
            <a:chExt cx="510568" cy="569231"/>
          </a:xfrm>
          <a:solidFill>
            <a:srgbClr val="EDA13E"/>
          </a:solidFill>
        </p:grpSpPr>
        <p:sp>
          <p:nvSpPr>
            <p:cNvPr id="42" name="Freeform: Shape 27">
              <a:extLst>
                <a:ext uri="{FF2B5EF4-FFF2-40B4-BE49-F238E27FC236}">
                  <a16:creationId xmlns:a16="http://schemas.microsoft.com/office/drawing/2014/main" id="{A3AC1FF6-98D4-DE47-896E-AC5237EA818E}"/>
                </a:ext>
              </a:extLst>
            </p:cNvPr>
            <p:cNvSpPr/>
            <p:nvPr/>
          </p:nvSpPr>
          <p:spPr>
            <a:xfrm>
              <a:off x="8589661" y="3601798"/>
              <a:ext cx="113407" cy="399003"/>
            </a:xfrm>
            <a:custGeom>
              <a:avLst/>
              <a:gdLst>
                <a:gd name="connsiteX0" fmla="*/ 0 w 93725"/>
                <a:gd name="connsiteY0" fmla="*/ 0 h 329755"/>
                <a:gd name="connsiteX1" fmla="*/ 93726 w 93725"/>
                <a:gd name="connsiteY1" fmla="*/ 0 h 329755"/>
                <a:gd name="connsiteX2" fmla="*/ 93726 w 93725"/>
                <a:gd name="connsiteY2" fmla="*/ 329756 h 329755"/>
                <a:gd name="connsiteX3" fmla="*/ 0 w 93725"/>
                <a:gd name="connsiteY3" fmla="*/ 329756 h 329755"/>
                <a:gd name="connsiteX4" fmla="*/ 0 w 93725"/>
                <a:gd name="connsiteY4" fmla="*/ 0 h 329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329755">
                  <a:moveTo>
                    <a:pt x="0" y="0"/>
                  </a:moveTo>
                  <a:lnTo>
                    <a:pt x="93726" y="0"/>
                  </a:lnTo>
                  <a:lnTo>
                    <a:pt x="93726" y="329756"/>
                  </a:lnTo>
                  <a:lnTo>
                    <a:pt x="0" y="329756"/>
                  </a:lnTo>
                  <a:lnTo>
                    <a:pt x="0" y="0"/>
                  </a:lnTo>
                  <a:close/>
                </a:path>
              </a:pathLst>
            </a:custGeom>
            <a:grpFill/>
            <a:ln w="9525" cap="flat">
              <a:noFill/>
              <a:prstDash val="solid"/>
              <a:miter/>
            </a:ln>
          </p:spPr>
          <p:txBody>
            <a:bodyPr rtlCol="0" anchor="ctr"/>
            <a:lstStyle/>
            <a:p>
              <a:pPr algn="l" rtl="0"/>
              <a:endParaRPr lang="en-ID"/>
            </a:p>
          </p:txBody>
        </p:sp>
        <p:sp>
          <p:nvSpPr>
            <p:cNvPr id="43" name="Freeform: Shape 30">
              <a:extLst>
                <a:ext uri="{FF2B5EF4-FFF2-40B4-BE49-F238E27FC236}">
                  <a16:creationId xmlns:a16="http://schemas.microsoft.com/office/drawing/2014/main" id="{23D1213C-B465-0142-894C-6D311FC65A71}"/>
                </a:ext>
              </a:extLst>
            </p:cNvPr>
            <p:cNvSpPr/>
            <p:nvPr/>
          </p:nvSpPr>
          <p:spPr>
            <a:xfrm>
              <a:off x="8760004" y="3601798"/>
              <a:ext cx="340225" cy="398888"/>
            </a:xfrm>
            <a:custGeom>
              <a:avLst/>
              <a:gdLst>
                <a:gd name="connsiteX0" fmla="*/ 281178 w 281178"/>
                <a:gd name="connsiteY0" fmla="*/ 124682 h 329660"/>
                <a:gd name="connsiteX1" fmla="*/ 281178 w 281178"/>
                <a:gd name="connsiteY1" fmla="*/ 329660 h 329660"/>
                <a:gd name="connsiteX2" fmla="*/ 187452 w 281178"/>
                <a:gd name="connsiteY2" fmla="*/ 329660 h 329660"/>
                <a:gd name="connsiteX3" fmla="*/ 187452 w 281178"/>
                <a:gd name="connsiteY3" fmla="*/ 140589 h 329660"/>
                <a:gd name="connsiteX4" fmla="*/ 140589 w 281178"/>
                <a:gd name="connsiteY4" fmla="*/ 93726 h 329660"/>
                <a:gd name="connsiteX5" fmla="*/ 93726 w 281178"/>
                <a:gd name="connsiteY5" fmla="*/ 140589 h 329660"/>
                <a:gd name="connsiteX6" fmla="*/ 93726 w 281178"/>
                <a:gd name="connsiteY6" fmla="*/ 329660 h 329660"/>
                <a:gd name="connsiteX7" fmla="*/ 0 w 281178"/>
                <a:gd name="connsiteY7" fmla="*/ 329660 h 329660"/>
                <a:gd name="connsiteX8" fmla="*/ 0 w 281178"/>
                <a:gd name="connsiteY8" fmla="*/ 0 h 329660"/>
                <a:gd name="connsiteX9" fmla="*/ 93726 w 281178"/>
                <a:gd name="connsiteY9" fmla="*/ 0 h 329660"/>
                <a:gd name="connsiteX10" fmla="*/ 93726 w 281178"/>
                <a:gd name="connsiteY10" fmla="*/ 17812 h 329660"/>
                <a:gd name="connsiteX11" fmla="*/ 164021 w 281178"/>
                <a:gd name="connsiteY11" fmla="*/ 0 h 329660"/>
                <a:gd name="connsiteX12" fmla="*/ 281178 w 281178"/>
                <a:gd name="connsiteY12" fmla="*/ 124682 h 32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1178" h="329660">
                  <a:moveTo>
                    <a:pt x="281178" y="124682"/>
                  </a:moveTo>
                  <a:lnTo>
                    <a:pt x="281178" y="329660"/>
                  </a:lnTo>
                  <a:lnTo>
                    <a:pt x="187452" y="329660"/>
                  </a:lnTo>
                  <a:lnTo>
                    <a:pt x="187452" y="140589"/>
                  </a:lnTo>
                  <a:cubicBezTo>
                    <a:pt x="187452" y="114776"/>
                    <a:pt x="166402" y="93726"/>
                    <a:pt x="140589" y="93726"/>
                  </a:cubicBezTo>
                  <a:cubicBezTo>
                    <a:pt x="114776" y="93726"/>
                    <a:pt x="93726" y="114776"/>
                    <a:pt x="93726" y="140589"/>
                  </a:cubicBezTo>
                  <a:lnTo>
                    <a:pt x="93726" y="329660"/>
                  </a:lnTo>
                  <a:lnTo>
                    <a:pt x="0" y="329660"/>
                  </a:lnTo>
                  <a:lnTo>
                    <a:pt x="0" y="0"/>
                  </a:lnTo>
                  <a:lnTo>
                    <a:pt x="93726" y="0"/>
                  </a:lnTo>
                  <a:lnTo>
                    <a:pt x="93726" y="17812"/>
                  </a:lnTo>
                  <a:cubicBezTo>
                    <a:pt x="118110" y="9811"/>
                    <a:pt x="134017" y="0"/>
                    <a:pt x="164021" y="0"/>
                  </a:cubicBezTo>
                  <a:cubicBezTo>
                    <a:pt x="227743" y="0"/>
                    <a:pt x="281178" y="57150"/>
                    <a:pt x="281178" y="124682"/>
                  </a:cubicBezTo>
                  <a:close/>
                </a:path>
              </a:pathLst>
            </a:custGeom>
            <a:grpFill/>
            <a:ln w="9525" cap="flat">
              <a:noFill/>
              <a:prstDash val="solid"/>
              <a:miter/>
            </a:ln>
          </p:spPr>
          <p:txBody>
            <a:bodyPr rtlCol="0" anchor="ctr"/>
            <a:lstStyle/>
            <a:p>
              <a:pPr algn="l" rtl="0"/>
              <a:endParaRPr lang="en-ID"/>
            </a:p>
          </p:txBody>
        </p:sp>
        <p:sp>
          <p:nvSpPr>
            <p:cNvPr id="44" name="Freeform: Shape 72">
              <a:extLst>
                <a:ext uri="{FF2B5EF4-FFF2-40B4-BE49-F238E27FC236}">
                  <a16:creationId xmlns:a16="http://schemas.microsoft.com/office/drawing/2014/main" id="{5010F5C6-3858-AC4C-91D2-0F26EE24EE0B}"/>
                </a:ext>
              </a:extLst>
            </p:cNvPr>
            <p:cNvSpPr/>
            <p:nvPr/>
          </p:nvSpPr>
          <p:spPr>
            <a:xfrm>
              <a:off x="8589661" y="3431570"/>
              <a:ext cx="113407" cy="113408"/>
            </a:xfrm>
            <a:custGeom>
              <a:avLst/>
              <a:gdLst>
                <a:gd name="connsiteX0" fmla="*/ 0 w 93725"/>
                <a:gd name="connsiteY0" fmla="*/ 0 h 93726"/>
                <a:gd name="connsiteX1" fmla="*/ 93726 w 93725"/>
                <a:gd name="connsiteY1" fmla="*/ 0 h 93726"/>
                <a:gd name="connsiteX2" fmla="*/ 93726 w 93725"/>
                <a:gd name="connsiteY2" fmla="*/ 93726 h 93726"/>
                <a:gd name="connsiteX3" fmla="*/ 0 w 93725"/>
                <a:gd name="connsiteY3" fmla="*/ 93726 h 93726"/>
                <a:gd name="connsiteX4" fmla="*/ 0 w 93725"/>
                <a:gd name="connsiteY4" fmla="*/ 0 h 93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93726">
                  <a:moveTo>
                    <a:pt x="0" y="0"/>
                  </a:moveTo>
                  <a:lnTo>
                    <a:pt x="93726" y="0"/>
                  </a:lnTo>
                  <a:lnTo>
                    <a:pt x="93726" y="93726"/>
                  </a:lnTo>
                  <a:lnTo>
                    <a:pt x="0" y="93726"/>
                  </a:lnTo>
                  <a:lnTo>
                    <a:pt x="0" y="0"/>
                  </a:lnTo>
                  <a:close/>
                </a:path>
              </a:pathLst>
            </a:custGeom>
            <a:grpFill/>
            <a:ln w="28575" cap="rnd">
              <a:noFill/>
              <a:prstDash val="solid"/>
              <a:round/>
            </a:ln>
          </p:spPr>
          <p:txBody>
            <a:bodyPr rtlCol="0" anchor="ctr"/>
            <a:lstStyle/>
            <a:p>
              <a:pPr algn="l" rtl="0"/>
              <a:endParaRPr lang="en-ID"/>
            </a:p>
          </p:txBody>
        </p:sp>
      </p:grpSp>
    </p:spTree>
    <p:extLst>
      <p:ext uri="{BB962C8B-B14F-4D97-AF65-F5344CB8AC3E}">
        <p14:creationId xmlns:p14="http://schemas.microsoft.com/office/powerpoint/2010/main" val="8816061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A56617-F13E-6158-1BDF-6195DC875F48}"/>
              </a:ext>
            </a:extLst>
          </p:cNvPr>
          <p:cNvSpPr/>
          <p:nvPr/>
        </p:nvSpPr>
        <p:spPr>
          <a:xfrm>
            <a:off x="6096000" y="0"/>
            <a:ext cx="609600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395315" cy="1723686"/>
          </a:xfrm>
        </p:spPr>
        <p:txBody>
          <a:bodyPr>
            <a:normAutofit/>
          </a:bodyPr>
          <a:lstStyle/>
          <a:p>
            <a:pPr algn="l" rtl="0"/>
            <a:r>
              <a:rPr lang="en-GB" dirty="0"/>
              <a:t>Liderazgo en tiempos de crisis</a:t>
            </a:r>
          </a:p>
        </p:txBody>
      </p:sp>
      <p:sp>
        <p:nvSpPr>
          <p:cNvPr id="3" name="Text Placeholder 2">
            <a:extLst>
              <a:ext uri="{FF2B5EF4-FFF2-40B4-BE49-F238E27FC236}">
                <a16:creationId xmlns:a16="http://schemas.microsoft.com/office/drawing/2014/main" id="{79CC231D-3AD8-ACBF-9B95-F1367BC11BF7}"/>
              </a:ext>
            </a:extLst>
          </p:cNvPr>
          <p:cNvSpPr>
            <a:spLocks noGrp="1"/>
          </p:cNvSpPr>
          <p:nvPr>
            <p:ph type="body" sz="quarter" idx="18"/>
          </p:nvPr>
        </p:nvSpPr>
        <p:spPr>
          <a:xfrm>
            <a:off x="445951" y="1911116"/>
            <a:ext cx="5000886" cy="4334679"/>
          </a:xfrm>
        </p:spPr>
        <p:txBody>
          <a:bodyPr>
            <a:normAutofit fontScale="92500" lnSpcReduction="10000"/>
          </a:bodyPr>
          <a:lstStyle/>
          <a:p>
            <a:pPr marL="12700" indent="-12700" algn="l" rtl="0">
              <a:lnSpc>
                <a:spcPct val="100000"/>
              </a:lnSpc>
              <a:spcBef>
                <a:spcPts val="0"/>
              </a:spcBef>
            </a:pPr>
            <a:r>
              <a:rPr lang="en-US" sz="2200" dirty="0" err="1"/>
              <a:t>reconociendo</a:t>
            </a:r>
            <a:r>
              <a:rPr lang="en-US" sz="2200" dirty="0"/>
              <a:t>que una empresa enfrente una crisis es lo primero que deben hacer los líderes. Es un paso difícil, especialmente durante el inicio de las crisis que no llegan repentinamente sino que surgen de circunstancias familiares que enmascaran su naturaleza. Una vez líderes</a:t>
            </a:r>
            <a:r>
              <a:rPr lang="en-US" sz="2200" dirty="0" err="1"/>
              <a:t>reconocer</a:t>
            </a:r>
            <a:r>
              <a:rPr lang="en-US" sz="2200" dirty="0"/>
              <a:t>una crisis como tal, pueden empezar a montar una respuesta. Pero no pueden responder como lo harían en una emergencia de rutina, siguiendo planes que se habían elaborado de antemano. Durante una crisis, que se rige por la falta de familiaridad y la incertidumbre, las respuestas eficaces se improvisan en gran medida.</a:t>
            </a:r>
          </a:p>
        </p:txBody>
      </p:sp>
      <p:sp>
        <p:nvSpPr>
          <p:cNvPr id="8" name="TextBox 125">
            <a:extLst>
              <a:ext uri="{FF2B5EF4-FFF2-40B4-BE49-F238E27FC236}">
                <a16:creationId xmlns:a16="http://schemas.microsoft.com/office/drawing/2014/main" id="{9BED686A-47A4-F647-EA7A-E1D7671600A2}"/>
              </a:ext>
            </a:extLst>
          </p:cNvPr>
          <p:cNvSpPr txBox="1"/>
          <p:nvPr/>
        </p:nvSpPr>
        <p:spPr>
          <a:xfrm>
            <a:off x="6563698" y="2632356"/>
            <a:ext cx="5397244" cy="4225644"/>
          </a:xfrm>
          <a:prstGeom prst="rect">
            <a:avLst/>
          </a:prstGeom>
          <a:noFill/>
        </p:spPr>
        <p:txBody>
          <a:bodyPr wrap="square" rtlCol="0" anchor="t" anchorCtr="0">
            <a:spAutoFit/>
          </a:bodyPr>
          <a:lstStyle/>
          <a:p>
            <a:pPr algn="l" rtl="0">
              <a:lnSpc>
                <a:spcPts val="2200"/>
              </a:lnSpc>
              <a:spcBef>
                <a:spcPts val="600"/>
              </a:spcBef>
              <a:buClr>
                <a:srgbClr val="EDA13E"/>
              </a:buClr>
            </a:pPr>
            <a:r>
              <a:rPr lang="en-GB" sz="2200" b="1" dirty="0">
                <a:solidFill>
                  <a:schemeClr val="bg1"/>
                </a:solidFill>
                <a:ea typeface="League Spartan" charset="0"/>
                <a:cs typeface="Poppins" pitchFamily="2" charset="77"/>
              </a:rPr>
              <a:t>Lo que los líderes necesitan durante una crisis no es un plan de respuesta predefinido, sino comportamientos y mentalidades que les impidan reaccionar exageradamente a los acontecimientos del pasado y les ayuden a mirar hacia el futuro. Algunos consejos ..</a:t>
            </a:r>
          </a:p>
          <a:p>
            <a:pPr algn="l" rtl="0">
              <a:lnSpc>
                <a:spcPts val="2200"/>
              </a:lnSpc>
              <a:spcBef>
                <a:spcPts val="600"/>
              </a:spcBef>
              <a:buClr>
                <a:srgbClr val="EDA13E"/>
              </a:buClr>
            </a:pPr>
            <a:endParaRPr lang="en-GB" sz="2200" b="1" dirty="0">
              <a:solidFill>
                <a:schemeClr val="bg1"/>
              </a:solidFill>
              <a:ea typeface="League Spartan" charset="0"/>
              <a:cs typeface="Poppins" pitchFamily="2" charset="77"/>
            </a:endParaRPr>
          </a:p>
          <a:p>
            <a:pPr marL="342900" indent="-342900" algn="l" rtl="0">
              <a:lnSpc>
                <a:spcPts val="2200"/>
              </a:lnSpc>
              <a:spcBef>
                <a:spcPts val="600"/>
              </a:spcBef>
              <a:buClr>
                <a:srgbClr val="EDA13E"/>
              </a:buClr>
              <a:buFont typeface="Arial" panose="020B0604020202020204" pitchFamily="34" charset="0"/>
              <a:buChar char="•"/>
            </a:pPr>
            <a:r>
              <a:rPr lang="en-GB" sz="2200" dirty="0">
                <a:solidFill>
                  <a:schemeClr val="bg1"/>
                </a:solidFill>
                <a:ea typeface="League Spartan" charset="0"/>
                <a:cs typeface="Poppins" pitchFamily="2" charset="77"/>
              </a:rPr>
              <a:t>Maneja la ansiedad, no la crees</a:t>
            </a:r>
          </a:p>
          <a:p>
            <a:pPr marL="342900" indent="-342900" algn="l" rtl="0">
              <a:lnSpc>
                <a:spcPts val="2200"/>
              </a:lnSpc>
              <a:spcBef>
                <a:spcPts val="600"/>
              </a:spcBef>
              <a:buClr>
                <a:srgbClr val="EDA13E"/>
              </a:buClr>
              <a:buFont typeface="Arial" panose="020B0604020202020204" pitchFamily="34" charset="0"/>
              <a:buChar char="•"/>
            </a:pPr>
            <a:r>
              <a:rPr lang="en-GB" sz="2200" dirty="0">
                <a:solidFill>
                  <a:schemeClr val="bg1"/>
                </a:solidFill>
                <a:ea typeface="League Spartan" charset="0"/>
                <a:cs typeface="Poppins" pitchFamily="2" charset="77"/>
              </a:rPr>
              <a:t>Sea brutalmente honesto... y confíe en un buen resultado.</a:t>
            </a:r>
          </a:p>
          <a:p>
            <a:pPr marL="342900" indent="-342900" algn="l" rtl="0">
              <a:lnSpc>
                <a:spcPts val="2200"/>
              </a:lnSpc>
              <a:spcBef>
                <a:spcPts val="600"/>
              </a:spcBef>
              <a:buClr>
                <a:srgbClr val="EDA13E"/>
              </a:buClr>
              <a:buFont typeface="Arial" panose="020B0604020202020204" pitchFamily="34" charset="0"/>
              <a:buChar char="•"/>
            </a:pPr>
            <a:r>
              <a:rPr lang="en-GB" sz="2200" dirty="0">
                <a:solidFill>
                  <a:schemeClr val="bg1"/>
                </a:solidFill>
                <a:ea typeface="League Spartan" charset="0"/>
                <a:cs typeface="Poppins" pitchFamily="2" charset="77"/>
              </a:rPr>
              <a:t>Ser un cerrador; ¡terminar las cosas!</a:t>
            </a:r>
          </a:p>
          <a:p>
            <a:pPr marL="342900" indent="-342900" algn="l" rtl="0">
              <a:lnSpc>
                <a:spcPts val="2200"/>
              </a:lnSpc>
              <a:spcBef>
                <a:spcPts val="600"/>
              </a:spcBef>
              <a:buClr>
                <a:srgbClr val="EDA13E"/>
              </a:buClr>
              <a:buFont typeface="Arial" panose="020B0604020202020204" pitchFamily="34" charset="0"/>
              <a:buChar char="•"/>
            </a:pPr>
            <a:r>
              <a:rPr lang="en-GB" sz="2200" dirty="0">
                <a:solidFill>
                  <a:schemeClr val="bg1"/>
                </a:solidFill>
                <a:ea typeface="League Spartan" charset="0"/>
                <a:cs typeface="Poppins" pitchFamily="2" charset="77"/>
              </a:rPr>
              <a:t>No confundas gestión con liderazgo</a:t>
            </a:r>
          </a:p>
          <a:p>
            <a:pPr algn="l" rtl="0">
              <a:lnSpc>
                <a:spcPts val="2200"/>
              </a:lnSpc>
              <a:spcBef>
                <a:spcPts val="600"/>
              </a:spcBef>
              <a:buClr>
                <a:srgbClr val="EDA13E"/>
              </a:buClr>
            </a:pPr>
            <a:endParaRPr lang="en-GB" sz="2200" b="1" dirty="0">
              <a:solidFill>
                <a:schemeClr val="bg1"/>
              </a:solidFill>
              <a:ea typeface="League Spartan" charset="0"/>
              <a:cs typeface="Poppins" pitchFamily="2" charset="77"/>
            </a:endParaRPr>
          </a:p>
        </p:txBody>
      </p:sp>
      <p:sp>
        <p:nvSpPr>
          <p:cNvPr id="4" name="Rectangle 3">
            <a:extLst>
              <a:ext uri="{FF2B5EF4-FFF2-40B4-BE49-F238E27FC236}">
                <a16:creationId xmlns:a16="http://schemas.microsoft.com/office/drawing/2014/main" id="{B0B42AA0-FC3D-4ACB-BDFA-6F288602A6D2}"/>
              </a:ext>
            </a:extLst>
          </p:cNvPr>
          <p:cNvSpPr/>
          <p:nvPr/>
        </p:nvSpPr>
        <p:spPr>
          <a:xfrm>
            <a:off x="484329" y="1738532"/>
            <a:ext cx="792000" cy="21410"/>
          </a:xfrm>
          <a:prstGeom prst="rect">
            <a:avLst/>
          </a:prstGeom>
          <a:solidFill>
            <a:srgbClr val="F16924"/>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pic>
        <p:nvPicPr>
          <p:cNvPr id="7" name="Picture 6" descr="Sea of white umbrellas with one blue one in the crowd">
            <a:extLst>
              <a:ext uri="{FF2B5EF4-FFF2-40B4-BE49-F238E27FC236}">
                <a16:creationId xmlns:a16="http://schemas.microsoft.com/office/drawing/2014/main" id="{58F4C2DE-D7C5-D519-3088-8A7FB863B20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98177" y="136956"/>
            <a:ext cx="4128285" cy="2358444"/>
          </a:xfrm>
          <a:prstGeom prst="rect">
            <a:avLst/>
          </a:prstGeom>
        </p:spPr>
      </p:pic>
    </p:spTree>
    <p:extLst>
      <p:ext uri="{BB962C8B-B14F-4D97-AF65-F5344CB8AC3E}">
        <p14:creationId xmlns:p14="http://schemas.microsoft.com/office/powerpoint/2010/main" val="33673251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7341069-FDFE-0CCB-371B-448FBDCE5AC2}"/>
              </a:ext>
            </a:extLst>
          </p:cNvPr>
          <p:cNvSpPr>
            <a:spLocks noGrp="1"/>
          </p:cNvSpPr>
          <p:nvPr>
            <p:ph type="body" sz="quarter" idx="18"/>
          </p:nvPr>
        </p:nvSpPr>
        <p:spPr>
          <a:xfrm>
            <a:off x="734714" y="1976283"/>
            <a:ext cx="6079041" cy="4341984"/>
          </a:xfrm>
        </p:spPr>
        <p:txBody>
          <a:bodyPr>
            <a:normAutofit fontScale="92500"/>
          </a:bodyPr>
          <a:lstStyle/>
          <a:p>
            <a:pPr marL="357188" indent="-342900" algn="l" rtl="0">
              <a:lnSpc>
                <a:spcPts val="2280"/>
              </a:lnSpc>
              <a:spcBef>
                <a:spcPts val="0"/>
              </a:spcBef>
              <a:buClr>
                <a:srgbClr val="F16924"/>
              </a:buClr>
              <a:buFont typeface="Arial" panose="020B0604020202020204" pitchFamily="34" charset="0"/>
              <a:buChar char="•"/>
            </a:pPr>
            <a:r>
              <a:rPr lang="en-US" sz="2200" dirty="0"/>
              <a:t>Los roles y responsabilidades de los líderes empresariales cambian drásticamente en tiempos de crisis.</a:t>
            </a:r>
          </a:p>
          <a:p>
            <a:pPr marL="357188" indent="-342900" algn="l" rtl="0">
              <a:lnSpc>
                <a:spcPts val="2280"/>
              </a:lnSpc>
              <a:spcBef>
                <a:spcPts val="0"/>
              </a:spcBef>
              <a:buClr>
                <a:srgbClr val="F16924"/>
              </a:buClr>
              <a:buFont typeface="Arial" panose="020B0604020202020204" pitchFamily="34" charset="0"/>
              <a:buChar char="•"/>
            </a:pPr>
            <a:r>
              <a:rPr lang="en-US" sz="2200" dirty="0"/>
              <a:t>En tiempos normales, los directores ejecutivos y otros ejecutivos de empresas en crecimiento se enfocan en fomentar la innovación, generar ingresos y ganar participación de mercado.</a:t>
            </a:r>
          </a:p>
          <a:p>
            <a:pPr marL="357188" indent="-342900" algn="l" rtl="0">
              <a:lnSpc>
                <a:spcPts val="2280"/>
              </a:lnSpc>
              <a:spcBef>
                <a:spcPts val="0"/>
              </a:spcBef>
              <a:buClr>
                <a:srgbClr val="F16924"/>
              </a:buClr>
              <a:buFont typeface="Arial" panose="020B0604020202020204" pitchFamily="34" charset="0"/>
              <a:buChar char="•"/>
            </a:pPr>
            <a:r>
              <a:rPr lang="en-US" sz="2200" dirty="0"/>
              <a:t>En tiempos de crisis, muchos de esos mismos líderes deben tomar decisiones rápidas sobre el control de costos y el mantenimiento de la liquidez. Pueden encontrar obstáculos imprevistos (problemas en la cadena de suministro, escasez de equipos y desafíos operativos) que alteran drásticamente el alcance de sus funciones y prioridades.</a:t>
            </a:r>
          </a:p>
          <a:p>
            <a:pPr marL="357188" indent="-342900" algn="l" rtl="0">
              <a:lnSpc>
                <a:spcPts val="2280"/>
              </a:lnSpc>
              <a:spcBef>
                <a:spcPts val="0"/>
              </a:spcBef>
              <a:buClr>
                <a:srgbClr val="F16924"/>
              </a:buClr>
              <a:buFont typeface="Arial" panose="020B0604020202020204" pitchFamily="34" charset="0"/>
              <a:buChar char="•"/>
            </a:pPr>
            <a:endParaRPr lang="en-US" sz="2200" dirty="0"/>
          </a:p>
        </p:txBody>
      </p:sp>
      <p:sp>
        <p:nvSpPr>
          <p:cNvPr id="2" name="Text Placeholder 1">
            <a:extLst>
              <a:ext uri="{FF2B5EF4-FFF2-40B4-BE49-F238E27FC236}">
                <a16:creationId xmlns:a16="http://schemas.microsoft.com/office/drawing/2014/main" id="{369FF674-8478-CA64-7E80-603F8A2D78A0}"/>
              </a:ext>
            </a:extLst>
          </p:cNvPr>
          <p:cNvSpPr>
            <a:spLocks noGrp="1"/>
          </p:cNvSpPr>
          <p:nvPr>
            <p:ph type="body" sz="quarter" idx="16"/>
          </p:nvPr>
        </p:nvSpPr>
        <p:spPr>
          <a:xfrm>
            <a:off x="734714" y="539733"/>
            <a:ext cx="4483510" cy="2011738"/>
          </a:xfrm>
        </p:spPr>
        <p:txBody>
          <a:bodyPr>
            <a:normAutofit/>
          </a:bodyPr>
          <a:lstStyle/>
          <a:p>
            <a:pPr algn="l" rtl="0"/>
            <a:r>
              <a:rPr lang="en-GB" dirty="0">
                <a:solidFill>
                  <a:schemeClr val="bg1"/>
                </a:solidFill>
              </a:rPr>
              <a:t>Observaciones sobre el liderazgo</a:t>
            </a:r>
          </a:p>
        </p:txBody>
      </p:sp>
      <p:sp>
        <p:nvSpPr>
          <p:cNvPr id="8" name="Rectangle 7">
            <a:extLst>
              <a:ext uri="{FF2B5EF4-FFF2-40B4-BE49-F238E27FC236}">
                <a16:creationId xmlns:a16="http://schemas.microsoft.com/office/drawing/2014/main" id="{AA1930F3-B82F-9738-AE10-EADDCB7E0A1C}"/>
              </a:ext>
            </a:extLst>
          </p:cNvPr>
          <p:cNvSpPr/>
          <p:nvPr/>
        </p:nvSpPr>
        <p:spPr>
          <a:xfrm>
            <a:off x="818862" y="175328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latin typeface="Montserrat Light" charset="0"/>
            </a:endParaRPr>
          </a:p>
        </p:txBody>
      </p:sp>
      <p:pic>
        <p:nvPicPr>
          <p:cNvPr id="5" name="Picture 4">
            <a:extLst>
              <a:ext uri="{FF2B5EF4-FFF2-40B4-BE49-F238E27FC236}">
                <a16:creationId xmlns:a16="http://schemas.microsoft.com/office/drawing/2014/main" id="{4A5E6BF5-5EF2-D307-C94E-28BCFBF95283}"/>
              </a:ext>
            </a:extLst>
          </p:cNvPr>
          <p:cNvPicPr>
            <a:picLocks noChangeAspect="1"/>
          </p:cNvPicPr>
          <p:nvPr/>
        </p:nvPicPr>
        <p:blipFill>
          <a:blip r:embed="rId3"/>
          <a:stretch>
            <a:fillRect/>
          </a:stretch>
        </p:blipFill>
        <p:spPr>
          <a:xfrm>
            <a:off x="7800012" y="2163834"/>
            <a:ext cx="3795497" cy="2530331"/>
          </a:xfrm>
          <a:prstGeom prst="rect">
            <a:avLst/>
          </a:prstGeom>
        </p:spPr>
      </p:pic>
    </p:spTree>
    <p:extLst>
      <p:ext uri="{BB962C8B-B14F-4D97-AF65-F5344CB8AC3E}">
        <p14:creationId xmlns:p14="http://schemas.microsoft.com/office/powerpoint/2010/main" val="27549474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991</TotalTime>
  <Words>7418</Words>
  <Application>Microsoft Office PowerPoint</Application>
  <PresentationFormat>Panorámica</PresentationFormat>
  <Paragraphs>894</Paragraphs>
  <Slides>72</Slides>
  <Notes>22</Notes>
  <HiddenSlides>0</HiddenSlides>
  <MMClips>0</MMClips>
  <ScaleCrop>false</ScaleCrop>
  <HeadingPairs>
    <vt:vector size="8" baseType="variant">
      <vt:variant>
        <vt:lpstr>Fuentes usadas</vt:lpstr>
      </vt:variant>
      <vt:variant>
        <vt:i4>14</vt:i4>
      </vt:variant>
      <vt:variant>
        <vt:lpstr>Tema</vt:lpstr>
      </vt:variant>
      <vt:variant>
        <vt:i4>1</vt:i4>
      </vt:variant>
      <vt:variant>
        <vt:lpstr>Servidores OLE incrustados</vt:lpstr>
      </vt:variant>
      <vt:variant>
        <vt:i4>1</vt:i4>
      </vt:variant>
      <vt:variant>
        <vt:lpstr>Títulos de diapositiva</vt:lpstr>
      </vt:variant>
      <vt:variant>
        <vt:i4>72</vt:i4>
      </vt:variant>
    </vt:vector>
  </HeadingPairs>
  <TitlesOfParts>
    <vt:vector size="88" baseType="lpstr">
      <vt:lpstr>Arial</vt:lpstr>
      <vt:lpstr>Calibri</vt:lpstr>
      <vt:lpstr>Calibri Light</vt:lpstr>
      <vt:lpstr>Lato Light</vt:lpstr>
      <vt:lpstr>Lato Regular</vt:lpstr>
      <vt:lpstr>Montserrat</vt:lpstr>
      <vt:lpstr>Montserrat Light</vt:lpstr>
      <vt:lpstr>Montserrat Medium</vt:lpstr>
      <vt:lpstr>Quattrocento Sans</vt:lpstr>
      <vt:lpstr>Roboto</vt:lpstr>
      <vt:lpstr>Roboto Light</vt:lpstr>
      <vt:lpstr>Segoe UI</vt:lpstr>
      <vt:lpstr>Times New Roman</vt:lpstr>
      <vt:lpstr>Wingdings</vt:lpstr>
      <vt:lpstr>Office Theme</vt:lpstr>
      <vt:lpstr>think-cell Foli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lastModifiedBy>ances</cp:lastModifiedBy>
  <cp:revision>339</cp:revision>
  <dcterms:created xsi:type="dcterms:W3CDTF">2020-10-14T13:32:04Z</dcterms:created>
  <dcterms:modified xsi:type="dcterms:W3CDTF">2022-11-07T15:40:45Z</dcterms:modified>
</cp:coreProperties>
</file>